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drawings/drawing1.xml" ContentType="application/vnd.openxmlformats-officedocument.drawingml.chartshapes+xml"/>
  <Override PartName="/ppt/presentation.xml" ContentType="application/vnd.openxmlformats-officedocument.presentationml.presentation.main+xml"/>
  <Override PartName="/ppt/slides/slide3.xml" ContentType="application/vnd.openxmlformats-officedocument.presentationml.slide+xml"/>
  <Override PartName="/ppt/slides/slide2.xml" ContentType="application/vnd.openxmlformats-officedocument.presentationml.slide+xml"/>
  <Override PartName="/ppt/slides/slide8.xml" ContentType="application/vnd.openxmlformats-officedocument.presentationml.slide+xml"/>
  <Override PartName="/ppt/slides/slide7.xml" ContentType="application/vnd.openxmlformats-officedocument.presentationml.slide+xml"/>
  <Override PartName="/ppt/slides/slide6.xml" ContentType="application/vnd.openxmlformats-officedocument.presentationml.slide+xml"/>
  <Override PartName="/ppt/slides/slide5.xml" ContentType="application/vnd.openxmlformats-officedocument.presentationml.slide+xml"/>
  <Override PartName="/ppt/slides/slide4.xml" ContentType="application/vnd.openxmlformats-officedocument.presentationml.slide+xml"/>
  <Override PartName="/ppt/slides/slide10.xml" ContentType="application/vnd.openxmlformats-officedocument.presentationml.slide+xml"/>
  <Override PartName="/ppt/slides/slide9.xml" ContentType="application/vnd.openxmlformats-officedocument.presentationml.slide+xml"/>
  <Override PartName="/ppt/slides/slide12.xml" ContentType="application/vnd.openxmlformats-officedocument.presentationml.slide+xml"/>
  <Override PartName="/ppt/slides/slide1.xml" ContentType="application/vnd.openxmlformats-officedocument.presentationml.slide+xml"/>
  <Override PartName="/ppt/slides/slide11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7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2.xml" ContentType="application/vnd.openxmlformats-officedocument.presentationml.slideLayou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1.xml" ContentType="application/vnd.openxmlformats-officedocument.drawingml.chart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heme/theme2.xml" ContentType="application/vnd.openxmlformats-officedocument.theme+xml"/>
  <Override PartName="/ppt/theme/theme1.xml" ContentType="application/vnd.openxmlformats-officedocument.them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50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35.xml" ContentType="application/vnd.openxmlformats-officedocument.presentationml.tags+xml"/>
  <Override PartName="/ppt/tags/tag233.xml" ContentType="application/vnd.openxmlformats-officedocument.presentationml.tags+xml"/>
  <Override PartName="/ppt/tags/tag242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4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2.xml" ContentType="application/vnd.openxmlformats-officedocument.presentationml.tags+xml"/>
  <Override PartName="/ppt/tags/tag251.xml" ContentType="application/vnd.openxmlformats-officedocument.presentationml.tags+xml"/>
  <Override PartName="/ppt/tags/tag250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26.xml" ContentType="application/vnd.openxmlformats-officedocument.presentationml.tags+xml"/>
  <Override PartName="/ppt/tags/tag224.xml" ContentType="application/vnd.openxmlformats-officedocument.presentationml.tags+xml"/>
  <Override PartName="/ppt/tags/tag259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0.xml" ContentType="application/vnd.openxmlformats-officedocument.presentationml.tags+xml"/>
  <Override PartName="/ppt/tags/tag199.xml" ContentType="application/vnd.openxmlformats-officedocument.presentationml.tags+xml"/>
  <Override PartName="/ppt/tags/tag198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17.xml" ContentType="application/vnd.openxmlformats-officedocument.presentationml.tags+xml"/>
  <Override PartName="/ppt/tags/tag216.xml" ContentType="application/vnd.openxmlformats-officedocument.presentationml.tags+xml"/>
  <Override PartName="/ppt/tags/tag215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25.xml" ContentType="application/vnd.openxmlformats-officedocument.presentationml.tags+xml"/>
  <Override PartName="/ppt/tags/tag261.xml" ContentType="application/vnd.openxmlformats-officedocument.presentationml.tags+xml"/>
  <Override PartName="/ppt/tags/tag191.xml" ContentType="application/vnd.openxmlformats-officedocument.presentationml.tags+xml"/>
  <Override PartName="/ppt/tags/tag24.xml" ContentType="application/vnd.openxmlformats-officedocument.presentationml.tags+xml"/>
  <Override PartName="/ppt/tags/tag23.xml" ContentType="application/vnd.openxmlformats-officedocument.presentationml.tags+xml"/>
  <Override PartName="/ppt/tags/tag22.xml" ContentType="application/vnd.openxmlformats-officedocument.presentationml.tags+xml"/>
  <Override PartName="/ppt/tags/tag21.xml" ContentType="application/vnd.openxmlformats-officedocument.presentationml.tags+xml"/>
  <Override PartName="/ppt/tags/tag20.xml" ContentType="application/vnd.openxmlformats-officedocument.presentationml.tags+xml"/>
  <Override PartName="/ppt/tags/tag19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33.xml" ContentType="application/vnd.openxmlformats-officedocument.presentationml.tags+xml"/>
  <Override PartName="/ppt/tags/tag32.xml" ContentType="application/vnd.openxmlformats-officedocument.presentationml.tags+xml"/>
  <Override PartName="/ppt/tags/tag31.xml" ContentType="application/vnd.openxmlformats-officedocument.presentationml.tags+xml"/>
  <Override PartName="/ppt/tags/tag30.xml" ContentType="application/vnd.openxmlformats-officedocument.presentationml.tags+xml"/>
  <Override PartName="/ppt/tags/tag29.xml" ContentType="application/vnd.openxmlformats-officedocument.presentationml.tags+xml"/>
  <Override PartName="/ppt/tags/tag28.xml" ContentType="application/vnd.openxmlformats-officedocument.presentationml.tags+xml"/>
  <Override PartName="/ppt/tags/tag18.xml" ContentType="application/vnd.openxmlformats-officedocument.presentationml.tags+xml"/>
  <Override PartName="/ppt/tags/tag17.xml" ContentType="application/vnd.openxmlformats-officedocument.presentationml.tags+xml"/>
  <Override PartName="/ppt/tags/tag16.xml" ContentType="application/vnd.openxmlformats-officedocument.presentationml.tag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5.xml" ContentType="application/vnd.openxmlformats-officedocument.presentationml.tags+xml"/>
  <Override PartName="/ppt/tags/tag14.xml" ContentType="application/vnd.openxmlformats-officedocument.presentationml.tags+xml"/>
  <Override PartName="/ppt/tags/tag13.xml" ContentType="application/vnd.openxmlformats-officedocument.presentationml.tags+xml"/>
  <Override PartName="/ppt/tags/tag12.xml" ContentType="application/vnd.openxmlformats-officedocument.presentationml.tags+xml"/>
  <Override PartName="/ppt/tags/tag11.xml" ContentType="application/vnd.openxmlformats-officedocument.presentationml.tag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34.xml" ContentType="application/vnd.openxmlformats-officedocument.presentationml.tags+xml"/>
  <Override PartName="/ppt/tags/tag47.xml" ContentType="application/vnd.openxmlformats-officedocument.presentationml.tags+xml"/>
  <Override PartName="/ppt/tags/tag270.xml" ContentType="application/vnd.openxmlformats-officedocument.presentationml.tags+xml"/>
  <Override PartName="/ppt/tags/tag46.xml" ContentType="application/vnd.openxmlformats-officedocument.presentationml.tags+xml"/>
  <Override PartName="/ppt/tags/tag271.xml" ContentType="application/vnd.openxmlformats-officedocument.presentationml.tags+xml"/>
  <Override PartName="/ppt/tags/tag45.xml" ContentType="application/vnd.openxmlformats-officedocument.presentationml.tags+xml"/>
  <Override PartName="/ppt/tags/tag44.xml" ContentType="application/vnd.openxmlformats-officedocument.presentationml.tags+xml"/>
  <Override PartName="/ppt/tags/tag269.xml" ContentType="application/vnd.openxmlformats-officedocument.presentationml.tags+xml"/>
  <Override PartName="/ppt/tags/tag48.xml" ContentType="application/vnd.openxmlformats-officedocument.presentationml.tags+xml"/>
  <Override PartName="/ppt/tags/tag268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43.xml" ContentType="application/vnd.openxmlformats-officedocument.presentationml.tags+xml"/>
  <Override PartName="/ppt/tags/tag272.xml" ContentType="application/vnd.openxmlformats-officedocument.presentationml.tags+xml"/>
  <Override PartName="/ppt/tags/tag42.xml" ContentType="application/vnd.openxmlformats-officedocument.presentationml.tags+xml"/>
  <Override PartName="/ppt/tags/tag37.xml" ContentType="application/vnd.openxmlformats-officedocument.presentationml.tags+xml"/>
  <Override PartName="/ppt/tags/tag276.xml" ContentType="application/vnd.openxmlformats-officedocument.presentationml.tags+xml"/>
  <Override PartName="/ppt/tags/tag3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35.xml" ContentType="application/vnd.openxmlformats-officedocument.presentationml.tags+xml"/>
  <Override PartName="/ppt/tags/tag275.xml" ContentType="application/vnd.openxmlformats-officedocument.presentationml.tags+xml"/>
  <Override PartName="/ppt/tags/tag274.xml" ContentType="application/vnd.openxmlformats-officedocument.presentationml.tags+xml"/>
  <Override PartName="/ppt/tags/tag38.xml" ContentType="application/vnd.openxmlformats-officedocument.presentationml.tags+xml"/>
  <Override PartName="/ppt/tags/tag273.xml" ContentType="application/vnd.openxmlformats-officedocument.presentationml.tags+xml"/>
  <Override PartName="/ppt/tags/tag41.xml" ContentType="application/vnd.openxmlformats-officedocument.presentationml.tags+xml"/>
  <Override PartName="/ppt/tags/tag40.xml" ContentType="application/vnd.openxmlformats-officedocument.presentationml.tags+xml"/>
  <Override PartName="/ppt/tags/tag39.xml" ContentType="application/vnd.openxmlformats-officedocument.presentationml.tags+xml"/>
  <Override PartName="/ppt/tags/tag1.xml" ContentType="application/vnd.openxmlformats-officedocument.presentationml.tags+xml"/>
  <Override PartName="/ppt/tags/tag260.xml" ContentType="application/vnd.openxmlformats-officedocument.presentationml.tags+xml"/>
  <Override PartName="/ppt/tags/tag190.xml" ContentType="application/vnd.openxmlformats-officedocument.presentationml.tags+xml"/>
  <Override PartName="/ppt/tags/tag189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94.xml" ContentType="application/vnd.openxmlformats-officedocument.presentationml.tags+xml"/>
  <Override PartName="/ppt/tags/tag93.xml" ContentType="application/vnd.openxmlformats-officedocument.presentationml.tags+xml"/>
  <Override PartName="/ppt/tags/tag92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2.xml" ContentType="application/vnd.openxmlformats-officedocument.presentationml.tags+xml"/>
  <Override PartName="/ppt/tags/tag111.xml" ContentType="application/vnd.openxmlformats-officedocument.presentationml.tags+xml"/>
  <Override PartName="/ppt/tags/tag110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85.xml" ContentType="application/vnd.openxmlformats-officedocument.presentationml.tags+xml"/>
  <Override PartName="/ppt/tags/tag84.xml" ContentType="application/vnd.openxmlformats-officedocument.presentationml.tags+xml"/>
  <Override PartName="/ppt/tags/tag83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59.xml" ContentType="application/vnd.openxmlformats-officedocument.presentationml.tags+xml"/>
  <Override PartName="/ppt/tags/tag58.xml" ContentType="application/vnd.openxmlformats-officedocument.presentationml.tags+xml"/>
  <Override PartName="/ppt/tags/tag57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76.xml" ContentType="application/vnd.openxmlformats-officedocument.presentationml.tags+xml"/>
  <Override PartName="/ppt/tags/tag75.xml" ContentType="application/vnd.openxmlformats-officedocument.presentationml.tags+xml"/>
  <Override PartName="/ppt/tags/tag74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65.xml" ContentType="application/vnd.openxmlformats-officedocument.presentationml.tags+xml"/>
  <Override PartName="/ppt/tags/tag164.xml" ContentType="application/vnd.openxmlformats-officedocument.presentationml.tags+xml"/>
  <Override PartName="/ppt/tags/tag163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2.xml" ContentType="application/vnd.openxmlformats-officedocument.presentationml.tags+xml"/>
  <Override PartName="/ppt/tags/tag181.xml" ContentType="application/vnd.openxmlformats-officedocument.presentationml.tags+xml"/>
  <Override PartName="/ppt/tags/tag180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56.xml" ContentType="application/vnd.openxmlformats-officedocument.presentationml.tags+xml"/>
  <Override PartName="/ppt/tags/tag155.xml" ContentType="application/vnd.openxmlformats-officedocument.presentationml.tags+xml"/>
  <Override PartName="/ppt/tags/tag154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0.xml" ContentType="application/vnd.openxmlformats-officedocument.presentationml.tags+xml"/>
  <Override PartName="/ppt/tags/tag129.xml" ContentType="application/vnd.openxmlformats-officedocument.presentationml.tags+xml"/>
  <Override PartName="/ppt/tags/tag128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47.xml" ContentType="application/vnd.openxmlformats-officedocument.presentationml.tags+xml"/>
  <Override PartName="/ppt/tags/tag146.xml" ContentType="application/vnd.openxmlformats-officedocument.presentationml.tags+xml"/>
  <Override PartName="/ppt/tags/tag145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49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9" r:id="rId1"/>
  </p:sldMasterIdLst>
  <p:notesMasterIdLst>
    <p:notesMasterId r:id="rId14"/>
  </p:notesMasterIdLst>
  <p:handoutMasterIdLst>
    <p:handoutMasterId r:id="rId15"/>
  </p:handoutMasterIdLst>
  <p:sldIdLst>
    <p:sldId id="467" r:id="rId2"/>
    <p:sldId id="468" r:id="rId3"/>
    <p:sldId id="470" r:id="rId4"/>
    <p:sldId id="471" r:id="rId5"/>
    <p:sldId id="474" r:id="rId6"/>
    <p:sldId id="479" r:id="rId7"/>
    <p:sldId id="480" r:id="rId8"/>
    <p:sldId id="482" r:id="rId9"/>
    <p:sldId id="490" r:id="rId10"/>
    <p:sldId id="491" r:id="rId11"/>
    <p:sldId id="492" r:id="rId12"/>
    <p:sldId id="493" r:id="rId13"/>
  </p:sldIdLst>
  <p:sldSz cx="9144000" cy="6858000" type="screen4x3"/>
  <p:notesSz cx="6794500" cy="9906000"/>
  <p:custDataLst>
    <p:tags r:id="rId16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000" kern="1200">
        <a:solidFill>
          <a:schemeClr val="bg1"/>
        </a:solidFill>
        <a:latin typeface="Polo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000" kern="1200">
        <a:solidFill>
          <a:schemeClr val="bg1"/>
        </a:solidFill>
        <a:latin typeface="Polo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000" kern="1200">
        <a:solidFill>
          <a:schemeClr val="bg1"/>
        </a:solidFill>
        <a:latin typeface="Polo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000" kern="1200">
        <a:solidFill>
          <a:schemeClr val="bg1"/>
        </a:solidFill>
        <a:latin typeface="Polo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000" kern="1200">
        <a:solidFill>
          <a:schemeClr val="bg1"/>
        </a:solidFill>
        <a:latin typeface="Polo"/>
        <a:ea typeface="+mn-ea"/>
        <a:cs typeface="Arial" charset="0"/>
      </a:defRPr>
    </a:lvl5pPr>
    <a:lvl6pPr marL="2286000" algn="l" defTabSz="914400" rtl="0" eaLnBrk="1" latinLnBrk="0" hangingPunct="1">
      <a:defRPr sz="1000" kern="1200">
        <a:solidFill>
          <a:schemeClr val="bg1"/>
        </a:solidFill>
        <a:latin typeface="Polo"/>
        <a:ea typeface="+mn-ea"/>
        <a:cs typeface="Arial" charset="0"/>
      </a:defRPr>
    </a:lvl6pPr>
    <a:lvl7pPr marL="2743200" algn="l" defTabSz="914400" rtl="0" eaLnBrk="1" latinLnBrk="0" hangingPunct="1">
      <a:defRPr sz="1000" kern="1200">
        <a:solidFill>
          <a:schemeClr val="bg1"/>
        </a:solidFill>
        <a:latin typeface="Polo"/>
        <a:ea typeface="+mn-ea"/>
        <a:cs typeface="Arial" charset="0"/>
      </a:defRPr>
    </a:lvl7pPr>
    <a:lvl8pPr marL="3200400" algn="l" defTabSz="914400" rtl="0" eaLnBrk="1" latinLnBrk="0" hangingPunct="1">
      <a:defRPr sz="1000" kern="1200">
        <a:solidFill>
          <a:schemeClr val="bg1"/>
        </a:solidFill>
        <a:latin typeface="Polo"/>
        <a:ea typeface="+mn-ea"/>
        <a:cs typeface="Arial" charset="0"/>
      </a:defRPr>
    </a:lvl8pPr>
    <a:lvl9pPr marL="3657600" algn="l" defTabSz="914400" rtl="0" eaLnBrk="1" latinLnBrk="0" hangingPunct="1">
      <a:defRPr sz="1000" kern="1200">
        <a:solidFill>
          <a:schemeClr val="bg1"/>
        </a:solidFill>
        <a:latin typeface="Polo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DDDDD"/>
    <a:srgbClr val="F21C0A"/>
    <a:srgbClr val="FF9933"/>
    <a:srgbClr val="969696"/>
    <a:srgbClr val="99FFCC"/>
    <a:srgbClr val="5F5F5F"/>
    <a:srgbClr val="FCBBB6"/>
    <a:srgbClr val="C7E1FD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661" autoAdjust="0"/>
    <p:restoredTop sz="97004" autoAdjust="0"/>
  </p:normalViewPr>
  <p:slideViewPr>
    <p:cSldViewPr snapToObjects="1">
      <p:cViewPr>
        <p:scale>
          <a:sx n="100" d="100"/>
          <a:sy n="100" d="100"/>
        </p:scale>
        <p:origin x="-564" y="-222"/>
      </p:cViewPr>
      <p:guideLst>
        <p:guide orient="horz" pos="2585"/>
        <p:guide orient="horz" pos="4031"/>
        <p:guide orient="horz" pos="1083"/>
        <p:guide orient="horz" pos="1451"/>
        <p:guide orient="horz" pos="718"/>
        <p:guide pos="4099"/>
        <p:guide pos="385"/>
        <p:guide pos="248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>
      <p:cViewPr>
        <p:scale>
          <a:sx n="75" d="100"/>
          <a:sy n="75" d="100"/>
        </p:scale>
        <p:origin x="-2190" y="-78"/>
      </p:cViewPr>
      <p:guideLst>
        <p:guide orient="horz" pos="3120"/>
        <p:guide pos="2140"/>
      </p:guideLst>
    </p:cSldViewPr>
  </p:notesViewPr>
  <p:gridSpacing cx="46085125" cy="4608512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customXml" Target="../customXml/item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23" Type="http://schemas.openxmlformats.org/officeDocument/2006/relationships/customXml" Target="../customXml/item3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Relationship Id="rId22" Type="http://schemas.openxmlformats.org/officeDocument/2006/relationships/customXml" Target="../customXml/item2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&#1050;&#1085;&#1080;&#1075;&#1072;1" TargetMode="Externa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&#1050;&#1085;&#1080;&#1075;&#1072;1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&#1050;&#1085;&#1080;&#1075;&#1072;1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tx>
        <c:rich>
          <a:bodyPr/>
          <a:lstStyle/>
          <a:p>
            <a:pPr>
              <a:defRPr sz="1000"/>
            </a:pPr>
            <a:r>
              <a:rPr lang="ru-RU" sz="1000"/>
              <a:t>СО2, г/кВт*ч</a:t>
            </a:r>
          </a:p>
        </c:rich>
      </c:tx>
      <c:layout>
        <c:manualLayout>
          <c:xMode val="edge"/>
          <c:yMode val="edge"/>
          <c:x val="1.9284776902887203E-2"/>
          <c:y val="3.2407407407407531E-2"/>
        </c:manualLayout>
      </c:layout>
    </c:title>
    <c:plotArea>
      <c:layout/>
      <c:barChart>
        <c:barDir val="col"/>
        <c:grouping val="clustered"/>
        <c:ser>
          <c:idx val="0"/>
          <c:order val="0"/>
          <c:tx>
            <c:strRef>
              <c:f>Лист1!$D$11</c:f>
              <c:strCache>
                <c:ptCount val="1"/>
                <c:pt idx="0">
                  <c:v>СО2</c:v>
                </c:pt>
              </c:strCache>
            </c:strRef>
          </c:tx>
          <c:dPt>
            <c:idx val="0"/>
            <c:spPr>
              <a:solidFill>
                <a:schemeClr val="accent6">
                  <a:lumMod val="50000"/>
                </a:schemeClr>
              </a:solidFill>
            </c:spPr>
          </c:dPt>
          <c:dPt>
            <c:idx val="1"/>
            <c:spPr>
              <a:solidFill>
                <a:schemeClr val="accent6">
                  <a:lumMod val="75000"/>
                </a:schemeClr>
              </a:solidFill>
            </c:spPr>
          </c:dPt>
          <c:dPt>
            <c:idx val="2"/>
            <c:spPr>
              <a:solidFill>
                <a:schemeClr val="accent6">
                  <a:lumMod val="60000"/>
                  <a:lumOff val="40000"/>
                </a:schemeClr>
              </a:solidFill>
            </c:spPr>
          </c:dPt>
          <c:dLbls>
            <c:dLbl>
              <c:idx val="0"/>
              <c:layout>
                <c:manualLayout>
                  <c:x val="0"/>
                  <c:y val="0.36574074074074081"/>
                </c:manualLayout>
              </c:layout>
              <c:showVal val="1"/>
            </c:dLbl>
            <c:dLbl>
              <c:idx val="1"/>
              <c:layout>
                <c:manualLayout>
                  <c:x val="0"/>
                  <c:y val="0.19444444444444517"/>
                </c:manualLayout>
              </c:layout>
              <c:showVal val="1"/>
            </c:dLbl>
            <c:dLbl>
              <c:idx val="2"/>
              <c:layout>
                <c:manualLayout>
                  <c:x val="2.7777777777777978E-3"/>
                  <c:y val="0.13425925925925927"/>
                </c:manualLayout>
              </c:layout>
              <c:showVal val="1"/>
            </c:dLbl>
            <c:delete val="1"/>
            <c:txPr>
              <a:bodyPr/>
              <a:lstStyle/>
              <a:p>
                <a:pPr>
                  <a:defRPr b="1"/>
                </a:pPr>
                <a:endParaRPr lang="ru-RU"/>
              </a:p>
            </c:txPr>
          </c:dLbls>
          <c:cat>
            <c:strRef>
              <c:f>Лист1!$C$12:$C$14</c:f>
              <c:strCache>
                <c:ptCount val="3"/>
                <c:pt idx="0">
                  <c:v>ПСУ (УГОЛЬ)</c:v>
                </c:pt>
                <c:pt idx="1">
                  <c:v>ПСУ (ГАЗ)</c:v>
                </c:pt>
                <c:pt idx="2">
                  <c:v>ПГУ</c:v>
                </c:pt>
              </c:strCache>
            </c:strRef>
          </c:cat>
          <c:val>
            <c:numRef>
              <c:f>Лист1!$D$12:$D$14</c:f>
              <c:numCache>
                <c:formatCode>General</c:formatCode>
                <c:ptCount val="3"/>
                <c:pt idx="0">
                  <c:v>1030</c:v>
                </c:pt>
                <c:pt idx="1">
                  <c:v>520</c:v>
                </c:pt>
                <c:pt idx="2">
                  <c:v>360</c:v>
                </c:pt>
              </c:numCache>
            </c:numRef>
          </c:val>
        </c:ser>
        <c:gapWidth val="30"/>
        <c:overlap val="-50"/>
        <c:axId val="73176960"/>
        <c:axId val="73178496"/>
      </c:barChart>
      <c:catAx>
        <c:axId val="73176960"/>
        <c:scaling>
          <c:orientation val="minMax"/>
        </c:scaling>
        <c:axPos val="b"/>
        <c:tickLblPos val="nextTo"/>
        <c:crossAx val="73178496"/>
        <c:crosses val="autoZero"/>
        <c:auto val="1"/>
        <c:lblAlgn val="ctr"/>
        <c:lblOffset val="100"/>
      </c:catAx>
      <c:valAx>
        <c:axId val="73178496"/>
        <c:scaling>
          <c:orientation val="minMax"/>
        </c:scaling>
        <c:axPos val="l"/>
        <c:majorGridlines>
          <c:spPr>
            <a:ln>
              <a:solidFill>
                <a:schemeClr val="bg1"/>
              </a:solidFill>
            </a:ln>
          </c:spPr>
        </c:majorGridlines>
        <c:numFmt formatCode="General" sourceLinked="1"/>
        <c:tickLblPos val="nextTo"/>
        <c:spPr>
          <a:noFill/>
          <a:ln>
            <a:solidFill>
              <a:schemeClr val="tx1"/>
            </a:solidFill>
          </a:ln>
        </c:spPr>
        <c:crossAx val="73176960"/>
        <c:crosses val="autoZero"/>
        <c:crossBetween val="between"/>
      </c:valAx>
    </c:plotArea>
    <c:plotVisOnly val="1"/>
  </c:chart>
  <c:spPr>
    <a:ln>
      <a:solidFill>
        <a:schemeClr val="tx1"/>
      </a:solidFill>
    </a:ln>
  </c:sp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12"/>
  <c:chart>
    <c:plotArea>
      <c:layout>
        <c:manualLayout>
          <c:layoutTarget val="inner"/>
          <c:xMode val="edge"/>
          <c:yMode val="edge"/>
          <c:x val="7.8919072615923014E-2"/>
          <c:y val="5.1400554097404488E-2"/>
          <c:w val="0.89638779527559043"/>
          <c:h val="0.8326195683872849"/>
        </c:manualLayout>
      </c:layout>
      <c:barChart>
        <c:barDir val="col"/>
        <c:grouping val="stacked"/>
        <c:ser>
          <c:idx val="0"/>
          <c:order val="0"/>
          <c:tx>
            <c:strRef>
              <c:f>Лист1!$F$11</c:f>
              <c:strCache>
                <c:ptCount val="1"/>
                <c:pt idx="0">
                  <c:v>NOx</c:v>
                </c:pt>
              </c:strCache>
            </c:strRef>
          </c:tx>
          <c:cat>
            <c:strRef>
              <c:f>Лист1!$E$12:$E$14</c:f>
              <c:strCache>
                <c:ptCount val="3"/>
                <c:pt idx="0">
                  <c:v>ПСУ (УГОЛЬ)</c:v>
                </c:pt>
                <c:pt idx="1">
                  <c:v>ПСУ (ГАЗ)</c:v>
                </c:pt>
                <c:pt idx="2">
                  <c:v>ПГУ</c:v>
                </c:pt>
              </c:strCache>
            </c:strRef>
          </c:cat>
          <c:val>
            <c:numRef>
              <c:f>Лист1!$F$12:$F$14</c:f>
              <c:numCache>
                <c:formatCode>General</c:formatCode>
                <c:ptCount val="3"/>
                <c:pt idx="0">
                  <c:v>1.5</c:v>
                </c:pt>
                <c:pt idx="1">
                  <c:v>0.9</c:v>
                </c:pt>
                <c:pt idx="2">
                  <c:v>0.30000000000000032</c:v>
                </c:pt>
              </c:numCache>
            </c:numRef>
          </c:val>
        </c:ser>
        <c:ser>
          <c:idx val="1"/>
          <c:order val="1"/>
          <c:tx>
            <c:strRef>
              <c:f>Лист1!$G$11</c:f>
              <c:strCache>
                <c:ptCount val="1"/>
                <c:pt idx="0">
                  <c:v>SO2</c:v>
                </c:pt>
              </c:strCache>
            </c:strRef>
          </c:tx>
          <c:cat>
            <c:strRef>
              <c:f>Лист1!$E$12:$E$14</c:f>
              <c:strCache>
                <c:ptCount val="3"/>
                <c:pt idx="0">
                  <c:v>ПСУ (УГОЛЬ)</c:v>
                </c:pt>
                <c:pt idx="1">
                  <c:v>ПСУ (ГАЗ)</c:v>
                </c:pt>
                <c:pt idx="2">
                  <c:v>ПГУ</c:v>
                </c:pt>
              </c:strCache>
            </c:strRef>
          </c:cat>
          <c:val>
            <c:numRef>
              <c:f>Лист1!$G$12:$G$14</c:f>
              <c:numCache>
                <c:formatCode>General</c:formatCode>
                <c:ptCount val="3"/>
                <c:pt idx="0">
                  <c:v>1.2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</c:ser>
        <c:ser>
          <c:idx val="2"/>
          <c:order val="2"/>
          <c:tx>
            <c:strRef>
              <c:f>Лист1!$H$11</c:f>
              <c:strCache>
                <c:ptCount val="1"/>
                <c:pt idx="0">
                  <c:v>Зола</c:v>
                </c:pt>
              </c:strCache>
            </c:strRef>
          </c:tx>
          <c:cat>
            <c:strRef>
              <c:f>Лист1!$E$12:$E$14</c:f>
              <c:strCache>
                <c:ptCount val="3"/>
                <c:pt idx="0">
                  <c:v>ПСУ (УГОЛЬ)</c:v>
                </c:pt>
                <c:pt idx="1">
                  <c:v>ПСУ (ГАЗ)</c:v>
                </c:pt>
                <c:pt idx="2">
                  <c:v>ПГУ</c:v>
                </c:pt>
              </c:strCache>
            </c:strRef>
          </c:cat>
          <c:val>
            <c:numRef>
              <c:f>Лист1!$H$12:$H$14</c:f>
              <c:numCache>
                <c:formatCode>General</c:formatCode>
                <c:ptCount val="3"/>
                <c:pt idx="0">
                  <c:v>0.30000000000000032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</c:ser>
        <c:ser>
          <c:idx val="3"/>
          <c:order val="3"/>
          <c:tx>
            <c:strRef>
              <c:f>Лист1!$I$11</c:f>
              <c:strCache>
                <c:ptCount val="1"/>
                <c:pt idx="0">
                  <c:v>CO</c:v>
                </c:pt>
              </c:strCache>
            </c:strRef>
          </c:tx>
          <c:cat>
            <c:strRef>
              <c:f>Лист1!$E$12:$E$14</c:f>
              <c:strCache>
                <c:ptCount val="3"/>
                <c:pt idx="0">
                  <c:v>ПСУ (УГОЛЬ)</c:v>
                </c:pt>
                <c:pt idx="1">
                  <c:v>ПСУ (ГАЗ)</c:v>
                </c:pt>
                <c:pt idx="2">
                  <c:v>ПГУ</c:v>
                </c:pt>
              </c:strCache>
            </c:strRef>
          </c:cat>
          <c:val>
            <c:numRef>
              <c:f>Лист1!$I$12:$I$14</c:f>
              <c:numCache>
                <c:formatCode>General</c:formatCode>
                <c:ptCount val="3"/>
                <c:pt idx="0">
                  <c:v>0.05</c:v>
                </c:pt>
                <c:pt idx="1">
                  <c:v>0.4</c:v>
                </c:pt>
                <c:pt idx="2">
                  <c:v>0.05</c:v>
                </c:pt>
              </c:numCache>
            </c:numRef>
          </c:val>
        </c:ser>
        <c:overlap val="100"/>
        <c:axId val="73871360"/>
        <c:axId val="73872896"/>
      </c:barChart>
      <c:catAx>
        <c:axId val="73871360"/>
        <c:scaling>
          <c:orientation val="minMax"/>
        </c:scaling>
        <c:axPos val="b"/>
        <c:tickLblPos val="nextTo"/>
        <c:crossAx val="73872896"/>
        <c:crosses val="autoZero"/>
        <c:auto val="1"/>
        <c:lblAlgn val="ctr"/>
        <c:lblOffset val="100"/>
      </c:catAx>
      <c:valAx>
        <c:axId val="73872896"/>
        <c:scaling>
          <c:orientation val="minMax"/>
        </c:scaling>
        <c:axPos val="l"/>
        <c:majorGridlines>
          <c:spPr>
            <a:ln>
              <a:solidFill>
                <a:schemeClr val="bg1"/>
              </a:solidFill>
            </a:ln>
          </c:spPr>
        </c:majorGridlines>
        <c:numFmt formatCode="General" sourceLinked="1"/>
        <c:tickLblPos val="nextTo"/>
        <c:crossAx val="7387136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70966561147783835"/>
          <c:y val="9.6454505686789538E-2"/>
          <c:w val="0.22366765369084327"/>
          <c:h val="0.33486876640420127"/>
        </c:manualLayout>
      </c:layout>
    </c:legend>
    <c:plotVisOnly val="1"/>
  </c:chart>
  <c:spPr>
    <a:ln>
      <a:solidFill>
        <a:schemeClr val="tx1"/>
      </a:solidFill>
    </a:ln>
  </c:spPr>
  <c:externalData r:id="rId1"/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plotArea>
      <c:layout>
        <c:manualLayout>
          <c:layoutTarget val="inner"/>
          <c:xMode val="edge"/>
          <c:yMode val="edge"/>
          <c:x val="0.12571672253218488"/>
          <c:y val="3.8475048158514588E-2"/>
          <c:w val="0.87405468066491765"/>
          <c:h val="0.8326195683872849"/>
        </c:manualLayout>
      </c:layout>
      <c:bubbleChart>
        <c:ser>
          <c:idx val="0"/>
          <c:order val="0"/>
          <c:tx>
            <c:strRef>
              <c:f>Лист1!$J$12</c:f>
              <c:strCache>
                <c:ptCount val="1"/>
                <c:pt idx="0">
                  <c:v>ПСУ (УГОЛЬ)</c:v>
                </c:pt>
              </c:strCache>
            </c:strRef>
          </c:tx>
          <c:spPr>
            <a:solidFill>
              <a:srgbClr val="FF0000"/>
            </a:solidFill>
          </c:spPr>
          <c:dLbls>
            <c:showVal val="1"/>
          </c:dLbls>
          <c:xVal>
            <c:numRef>
              <c:f>Лист1!$K$12</c:f>
              <c:numCache>
                <c:formatCode>0%</c:formatCode>
                <c:ptCount val="1"/>
                <c:pt idx="0">
                  <c:v>0.37000000000000038</c:v>
                </c:pt>
              </c:numCache>
            </c:numRef>
          </c:xVal>
          <c:yVal>
            <c:numRef>
              <c:f>Лист1!$K$12</c:f>
              <c:numCache>
                <c:formatCode>0%</c:formatCode>
                <c:ptCount val="1"/>
                <c:pt idx="0">
                  <c:v>0.37000000000000038</c:v>
                </c:pt>
              </c:numCache>
            </c:numRef>
          </c:yVal>
          <c:bubbleSize>
            <c:numRef>
              <c:f>Лист1!$K$12</c:f>
              <c:numCache>
                <c:formatCode>0%</c:formatCode>
                <c:ptCount val="1"/>
                <c:pt idx="0">
                  <c:v>0.37000000000000038</c:v>
                </c:pt>
              </c:numCache>
            </c:numRef>
          </c:bubbleSize>
        </c:ser>
        <c:ser>
          <c:idx val="1"/>
          <c:order val="1"/>
          <c:tx>
            <c:strRef>
              <c:f>Лист1!$J$14</c:f>
              <c:strCache>
                <c:ptCount val="1"/>
                <c:pt idx="0">
                  <c:v>ПГУ</c:v>
                </c:pt>
              </c:strCache>
            </c:strRef>
          </c:tx>
          <c:spPr>
            <a:solidFill>
              <a:srgbClr val="FFFF00"/>
            </a:solidFill>
            <a:ln w="25400">
              <a:noFill/>
            </a:ln>
          </c:spPr>
          <c:dLbls>
            <c:showVal val="1"/>
          </c:dLbls>
          <c:xVal>
            <c:numLit>
              <c:formatCode>General</c:formatCode>
              <c:ptCount val="1"/>
              <c:pt idx="0">
                <c:v>1.5</c:v>
              </c:pt>
            </c:numLit>
          </c:xVal>
          <c:yVal>
            <c:numRef>
              <c:f>Лист1!$K$14</c:f>
              <c:numCache>
                <c:formatCode>0%</c:formatCode>
                <c:ptCount val="1"/>
                <c:pt idx="0">
                  <c:v>0.56000000000000005</c:v>
                </c:pt>
              </c:numCache>
            </c:numRef>
          </c:yVal>
          <c:bubbleSize>
            <c:numRef>
              <c:f>Лист1!$K$14</c:f>
              <c:numCache>
                <c:formatCode>0%</c:formatCode>
                <c:ptCount val="1"/>
                <c:pt idx="0">
                  <c:v>0.56000000000000005</c:v>
                </c:pt>
              </c:numCache>
            </c:numRef>
          </c:bubbleSize>
        </c:ser>
        <c:ser>
          <c:idx val="2"/>
          <c:order val="2"/>
          <c:tx>
            <c:strRef>
              <c:f>Лист1!$J$13</c:f>
              <c:strCache>
                <c:ptCount val="1"/>
                <c:pt idx="0">
                  <c:v>ПСУ (ГАЗ)</c:v>
                </c:pt>
              </c:strCache>
            </c:strRef>
          </c:tx>
          <c:spPr>
            <a:solidFill>
              <a:srgbClr val="00B050"/>
            </a:solidFill>
            <a:ln w="25400">
              <a:noFill/>
            </a:ln>
          </c:spPr>
          <c:dLbls>
            <c:showVal val="1"/>
          </c:dLbls>
          <c:xVal>
            <c:numLit>
              <c:formatCode>General</c:formatCode>
              <c:ptCount val="1"/>
              <c:pt idx="0">
                <c:v>1</c:v>
              </c:pt>
            </c:numLit>
          </c:xVal>
          <c:yVal>
            <c:numRef>
              <c:f>Лист1!$K$13</c:f>
              <c:numCache>
                <c:formatCode>0%</c:formatCode>
                <c:ptCount val="1"/>
                <c:pt idx="0">
                  <c:v>0.4</c:v>
                </c:pt>
              </c:numCache>
            </c:numRef>
          </c:yVal>
          <c:bubbleSize>
            <c:numRef>
              <c:f>Лист1!$K$13</c:f>
              <c:numCache>
                <c:formatCode>0%</c:formatCode>
                <c:ptCount val="1"/>
                <c:pt idx="0">
                  <c:v>0.4</c:v>
                </c:pt>
              </c:numCache>
            </c:numRef>
          </c:bubbleSize>
        </c:ser>
        <c:bubbleScale val="100"/>
        <c:axId val="73884800"/>
        <c:axId val="73886336"/>
      </c:bubbleChart>
      <c:valAx>
        <c:axId val="73884800"/>
        <c:scaling>
          <c:orientation val="minMax"/>
        </c:scaling>
        <c:delete val="1"/>
        <c:axPos val="b"/>
        <c:numFmt formatCode="0%" sourceLinked="1"/>
        <c:tickLblPos val="none"/>
        <c:crossAx val="73886336"/>
        <c:crosses val="autoZero"/>
        <c:crossBetween val="midCat"/>
      </c:valAx>
      <c:valAx>
        <c:axId val="73886336"/>
        <c:scaling>
          <c:orientation val="minMax"/>
          <c:max val="0.6500000000000018"/>
          <c:min val="0.30000000000000032"/>
        </c:scaling>
        <c:axPos val="l"/>
        <c:majorGridlines>
          <c:spPr>
            <a:ln>
              <a:solidFill>
                <a:schemeClr val="bg1"/>
              </a:solidFill>
            </a:ln>
          </c:spPr>
        </c:majorGridlines>
        <c:numFmt formatCode="0%" sourceLinked="1"/>
        <c:majorTickMark val="none"/>
        <c:tickLblPos val="nextTo"/>
        <c:crossAx val="73884800"/>
        <c:crosses val="autoZero"/>
        <c:crossBetween val="midCat"/>
      </c:valAx>
    </c:plotArea>
    <c:legend>
      <c:legendPos val="r"/>
      <c:layout>
        <c:manualLayout>
          <c:xMode val="edge"/>
          <c:yMode val="edge"/>
          <c:x val="0.67434960528737342"/>
          <c:y val="0.72882394213011492"/>
          <c:w val="0.3131653543307088"/>
          <c:h val="0.24189231554389079"/>
        </c:manualLayout>
      </c:layout>
      <c:txPr>
        <a:bodyPr/>
        <a:lstStyle/>
        <a:p>
          <a:pPr>
            <a:defRPr sz="800"/>
          </a:pPr>
          <a:endParaRPr lang="ru-RU"/>
        </a:p>
      </c:txPr>
    </c:legend>
    <c:plotVisOnly val="1"/>
  </c:chart>
  <c:spPr>
    <a:ln>
      <a:solidFill>
        <a:schemeClr val="tx1"/>
      </a:solidFill>
    </a:ln>
  </c:spPr>
  <c:externalData r:id="rId1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1042</cdr:x>
      <cdr:y>0</cdr:y>
    </cdr:from>
    <cdr:to>
      <cdr:x>0.39267</cdr:x>
      <cdr:y>0.18403</cdr:y>
    </cdr:to>
    <cdr:sp macro="" textlink="">
      <cdr:nvSpPr>
        <cdr:cNvPr id="2" name="TextBox 5"/>
        <cdr:cNvSpPr txBox="1"/>
      </cdr:nvSpPr>
      <cdr:spPr>
        <a:xfrm xmlns:a="http://schemas.openxmlformats.org/drawingml/2006/main">
          <a:off x="323980" y="0"/>
          <a:ext cx="828148" cy="371046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 cmpd="sng">
          <a:noFill/>
        </a:ln>
        <a:effectLst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ysClr val="windowText" lastClr="000000"/>
              </a:solidFill>
              <a:latin typeface="Calibri"/>
            </a:defRPr>
          </a:lvl1pPr>
          <a:lvl2pPr marL="457200" indent="0">
            <a:defRPr sz="1100">
              <a:solidFill>
                <a:sysClr val="windowText" lastClr="000000"/>
              </a:solidFill>
              <a:latin typeface="Calibri"/>
            </a:defRPr>
          </a:lvl2pPr>
          <a:lvl3pPr marL="914400" indent="0">
            <a:defRPr sz="1100">
              <a:solidFill>
                <a:sysClr val="windowText" lastClr="000000"/>
              </a:solidFill>
              <a:latin typeface="Calibri"/>
            </a:defRPr>
          </a:lvl3pPr>
          <a:lvl4pPr marL="1371600" indent="0">
            <a:defRPr sz="1100">
              <a:solidFill>
                <a:sysClr val="windowText" lastClr="000000"/>
              </a:solidFill>
              <a:latin typeface="Calibri"/>
            </a:defRPr>
          </a:lvl4pPr>
          <a:lvl5pPr marL="1828800" indent="0">
            <a:defRPr sz="1100">
              <a:solidFill>
                <a:sysClr val="windowText" lastClr="000000"/>
              </a:solidFill>
              <a:latin typeface="Calibri"/>
            </a:defRPr>
          </a:lvl5pPr>
          <a:lvl6pPr marL="2286000" indent="0">
            <a:defRPr sz="1100">
              <a:solidFill>
                <a:sysClr val="windowText" lastClr="000000"/>
              </a:solidFill>
              <a:latin typeface="Calibri"/>
            </a:defRPr>
          </a:lvl6pPr>
          <a:lvl7pPr marL="2743200" indent="0">
            <a:defRPr sz="1100">
              <a:solidFill>
                <a:sysClr val="windowText" lastClr="000000"/>
              </a:solidFill>
              <a:latin typeface="Calibri"/>
            </a:defRPr>
          </a:lvl7pPr>
          <a:lvl8pPr marL="3200400" indent="0">
            <a:defRPr sz="1100">
              <a:solidFill>
                <a:sysClr val="windowText" lastClr="000000"/>
              </a:solidFill>
              <a:latin typeface="Calibri"/>
            </a:defRPr>
          </a:lvl8pPr>
          <a:lvl9pPr marL="3657600" indent="0">
            <a:defRPr sz="1100">
              <a:solidFill>
                <a:sysClr val="windowText" lastClr="000000"/>
              </a:solidFill>
              <a:latin typeface="Calibri"/>
            </a:defRPr>
          </a:lvl9pPr>
        </a:lstStyle>
        <a:p xmlns:a="http://schemas.openxmlformats.org/drawingml/2006/main">
          <a:r>
            <a:rPr lang="ru-RU" sz="1100" b="1" dirty="0"/>
            <a:t>г/кВт*ч </a:t>
          </a:r>
        </a:p>
      </cdr:txBody>
    </cdr:sp>
  </cdr:relSizeAnchor>
  <cdr:relSizeAnchor xmlns:cdr="http://schemas.openxmlformats.org/drawingml/2006/chartDrawing">
    <cdr:from>
      <cdr:x>0.175</cdr:x>
      <cdr:y>0.08333</cdr:y>
    </cdr:from>
    <cdr:to>
      <cdr:x>0.31905</cdr:x>
      <cdr:y>0.26736</cdr:y>
    </cdr:to>
    <cdr:sp macro="" textlink="">
      <cdr:nvSpPr>
        <cdr:cNvPr id="3" name="TextBox 5"/>
        <cdr:cNvSpPr txBox="1"/>
      </cdr:nvSpPr>
      <cdr:spPr>
        <a:xfrm xmlns:a="http://schemas.openxmlformats.org/drawingml/2006/main">
          <a:off x="513462" y="168012"/>
          <a:ext cx="422641" cy="371046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 cmpd="sng">
          <a:noFill/>
        </a:ln>
        <a:effectLst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100" b="1" dirty="0"/>
            <a:t>3,0</a:t>
          </a:r>
        </a:p>
      </cdr:txBody>
    </cdr:sp>
  </cdr:relSizeAnchor>
  <cdr:relSizeAnchor xmlns:cdr="http://schemas.openxmlformats.org/drawingml/2006/chartDrawing">
    <cdr:from>
      <cdr:x>0.47917</cdr:x>
      <cdr:y>0.47222</cdr:y>
    </cdr:from>
    <cdr:to>
      <cdr:x>0.61355</cdr:x>
      <cdr:y>0.65625</cdr:y>
    </cdr:to>
    <cdr:sp macro="" textlink="">
      <cdr:nvSpPr>
        <cdr:cNvPr id="4" name="TextBox 5"/>
        <cdr:cNvSpPr txBox="1"/>
      </cdr:nvSpPr>
      <cdr:spPr>
        <a:xfrm xmlns:a="http://schemas.openxmlformats.org/drawingml/2006/main">
          <a:off x="1405919" y="952101"/>
          <a:ext cx="394281" cy="371046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 cmpd="sng">
          <a:noFill/>
        </a:ln>
        <a:effectLst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100" b="1" dirty="0"/>
            <a:t>1,3</a:t>
          </a:r>
        </a:p>
      </cdr:txBody>
    </cdr:sp>
  </cdr:relSizeAnchor>
  <cdr:relSizeAnchor xmlns:cdr="http://schemas.openxmlformats.org/drawingml/2006/chartDrawing">
    <cdr:from>
      <cdr:x>0.77708</cdr:x>
      <cdr:y>0.68403</cdr:y>
    </cdr:from>
    <cdr:to>
      <cdr:x>0.90805</cdr:x>
      <cdr:y>0.86806</cdr:y>
    </cdr:to>
    <cdr:sp macro="" textlink="">
      <cdr:nvSpPr>
        <cdr:cNvPr id="5" name="TextBox 5"/>
        <cdr:cNvSpPr txBox="1"/>
      </cdr:nvSpPr>
      <cdr:spPr>
        <a:xfrm xmlns:a="http://schemas.openxmlformats.org/drawingml/2006/main">
          <a:off x="2280008" y="1379158"/>
          <a:ext cx="384287" cy="371045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 cmpd="sng">
          <a:noFill/>
        </a:ln>
        <a:effectLst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100" b="1" dirty="0" smtClean="0"/>
            <a:t>0,3</a:t>
          </a:r>
          <a:endParaRPr lang="ru-RU" sz="1100" b="1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4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481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94" tIns="45647" rIns="91294" bIns="45647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23449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8100" y="0"/>
            <a:ext cx="294481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94" tIns="45647" rIns="91294" bIns="45647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23450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09113"/>
            <a:ext cx="294481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94" tIns="45647" rIns="91294" bIns="45647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23450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8100" y="9409113"/>
            <a:ext cx="294481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94" tIns="45647" rIns="91294" bIns="45647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0E3C6999-38E0-48E5-B11A-8F3B044052D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481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94" tIns="45647" rIns="91294" bIns="45647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8100" y="0"/>
            <a:ext cx="294481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94" tIns="45647" rIns="91294" bIns="45647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536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20750" y="742950"/>
            <a:ext cx="4953000" cy="37147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17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05350"/>
            <a:ext cx="5435600" cy="445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94" tIns="45647" rIns="91294" bIns="4564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717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09113"/>
            <a:ext cx="294481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94" tIns="45647" rIns="91294" bIns="45647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17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8100" y="9409113"/>
            <a:ext cx="294481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94" tIns="45647" rIns="91294" bIns="45647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3C078F6-471C-46C6-B3AD-50DDECD4CF89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 bwMode="gray">
      <p:bgPr>
        <a:solidFill>
          <a:srgbClr val="F21C0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046413" y="4267200"/>
            <a:ext cx="5106987" cy="989013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Klicken Sie, um das Titelformat zu bearbeiten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046413" y="5508625"/>
            <a:ext cx="5106987" cy="741363"/>
          </a:xfrm>
        </p:spPr>
        <p:txBody>
          <a:bodyPr/>
          <a:lstStyle>
            <a:lvl1pPr>
              <a:lnSpc>
                <a:spcPts val="2000"/>
              </a:lnSpc>
              <a:defRPr sz="1600">
                <a:solidFill>
                  <a:schemeClr val="bg1"/>
                </a:solidFill>
              </a:defRPr>
            </a:lvl1pPr>
          </a:lstStyle>
          <a:p>
            <a:r>
              <a:rPr lang="de-DE"/>
              <a:t>Klicken Sie, um das Format des Untertitelmasters zu bearbeiten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F21FFD-2C52-4D49-8BD0-A8E1A7DC564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      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53200" y="1143000"/>
            <a:ext cx="1981200" cy="51054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1143000"/>
            <a:ext cx="5791200" cy="51054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77AEC9-7B1C-4003-9526-222EBEBBB90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      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1143000"/>
            <a:ext cx="7924800" cy="5334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609600" y="1905000"/>
            <a:ext cx="7924800" cy="4343400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E4F063-0109-4E10-9FA2-A67BAFE195F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      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1143000"/>
            <a:ext cx="7924800" cy="5334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609600" y="1905000"/>
            <a:ext cx="7924800" cy="4343400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9C93E2-65FE-4FCA-A90D-567C41E9EA9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      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CF96628-8F86-48AC-827B-185B0122015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      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73CD8A-6542-49F8-9177-46E57C39377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      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905000"/>
            <a:ext cx="3886200" cy="4343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905000"/>
            <a:ext cx="3886200" cy="4343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75A105-46EE-4545-9CF5-09BE2A4E41D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      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F78238-5898-47E5-96EA-2332CB7A176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      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EF8E14-7CD4-4938-9600-9585BC2C6BD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      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1AF14A-2E52-4BC3-936E-E57EACE8AD8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      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498AEC-9B0C-4260-BB0F-3E72AAB1BAC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      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63912B-E30E-41DB-B7DF-2B785F0FBF7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      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ChangeArrowheads="1"/>
          </p:cNvSpPr>
          <p:nvPr/>
        </p:nvSpPr>
        <p:spPr bwMode="gray">
          <a:xfrm>
            <a:off x="0" y="0"/>
            <a:ext cx="9144000" cy="990600"/>
          </a:xfrm>
          <a:prstGeom prst="rect">
            <a:avLst/>
          </a:prstGeom>
          <a:solidFill>
            <a:srgbClr val="F21C0A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r">
              <a:defRPr/>
            </a:pPr>
            <a:endParaRPr lang="ru-RU">
              <a:latin typeface="Polo" pitchFamily="2" charset="0"/>
              <a:cs typeface="+mn-cs"/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609600" y="1143000"/>
            <a:ext cx="79248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Klicken Sie, um das Titelformat zu bearbeiten</a:t>
            </a:r>
          </a:p>
        </p:txBody>
      </p:sp>
      <p:sp>
        <p:nvSpPr>
          <p:cNvPr id="1028" name="Objektbereich"/>
          <p:cNvSpPr>
            <a:spLocks noGrp="1" noChangeArrowheads="1"/>
          </p:cNvSpPr>
          <p:nvPr>
            <p:ph type="body" idx="1"/>
          </p:nvPr>
        </p:nvSpPr>
        <p:spPr bwMode="gray">
          <a:xfrm>
            <a:off x="609600" y="1905000"/>
            <a:ext cx="7924800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Klicken Sie, um die Formate des Vorlagentextes zu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01000" y="6553200"/>
            <a:ext cx="5334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0" hangingPunct="0">
              <a:lnSpc>
                <a:spcPts val="900"/>
              </a:lnSpc>
              <a:defRPr noProof="1">
                <a:solidFill>
                  <a:schemeClr val="tx1"/>
                </a:solidFill>
                <a:latin typeface="Polo" pitchFamily="2" charset="0"/>
                <a:cs typeface="+mn-cs"/>
              </a:defRPr>
            </a:lvl1pPr>
          </a:lstStyle>
          <a:p>
            <a:pPr>
              <a:defRPr/>
            </a:pPr>
            <a:fld id="{65A03050-8A04-40B5-9273-90BC930A396B}" type="slidenum">
              <a:rPr/>
              <a:pPr>
                <a:defRPr/>
              </a:pPr>
              <a:t>‹#›</a:t>
            </a:fld>
            <a:endParaRPr lang="ru-RU"/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48000" y="6553200"/>
            <a:ext cx="51054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0" hangingPunct="0">
              <a:lnSpc>
                <a:spcPts val="900"/>
              </a:lnSpc>
              <a:defRPr sz="700" noProof="1">
                <a:solidFill>
                  <a:schemeClr val="tx1"/>
                </a:solidFill>
                <a:latin typeface="Polo" pitchFamily="2" charset="0"/>
                <a:cs typeface="+mn-cs"/>
              </a:defRPr>
            </a:lvl1pPr>
          </a:lstStyle>
          <a:p>
            <a:pPr>
              <a:defRPr/>
            </a:pPr>
            <a:r>
              <a:t>      </a:t>
            </a:r>
            <a:endParaRPr lang="ru-RU"/>
          </a:p>
        </p:txBody>
      </p:sp>
      <p:pic>
        <p:nvPicPr>
          <p:cNvPr id="1031" name="eon_logo2" descr="EON_W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gray">
          <a:xfrm>
            <a:off x="190500" y="323850"/>
            <a:ext cx="1185863" cy="350838"/>
          </a:xfrm>
          <a:prstGeom prst="rect">
            <a:avLst/>
          </a:prstGeom>
          <a:noFill/>
          <a:ln w="12700">
            <a:noFill/>
            <a:miter lim="800000"/>
            <a:headEnd/>
            <a:tailEnd type="none" w="med" len="lg"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hf hdr="0" dt="0"/>
  <p:txStyles>
    <p:titleStyle>
      <a:lvl1pPr algn="l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Polo" pitchFamily="2" charset="0"/>
        </a:defRPr>
      </a:lvl2pPr>
      <a:lvl3pPr algn="l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Polo" pitchFamily="2" charset="0"/>
        </a:defRPr>
      </a:lvl3pPr>
      <a:lvl4pPr algn="l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Polo" pitchFamily="2" charset="0"/>
        </a:defRPr>
      </a:lvl4pPr>
      <a:lvl5pPr algn="l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Polo" pitchFamily="2" charset="0"/>
        </a:defRPr>
      </a:lvl5pPr>
      <a:lvl6pPr marL="457200" algn="l" rtl="0" fontAlgn="base">
        <a:lnSpc>
          <a:spcPts val="34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Polo" pitchFamily="2" charset="0"/>
        </a:defRPr>
      </a:lvl6pPr>
      <a:lvl7pPr marL="914400" algn="l" rtl="0" fontAlgn="base">
        <a:lnSpc>
          <a:spcPts val="34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Polo" pitchFamily="2" charset="0"/>
        </a:defRPr>
      </a:lvl7pPr>
      <a:lvl8pPr marL="1371600" algn="l" rtl="0" fontAlgn="base">
        <a:lnSpc>
          <a:spcPts val="34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Polo" pitchFamily="2" charset="0"/>
        </a:defRPr>
      </a:lvl8pPr>
      <a:lvl9pPr marL="1828800" algn="l" rtl="0" fontAlgn="base">
        <a:lnSpc>
          <a:spcPts val="34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Polo" pitchFamily="2" charset="0"/>
        </a:defRPr>
      </a:lvl9pPr>
    </p:titleStyle>
    <p:bodyStyle>
      <a:lvl1pPr marL="342900" indent="-342900" algn="l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207963" indent="-206375" algn="l" rtl="0" eaLnBrk="0" fontAlgn="base" hangingPunct="0">
        <a:lnSpc>
          <a:spcPts val="2600"/>
        </a:lnSpc>
        <a:spcBef>
          <a:spcPct val="0"/>
        </a:spcBef>
        <a:spcAft>
          <a:spcPct val="0"/>
        </a:spcAft>
        <a:buClr>
          <a:srgbClr val="F21C0A"/>
        </a:buClr>
        <a:buFont typeface="Wingdings" pitchFamily="2" charset="2"/>
        <a:buChar char=""/>
        <a:defRPr sz="2000">
          <a:solidFill>
            <a:schemeClr val="tx1"/>
          </a:solidFill>
          <a:latin typeface="+mn-lt"/>
        </a:defRPr>
      </a:lvl2pPr>
      <a:lvl3pPr marL="209550" indent="704850" algn="l" rtl="0" eaLnBrk="0" fontAlgn="base" hangingPunct="0">
        <a:lnSpc>
          <a:spcPts val="2600"/>
        </a:lnSpc>
        <a:spcBef>
          <a:spcPct val="0"/>
        </a:spcBef>
        <a:spcAft>
          <a:spcPct val="0"/>
        </a:spcAft>
        <a:buClr>
          <a:srgbClr val="F21C0A"/>
        </a:buClr>
        <a:buFont typeface="Wingdings" pitchFamily="2" charset="2"/>
        <a:defRPr sz="2000">
          <a:solidFill>
            <a:schemeClr val="tx1"/>
          </a:solidFill>
          <a:latin typeface="+mn-lt"/>
        </a:defRPr>
      </a:lvl3pPr>
      <a:lvl4pPr marL="412750" indent="-201613" algn="l" rtl="0" eaLnBrk="0" fontAlgn="base" hangingPunct="0">
        <a:lnSpc>
          <a:spcPts val="2600"/>
        </a:lnSpc>
        <a:spcBef>
          <a:spcPct val="0"/>
        </a:spcBef>
        <a:spcAft>
          <a:spcPct val="0"/>
        </a:spcAft>
        <a:buClr>
          <a:srgbClr val="F31C0A"/>
        </a:buClr>
        <a:buFont typeface="Wingdings" pitchFamily="2" charset="2"/>
        <a:buChar char=""/>
        <a:defRPr sz="2000">
          <a:solidFill>
            <a:schemeClr val="tx1"/>
          </a:solidFill>
          <a:latin typeface="+mn-lt"/>
        </a:defRPr>
      </a:lvl4pPr>
      <a:lvl5pPr marL="414338" indent="1414463" algn="l" rtl="0" eaLnBrk="0" fontAlgn="base" hangingPunct="0">
        <a:lnSpc>
          <a:spcPts val="2600"/>
        </a:lnSpc>
        <a:spcBef>
          <a:spcPct val="0"/>
        </a:spcBef>
        <a:spcAft>
          <a:spcPct val="0"/>
        </a:spcAft>
        <a:buClr>
          <a:srgbClr val="F21C0A"/>
        </a:buClr>
        <a:buFont typeface="Wingdings" pitchFamily="2" charset="2"/>
        <a:defRPr sz="2000">
          <a:solidFill>
            <a:schemeClr val="tx1"/>
          </a:solidFill>
          <a:latin typeface="+mn-lt"/>
        </a:defRPr>
      </a:lvl5pPr>
      <a:lvl6pPr marL="871538" algn="l" rtl="0" fontAlgn="base">
        <a:lnSpc>
          <a:spcPts val="2600"/>
        </a:lnSpc>
        <a:spcBef>
          <a:spcPct val="0"/>
        </a:spcBef>
        <a:spcAft>
          <a:spcPct val="0"/>
        </a:spcAft>
        <a:buClr>
          <a:srgbClr val="F21C0A"/>
        </a:buClr>
        <a:buFont typeface="Wingdings" pitchFamily="2" charset="2"/>
        <a:defRPr sz="2000">
          <a:solidFill>
            <a:schemeClr val="tx1"/>
          </a:solidFill>
          <a:latin typeface="+mn-lt"/>
        </a:defRPr>
      </a:lvl6pPr>
      <a:lvl7pPr marL="1328738" algn="l" rtl="0" fontAlgn="base">
        <a:lnSpc>
          <a:spcPts val="2600"/>
        </a:lnSpc>
        <a:spcBef>
          <a:spcPct val="0"/>
        </a:spcBef>
        <a:spcAft>
          <a:spcPct val="0"/>
        </a:spcAft>
        <a:buClr>
          <a:srgbClr val="F21C0A"/>
        </a:buClr>
        <a:buFont typeface="Wingdings" pitchFamily="2" charset="2"/>
        <a:defRPr sz="2000">
          <a:solidFill>
            <a:schemeClr val="tx1"/>
          </a:solidFill>
          <a:latin typeface="+mn-lt"/>
        </a:defRPr>
      </a:lvl7pPr>
      <a:lvl8pPr marL="1785938" algn="l" rtl="0" fontAlgn="base">
        <a:lnSpc>
          <a:spcPts val="2600"/>
        </a:lnSpc>
        <a:spcBef>
          <a:spcPct val="0"/>
        </a:spcBef>
        <a:spcAft>
          <a:spcPct val="0"/>
        </a:spcAft>
        <a:buClr>
          <a:srgbClr val="F21C0A"/>
        </a:buClr>
        <a:buFont typeface="Wingdings" pitchFamily="2" charset="2"/>
        <a:defRPr sz="2000">
          <a:solidFill>
            <a:schemeClr val="tx1"/>
          </a:solidFill>
          <a:latin typeface="+mn-lt"/>
        </a:defRPr>
      </a:lvl8pPr>
      <a:lvl9pPr marL="2243138" algn="l" rtl="0" fontAlgn="base">
        <a:lnSpc>
          <a:spcPts val="2600"/>
        </a:lnSpc>
        <a:spcBef>
          <a:spcPct val="0"/>
        </a:spcBef>
        <a:spcAft>
          <a:spcPct val="0"/>
        </a:spcAft>
        <a:buClr>
          <a:srgbClr val="F21C0A"/>
        </a:buClr>
        <a:buFont typeface="Wingdings" pitchFamily="2" charset="2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78.xml"/><Relationship Id="rId1" Type="http://schemas.openxmlformats.org/officeDocument/2006/relationships/tags" Target="../tags/tag277.xml"/><Relationship Id="rId4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117" Type="http://schemas.openxmlformats.org/officeDocument/2006/relationships/tags" Target="../tags/tag119.xml"/><Relationship Id="rId21" Type="http://schemas.openxmlformats.org/officeDocument/2006/relationships/tags" Target="../tags/tag23.xml"/><Relationship Id="rId42" Type="http://schemas.openxmlformats.org/officeDocument/2006/relationships/tags" Target="../tags/tag44.xml"/><Relationship Id="rId63" Type="http://schemas.openxmlformats.org/officeDocument/2006/relationships/tags" Target="../tags/tag65.xml"/><Relationship Id="rId84" Type="http://schemas.openxmlformats.org/officeDocument/2006/relationships/tags" Target="../tags/tag86.xml"/><Relationship Id="rId138" Type="http://schemas.openxmlformats.org/officeDocument/2006/relationships/tags" Target="../tags/tag140.xml"/><Relationship Id="rId159" Type="http://schemas.openxmlformats.org/officeDocument/2006/relationships/tags" Target="../tags/tag161.xml"/><Relationship Id="rId170" Type="http://schemas.openxmlformats.org/officeDocument/2006/relationships/tags" Target="../tags/tag172.xml"/><Relationship Id="rId191" Type="http://schemas.openxmlformats.org/officeDocument/2006/relationships/tags" Target="../tags/tag193.xml"/><Relationship Id="rId205" Type="http://schemas.openxmlformats.org/officeDocument/2006/relationships/tags" Target="../tags/tag207.xml"/><Relationship Id="rId226" Type="http://schemas.openxmlformats.org/officeDocument/2006/relationships/tags" Target="../tags/tag228.xml"/><Relationship Id="rId247" Type="http://schemas.openxmlformats.org/officeDocument/2006/relationships/tags" Target="../tags/tag249.xml"/><Relationship Id="rId107" Type="http://schemas.openxmlformats.org/officeDocument/2006/relationships/tags" Target="../tags/tag109.xml"/><Relationship Id="rId268" Type="http://schemas.openxmlformats.org/officeDocument/2006/relationships/image" Target="../media/image3.png"/><Relationship Id="rId11" Type="http://schemas.openxmlformats.org/officeDocument/2006/relationships/tags" Target="../tags/tag13.xml"/><Relationship Id="rId32" Type="http://schemas.openxmlformats.org/officeDocument/2006/relationships/tags" Target="../tags/tag34.xml"/><Relationship Id="rId53" Type="http://schemas.openxmlformats.org/officeDocument/2006/relationships/tags" Target="../tags/tag55.xml"/><Relationship Id="rId74" Type="http://schemas.openxmlformats.org/officeDocument/2006/relationships/tags" Target="../tags/tag76.xml"/><Relationship Id="rId128" Type="http://schemas.openxmlformats.org/officeDocument/2006/relationships/tags" Target="../tags/tag130.xml"/><Relationship Id="rId149" Type="http://schemas.openxmlformats.org/officeDocument/2006/relationships/tags" Target="../tags/tag151.xml"/><Relationship Id="rId5" Type="http://schemas.openxmlformats.org/officeDocument/2006/relationships/tags" Target="../tags/tag7.xml"/><Relationship Id="rId95" Type="http://schemas.openxmlformats.org/officeDocument/2006/relationships/tags" Target="../tags/tag97.xml"/><Relationship Id="rId160" Type="http://schemas.openxmlformats.org/officeDocument/2006/relationships/tags" Target="../tags/tag162.xml"/><Relationship Id="rId181" Type="http://schemas.openxmlformats.org/officeDocument/2006/relationships/tags" Target="../tags/tag183.xml"/><Relationship Id="rId216" Type="http://schemas.openxmlformats.org/officeDocument/2006/relationships/tags" Target="../tags/tag218.xml"/><Relationship Id="rId237" Type="http://schemas.openxmlformats.org/officeDocument/2006/relationships/tags" Target="../tags/tag239.xml"/><Relationship Id="rId258" Type="http://schemas.openxmlformats.org/officeDocument/2006/relationships/tags" Target="../tags/tag260.xml"/><Relationship Id="rId22" Type="http://schemas.openxmlformats.org/officeDocument/2006/relationships/tags" Target="../tags/tag24.xml"/><Relationship Id="rId43" Type="http://schemas.openxmlformats.org/officeDocument/2006/relationships/tags" Target="../tags/tag45.xml"/><Relationship Id="rId64" Type="http://schemas.openxmlformats.org/officeDocument/2006/relationships/tags" Target="../tags/tag66.xml"/><Relationship Id="rId118" Type="http://schemas.openxmlformats.org/officeDocument/2006/relationships/tags" Target="../tags/tag120.xml"/><Relationship Id="rId139" Type="http://schemas.openxmlformats.org/officeDocument/2006/relationships/tags" Target="../tags/tag141.xml"/><Relationship Id="rId85" Type="http://schemas.openxmlformats.org/officeDocument/2006/relationships/tags" Target="../tags/tag87.xml"/><Relationship Id="rId150" Type="http://schemas.openxmlformats.org/officeDocument/2006/relationships/tags" Target="../tags/tag152.xml"/><Relationship Id="rId171" Type="http://schemas.openxmlformats.org/officeDocument/2006/relationships/tags" Target="../tags/tag173.xml"/><Relationship Id="rId192" Type="http://schemas.openxmlformats.org/officeDocument/2006/relationships/tags" Target="../tags/tag194.xml"/><Relationship Id="rId206" Type="http://schemas.openxmlformats.org/officeDocument/2006/relationships/tags" Target="../tags/tag208.xml"/><Relationship Id="rId227" Type="http://schemas.openxmlformats.org/officeDocument/2006/relationships/tags" Target="../tags/tag229.xml"/><Relationship Id="rId248" Type="http://schemas.openxmlformats.org/officeDocument/2006/relationships/tags" Target="../tags/tag250.xml"/><Relationship Id="rId12" Type="http://schemas.openxmlformats.org/officeDocument/2006/relationships/tags" Target="../tags/tag14.xml"/><Relationship Id="rId33" Type="http://schemas.openxmlformats.org/officeDocument/2006/relationships/tags" Target="../tags/tag35.xml"/><Relationship Id="rId108" Type="http://schemas.openxmlformats.org/officeDocument/2006/relationships/tags" Target="../tags/tag110.xml"/><Relationship Id="rId129" Type="http://schemas.openxmlformats.org/officeDocument/2006/relationships/tags" Target="../tags/tag131.xml"/><Relationship Id="rId54" Type="http://schemas.openxmlformats.org/officeDocument/2006/relationships/tags" Target="../tags/tag56.xml"/><Relationship Id="rId75" Type="http://schemas.openxmlformats.org/officeDocument/2006/relationships/tags" Target="../tags/tag77.xml"/><Relationship Id="rId96" Type="http://schemas.openxmlformats.org/officeDocument/2006/relationships/tags" Target="../tags/tag98.xml"/><Relationship Id="rId140" Type="http://schemas.openxmlformats.org/officeDocument/2006/relationships/tags" Target="../tags/tag142.xml"/><Relationship Id="rId161" Type="http://schemas.openxmlformats.org/officeDocument/2006/relationships/tags" Target="../tags/tag163.xml"/><Relationship Id="rId182" Type="http://schemas.openxmlformats.org/officeDocument/2006/relationships/tags" Target="../tags/tag184.xml"/><Relationship Id="rId217" Type="http://schemas.openxmlformats.org/officeDocument/2006/relationships/tags" Target="../tags/tag219.xml"/><Relationship Id="rId6" Type="http://schemas.openxmlformats.org/officeDocument/2006/relationships/tags" Target="../tags/tag8.xml"/><Relationship Id="rId238" Type="http://schemas.openxmlformats.org/officeDocument/2006/relationships/tags" Target="../tags/tag240.xml"/><Relationship Id="rId259" Type="http://schemas.openxmlformats.org/officeDocument/2006/relationships/tags" Target="../tags/tag261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49" Type="http://schemas.openxmlformats.org/officeDocument/2006/relationships/tags" Target="../tags/tag51.xml"/><Relationship Id="rId114" Type="http://schemas.openxmlformats.org/officeDocument/2006/relationships/tags" Target="../tags/tag116.xml"/><Relationship Id="rId119" Type="http://schemas.openxmlformats.org/officeDocument/2006/relationships/tags" Target="../tags/tag121.xml"/><Relationship Id="rId44" Type="http://schemas.openxmlformats.org/officeDocument/2006/relationships/tags" Target="../tags/tag46.xml"/><Relationship Id="rId60" Type="http://schemas.openxmlformats.org/officeDocument/2006/relationships/tags" Target="../tags/tag62.xml"/><Relationship Id="rId65" Type="http://schemas.openxmlformats.org/officeDocument/2006/relationships/tags" Target="../tags/tag67.xml"/><Relationship Id="rId81" Type="http://schemas.openxmlformats.org/officeDocument/2006/relationships/tags" Target="../tags/tag83.xml"/><Relationship Id="rId86" Type="http://schemas.openxmlformats.org/officeDocument/2006/relationships/tags" Target="../tags/tag88.xml"/><Relationship Id="rId130" Type="http://schemas.openxmlformats.org/officeDocument/2006/relationships/tags" Target="../tags/tag132.xml"/><Relationship Id="rId135" Type="http://schemas.openxmlformats.org/officeDocument/2006/relationships/tags" Target="../tags/tag137.xml"/><Relationship Id="rId151" Type="http://schemas.openxmlformats.org/officeDocument/2006/relationships/tags" Target="../tags/tag153.xml"/><Relationship Id="rId156" Type="http://schemas.openxmlformats.org/officeDocument/2006/relationships/tags" Target="../tags/tag158.xml"/><Relationship Id="rId177" Type="http://schemas.openxmlformats.org/officeDocument/2006/relationships/tags" Target="../tags/tag179.xml"/><Relationship Id="rId198" Type="http://schemas.openxmlformats.org/officeDocument/2006/relationships/tags" Target="../tags/tag200.xml"/><Relationship Id="rId172" Type="http://schemas.openxmlformats.org/officeDocument/2006/relationships/tags" Target="../tags/tag174.xml"/><Relationship Id="rId193" Type="http://schemas.openxmlformats.org/officeDocument/2006/relationships/tags" Target="../tags/tag195.xml"/><Relationship Id="rId202" Type="http://schemas.openxmlformats.org/officeDocument/2006/relationships/tags" Target="../tags/tag204.xml"/><Relationship Id="rId207" Type="http://schemas.openxmlformats.org/officeDocument/2006/relationships/tags" Target="../tags/tag209.xml"/><Relationship Id="rId223" Type="http://schemas.openxmlformats.org/officeDocument/2006/relationships/tags" Target="../tags/tag225.xml"/><Relationship Id="rId228" Type="http://schemas.openxmlformats.org/officeDocument/2006/relationships/tags" Target="../tags/tag230.xml"/><Relationship Id="rId244" Type="http://schemas.openxmlformats.org/officeDocument/2006/relationships/tags" Target="../tags/tag246.xml"/><Relationship Id="rId249" Type="http://schemas.openxmlformats.org/officeDocument/2006/relationships/tags" Target="../tags/tag251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39" Type="http://schemas.openxmlformats.org/officeDocument/2006/relationships/tags" Target="../tags/tag41.xml"/><Relationship Id="rId109" Type="http://schemas.openxmlformats.org/officeDocument/2006/relationships/tags" Target="../tags/tag111.xml"/><Relationship Id="rId260" Type="http://schemas.openxmlformats.org/officeDocument/2006/relationships/tags" Target="../tags/tag262.xml"/><Relationship Id="rId265" Type="http://schemas.openxmlformats.org/officeDocument/2006/relationships/tags" Target="../tags/tag267.xml"/><Relationship Id="rId34" Type="http://schemas.openxmlformats.org/officeDocument/2006/relationships/tags" Target="../tags/tag36.xml"/><Relationship Id="rId50" Type="http://schemas.openxmlformats.org/officeDocument/2006/relationships/tags" Target="../tags/tag52.xml"/><Relationship Id="rId55" Type="http://schemas.openxmlformats.org/officeDocument/2006/relationships/tags" Target="../tags/tag57.xml"/><Relationship Id="rId76" Type="http://schemas.openxmlformats.org/officeDocument/2006/relationships/tags" Target="../tags/tag78.xml"/><Relationship Id="rId97" Type="http://schemas.openxmlformats.org/officeDocument/2006/relationships/tags" Target="../tags/tag99.xml"/><Relationship Id="rId104" Type="http://schemas.openxmlformats.org/officeDocument/2006/relationships/tags" Target="../tags/tag106.xml"/><Relationship Id="rId120" Type="http://schemas.openxmlformats.org/officeDocument/2006/relationships/tags" Target="../tags/tag122.xml"/><Relationship Id="rId125" Type="http://schemas.openxmlformats.org/officeDocument/2006/relationships/tags" Target="../tags/tag127.xml"/><Relationship Id="rId141" Type="http://schemas.openxmlformats.org/officeDocument/2006/relationships/tags" Target="../tags/tag143.xml"/><Relationship Id="rId146" Type="http://schemas.openxmlformats.org/officeDocument/2006/relationships/tags" Target="../tags/tag148.xml"/><Relationship Id="rId167" Type="http://schemas.openxmlformats.org/officeDocument/2006/relationships/tags" Target="../tags/tag169.xml"/><Relationship Id="rId188" Type="http://schemas.openxmlformats.org/officeDocument/2006/relationships/tags" Target="../tags/tag190.xml"/><Relationship Id="rId7" Type="http://schemas.openxmlformats.org/officeDocument/2006/relationships/tags" Target="../tags/tag9.xml"/><Relationship Id="rId71" Type="http://schemas.openxmlformats.org/officeDocument/2006/relationships/tags" Target="../tags/tag73.xml"/><Relationship Id="rId92" Type="http://schemas.openxmlformats.org/officeDocument/2006/relationships/tags" Target="../tags/tag94.xml"/><Relationship Id="rId162" Type="http://schemas.openxmlformats.org/officeDocument/2006/relationships/tags" Target="../tags/tag164.xml"/><Relationship Id="rId183" Type="http://schemas.openxmlformats.org/officeDocument/2006/relationships/tags" Target="../tags/tag185.xml"/><Relationship Id="rId213" Type="http://schemas.openxmlformats.org/officeDocument/2006/relationships/tags" Target="../tags/tag215.xml"/><Relationship Id="rId218" Type="http://schemas.openxmlformats.org/officeDocument/2006/relationships/tags" Target="../tags/tag220.xml"/><Relationship Id="rId234" Type="http://schemas.openxmlformats.org/officeDocument/2006/relationships/tags" Target="../tags/tag236.xml"/><Relationship Id="rId239" Type="http://schemas.openxmlformats.org/officeDocument/2006/relationships/tags" Target="../tags/tag241.xml"/><Relationship Id="rId2" Type="http://schemas.openxmlformats.org/officeDocument/2006/relationships/tags" Target="../tags/tag4.xml"/><Relationship Id="rId29" Type="http://schemas.openxmlformats.org/officeDocument/2006/relationships/tags" Target="../tags/tag31.xml"/><Relationship Id="rId250" Type="http://schemas.openxmlformats.org/officeDocument/2006/relationships/tags" Target="../tags/tag252.xml"/><Relationship Id="rId255" Type="http://schemas.openxmlformats.org/officeDocument/2006/relationships/tags" Target="../tags/tag257.xml"/><Relationship Id="rId24" Type="http://schemas.openxmlformats.org/officeDocument/2006/relationships/tags" Target="../tags/tag26.xml"/><Relationship Id="rId40" Type="http://schemas.openxmlformats.org/officeDocument/2006/relationships/tags" Target="../tags/tag42.xml"/><Relationship Id="rId45" Type="http://schemas.openxmlformats.org/officeDocument/2006/relationships/tags" Target="../tags/tag47.xml"/><Relationship Id="rId66" Type="http://schemas.openxmlformats.org/officeDocument/2006/relationships/tags" Target="../tags/tag68.xml"/><Relationship Id="rId87" Type="http://schemas.openxmlformats.org/officeDocument/2006/relationships/tags" Target="../tags/tag89.xml"/><Relationship Id="rId110" Type="http://schemas.openxmlformats.org/officeDocument/2006/relationships/tags" Target="../tags/tag112.xml"/><Relationship Id="rId115" Type="http://schemas.openxmlformats.org/officeDocument/2006/relationships/tags" Target="../tags/tag117.xml"/><Relationship Id="rId131" Type="http://schemas.openxmlformats.org/officeDocument/2006/relationships/tags" Target="../tags/tag133.xml"/><Relationship Id="rId136" Type="http://schemas.openxmlformats.org/officeDocument/2006/relationships/tags" Target="../tags/tag138.xml"/><Relationship Id="rId157" Type="http://schemas.openxmlformats.org/officeDocument/2006/relationships/tags" Target="../tags/tag159.xml"/><Relationship Id="rId178" Type="http://schemas.openxmlformats.org/officeDocument/2006/relationships/tags" Target="../tags/tag180.xml"/><Relationship Id="rId61" Type="http://schemas.openxmlformats.org/officeDocument/2006/relationships/tags" Target="../tags/tag63.xml"/><Relationship Id="rId82" Type="http://schemas.openxmlformats.org/officeDocument/2006/relationships/tags" Target="../tags/tag84.xml"/><Relationship Id="rId152" Type="http://schemas.openxmlformats.org/officeDocument/2006/relationships/tags" Target="../tags/tag154.xml"/><Relationship Id="rId173" Type="http://schemas.openxmlformats.org/officeDocument/2006/relationships/tags" Target="../tags/tag175.xml"/><Relationship Id="rId194" Type="http://schemas.openxmlformats.org/officeDocument/2006/relationships/tags" Target="../tags/tag196.xml"/><Relationship Id="rId199" Type="http://schemas.openxmlformats.org/officeDocument/2006/relationships/tags" Target="../tags/tag201.xml"/><Relationship Id="rId203" Type="http://schemas.openxmlformats.org/officeDocument/2006/relationships/tags" Target="../tags/tag205.xml"/><Relationship Id="rId208" Type="http://schemas.openxmlformats.org/officeDocument/2006/relationships/tags" Target="../tags/tag210.xml"/><Relationship Id="rId229" Type="http://schemas.openxmlformats.org/officeDocument/2006/relationships/tags" Target="../tags/tag231.xml"/><Relationship Id="rId19" Type="http://schemas.openxmlformats.org/officeDocument/2006/relationships/tags" Target="../tags/tag21.xml"/><Relationship Id="rId224" Type="http://schemas.openxmlformats.org/officeDocument/2006/relationships/tags" Target="../tags/tag226.xml"/><Relationship Id="rId240" Type="http://schemas.openxmlformats.org/officeDocument/2006/relationships/tags" Target="../tags/tag242.xml"/><Relationship Id="rId245" Type="http://schemas.openxmlformats.org/officeDocument/2006/relationships/tags" Target="../tags/tag247.xml"/><Relationship Id="rId261" Type="http://schemas.openxmlformats.org/officeDocument/2006/relationships/tags" Target="../tags/tag263.xml"/><Relationship Id="rId266" Type="http://schemas.openxmlformats.org/officeDocument/2006/relationships/tags" Target="../tags/tag268.xml"/><Relationship Id="rId14" Type="http://schemas.openxmlformats.org/officeDocument/2006/relationships/tags" Target="../tags/tag16.xml"/><Relationship Id="rId30" Type="http://schemas.openxmlformats.org/officeDocument/2006/relationships/tags" Target="../tags/tag32.xml"/><Relationship Id="rId35" Type="http://schemas.openxmlformats.org/officeDocument/2006/relationships/tags" Target="../tags/tag37.xml"/><Relationship Id="rId56" Type="http://schemas.openxmlformats.org/officeDocument/2006/relationships/tags" Target="../tags/tag58.xml"/><Relationship Id="rId77" Type="http://schemas.openxmlformats.org/officeDocument/2006/relationships/tags" Target="../tags/tag79.xml"/><Relationship Id="rId100" Type="http://schemas.openxmlformats.org/officeDocument/2006/relationships/tags" Target="../tags/tag102.xml"/><Relationship Id="rId105" Type="http://schemas.openxmlformats.org/officeDocument/2006/relationships/tags" Target="../tags/tag107.xml"/><Relationship Id="rId126" Type="http://schemas.openxmlformats.org/officeDocument/2006/relationships/tags" Target="../tags/tag128.xml"/><Relationship Id="rId147" Type="http://schemas.openxmlformats.org/officeDocument/2006/relationships/tags" Target="../tags/tag149.xml"/><Relationship Id="rId168" Type="http://schemas.openxmlformats.org/officeDocument/2006/relationships/tags" Target="../tags/tag170.xml"/><Relationship Id="rId8" Type="http://schemas.openxmlformats.org/officeDocument/2006/relationships/tags" Target="../tags/tag10.xml"/><Relationship Id="rId51" Type="http://schemas.openxmlformats.org/officeDocument/2006/relationships/tags" Target="../tags/tag53.xml"/><Relationship Id="rId72" Type="http://schemas.openxmlformats.org/officeDocument/2006/relationships/tags" Target="../tags/tag74.xml"/><Relationship Id="rId93" Type="http://schemas.openxmlformats.org/officeDocument/2006/relationships/tags" Target="../tags/tag95.xml"/><Relationship Id="rId98" Type="http://schemas.openxmlformats.org/officeDocument/2006/relationships/tags" Target="../tags/tag100.xml"/><Relationship Id="rId121" Type="http://schemas.openxmlformats.org/officeDocument/2006/relationships/tags" Target="../tags/tag123.xml"/><Relationship Id="rId142" Type="http://schemas.openxmlformats.org/officeDocument/2006/relationships/tags" Target="../tags/tag144.xml"/><Relationship Id="rId163" Type="http://schemas.openxmlformats.org/officeDocument/2006/relationships/tags" Target="../tags/tag165.xml"/><Relationship Id="rId184" Type="http://schemas.openxmlformats.org/officeDocument/2006/relationships/tags" Target="../tags/tag186.xml"/><Relationship Id="rId189" Type="http://schemas.openxmlformats.org/officeDocument/2006/relationships/tags" Target="../tags/tag191.xml"/><Relationship Id="rId219" Type="http://schemas.openxmlformats.org/officeDocument/2006/relationships/tags" Target="../tags/tag221.xml"/><Relationship Id="rId3" Type="http://schemas.openxmlformats.org/officeDocument/2006/relationships/tags" Target="../tags/tag5.xml"/><Relationship Id="rId214" Type="http://schemas.openxmlformats.org/officeDocument/2006/relationships/tags" Target="../tags/tag216.xml"/><Relationship Id="rId230" Type="http://schemas.openxmlformats.org/officeDocument/2006/relationships/tags" Target="../tags/tag232.xml"/><Relationship Id="rId235" Type="http://schemas.openxmlformats.org/officeDocument/2006/relationships/tags" Target="../tags/tag237.xml"/><Relationship Id="rId251" Type="http://schemas.openxmlformats.org/officeDocument/2006/relationships/tags" Target="../tags/tag253.xml"/><Relationship Id="rId256" Type="http://schemas.openxmlformats.org/officeDocument/2006/relationships/tags" Target="../tags/tag258.xml"/><Relationship Id="rId25" Type="http://schemas.openxmlformats.org/officeDocument/2006/relationships/tags" Target="../tags/tag27.xml"/><Relationship Id="rId46" Type="http://schemas.openxmlformats.org/officeDocument/2006/relationships/tags" Target="../tags/tag48.xml"/><Relationship Id="rId67" Type="http://schemas.openxmlformats.org/officeDocument/2006/relationships/tags" Target="../tags/tag69.xml"/><Relationship Id="rId116" Type="http://schemas.openxmlformats.org/officeDocument/2006/relationships/tags" Target="../tags/tag118.xml"/><Relationship Id="rId137" Type="http://schemas.openxmlformats.org/officeDocument/2006/relationships/tags" Target="../tags/tag139.xml"/><Relationship Id="rId158" Type="http://schemas.openxmlformats.org/officeDocument/2006/relationships/tags" Target="../tags/tag160.xml"/><Relationship Id="rId20" Type="http://schemas.openxmlformats.org/officeDocument/2006/relationships/tags" Target="../tags/tag22.xml"/><Relationship Id="rId41" Type="http://schemas.openxmlformats.org/officeDocument/2006/relationships/tags" Target="../tags/tag43.xml"/><Relationship Id="rId62" Type="http://schemas.openxmlformats.org/officeDocument/2006/relationships/tags" Target="../tags/tag64.xml"/><Relationship Id="rId83" Type="http://schemas.openxmlformats.org/officeDocument/2006/relationships/tags" Target="../tags/tag85.xml"/><Relationship Id="rId88" Type="http://schemas.openxmlformats.org/officeDocument/2006/relationships/tags" Target="../tags/tag90.xml"/><Relationship Id="rId111" Type="http://schemas.openxmlformats.org/officeDocument/2006/relationships/tags" Target="../tags/tag113.xml"/><Relationship Id="rId132" Type="http://schemas.openxmlformats.org/officeDocument/2006/relationships/tags" Target="../tags/tag134.xml"/><Relationship Id="rId153" Type="http://schemas.openxmlformats.org/officeDocument/2006/relationships/tags" Target="../tags/tag155.xml"/><Relationship Id="rId174" Type="http://schemas.openxmlformats.org/officeDocument/2006/relationships/tags" Target="../tags/tag176.xml"/><Relationship Id="rId179" Type="http://schemas.openxmlformats.org/officeDocument/2006/relationships/tags" Target="../tags/tag181.xml"/><Relationship Id="rId195" Type="http://schemas.openxmlformats.org/officeDocument/2006/relationships/tags" Target="../tags/tag197.xml"/><Relationship Id="rId209" Type="http://schemas.openxmlformats.org/officeDocument/2006/relationships/tags" Target="../tags/tag211.xml"/><Relationship Id="rId190" Type="http://schemas.openxmlformats.org/officeDocument/2006/relationships/tags" Target="../tags/tag192.xml"/><Relationship Id="rId204" Type="http://schemas.openxmlformats.org/officeDocument/2006/relationships/tags" Target="../tags/tag206.xml"/><Relationship Id="rId220" Type="http://schemas.openxmlformats.org/officeDocument/2006/relationships/tags" Target="../tags/tag222.xml"/><Relationship Id="rId225" Type="http://schemas.openxmlformats.org/officeDocument/2006/relationships/tags" Target="../tags/tag227.xml"/><Relationship Id="rId241" Type="http://schemas.openxmlformats.org/officeDocument/2006/relationships/tags" Target="../tags/tag243.xml"/><Relationship Id="rId246" Type="http://schemas.openxmlformats.org/officeDocument/2006/relationships/tags" Target="../tags/tag248.xml"/><Relationship Id="rId267" Type="http://schemas.openxmlformats.org/officeDocument/2006/relationships/slideLayout" Target="../slideLayouts/slideLayout2.xml"/><Relationship Id="rId15" Type="http://schemas.openxmlformats.org/officeDocument/2006/relationships/tags" Target="../tags/tag17.xml"/><Relationship Id="rId36" Type="http://schemas.openxmlformats.org/officeDocument/2006/relationships/tags" Target="../tags/tag38.xml"/><Relationship Id="rId57" Type="http://schemas.openxmlformats.org/officeDocument/2006/relationships/tags" Target="../tags/tag59.xml"/><Relationship Id="rId106" Type="http://schemas.openxmlformats.org/officeDocument/2006/relationships/tags" Target="../tags/tag108.xml"/><Relationship Id="rId127" Type="http://schemas.openxmlformats.org/officeDocument/2006/relationships/tags" Target="../tags/tag129.xml"/><Relationship Id="rId262" Type="http://schemas.openxmlformats.org/officeDocument/2006/relationships/tags" Target="../tags/tag264.xml"/><Relationship Id="rId10" Type="http://schemas.openxmlformats.org/officeDocument/2006/relationships/tags" Target="../tags/tag12.xml"/><Relationship Id="rId31" Type="http://schemas.openxmlformats.org/officeDocument/2006/relationships/tags" Target="../tags/tag33.xml"/><Relationship Id="rId52" Type="http://schemas.openxmlformats.org/officeDocument/2006/relationships/tags" Target="../tags/tag54.xml"/><Relationship Id="rId73" Type="http://schemas.openxmlformats.org/officeDocument/2006/relationships/tags" Target="../tags/tag75.xml"/><Relationship Id="rId78" Type="http://schemas.openxmlformats.org/officeDocument/2006/relationships/tags" Target="../tags/tag80.xml"/><Relationship Id="rId94" Type="http://schemas.openxmlformats.org/officeDocument/2006/relationships/tags" Target="../tags/tag96.xml"/><Relationship Id="rId99" Type="http://schemas.openxmlformats.org/officeDocument/2006/relationships/tags" Target="../tags/tag101.xml"/><Relationship Id="rId101" Type="http://schemas.openxmlformats.org/officeDocument/2006/relationships/tags" Target="../tags/tag103.xml"/><Relationship Id="rId122" Type="http://schemas.openxmlformats.org/officeDocument/2006/relationships/tags" Target="../tags/tag124.xml"/><Relationship Id="rId143" Type="http://schemas.openxmlformats.org/officeDocument/2006/relationships/tags" Target="../tags/tag145.xml"/><Relationship Id="rId148" Type="http://schemas.openxmlformats.org/officeDocument/2006/relationships/tags" Target="../tags/tag150.xml"/><Relationship Id="rId164" Type="http://schemas.openxmlformats.org/officeDocument/2006/relationships/tags" Target="../tags/tag166.xml"/><Relationship Id="rId169" Type="http://schemas.openxmlformats.org/officeDocument/2006/relationships/tags" Target="../tags/tag171.xml"/><Relationship Id="rId185" Type="http://schemas.openxmlformats.org/officeDocument/2006/relationships/tags" Target="../tags/tag187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80" Type="http://schemas.openxmlformats.org/officeDocument/2006/relationships/tags" Target="../tags/tag182.xml"/><Relationship Id="rId210" Type="http://schemas.openxmlformats.org/officeDocument/2006/relationships/tags" Target="../tags/tag212.xml"/><Relationship Id="rId215" Type="http://schemas.openxmlformats.org/officeDocument/2006/relationships/tags" Target="../tags/tag217.xml"/><Relationship Id="rId236" Type="http://schemas.openxmlformats.org/officeDocument/2006/relationships/tags" Target="../tags/tag238.xml"/><Relationship Id="rId257" Type="http://schemas.openxmlformats.org/officeDocument/2006/relationships/tags" Target="../tags/tag259.xml"/><Relationship Id="rId26" Type="http://schemas.openxmlformats.org/officeDocument/2006/relationships/tags" Target="../tags/tag28.xml"/><Relationship Id="rId231" Type="http://schemas.openxmlformats.org/officeDocument/2006/relationships/tags" Target="../tags/tag233.xml"/><Relationship Id="rId252" Type="http://schemas.openxmlformats.org/officeDocument/2006/relationships/tags" Target="../tags/tag254.xml"/><Relationship Id="rId47" Type="http://schemas.openxmlformats.org/officeDocument/2006/relationships/tags" Target="../tags/tag49.xml"/><Relationship Id="rId68" Type="http://schemas.openxmlformats.org/officeDocument/2006/relationships/tags" Target="../tags/tag70.xml"/><Relationship Id="rId89" Type="http://schemas.openxmlformats.org/officeDocument/2006/relationships/tags" Target="../tags/tag91.xml"/><Relationship Id="rId112" Type="http://schemas.openxmlformats.org/officeDocument/2006/relationships/tags" Target="../tags/tag114.xml"/><Relationship Id="rId133" Type="http://schemas.openxmlformats.org/officeDocument/2006/relationships/tags" Target="../tags/tag135.xml"/><Relationship Id="rId154" Type="http://schemas.openxmlformats.org/officeDocument/2006/relationships/tags" Target="../tags/tag156.xml"/><Relationship Id="rId175" Type="http://schemas.openxmlformats.org/officeDocument/2006/relationships/tags" Target="../tags/tag177.xml"/><Relationship Id="rId196" Type="http://schemas.openxmlformats.org/officeDocument/2006/relationships/tags" Target="../tags/tag198.xml"/><Relationship Id="rId200" Type="http://schemas.openxmlformats.org/officeDocument/2006/relationships/tags" Target="../tags/tag202.xml"/><Relationship Id="rId16" Type="http://schemas.openxmlformats.org/officeDocument/2006/relationships/tags" Target="../tags/tag18.xml"/><Relationship Id="rId221" Type="http://schemas.openxmlformats.org/officeDocument/2006/relationships/tags" Target="../tags/tag223.xml"/><Relationship Id="rId242" Type="http://schemas.openxmlformats.org/officeDocument/2006/relationships/tags" Target="../tags/tag244.xml"/><Relationship Id="rId263" Type="http://schemas.openxmlformats.org/officeDocument/2006/relationships/tags" Target="../tags/tag265.xml"/><Relationship Id="rId37" Type="http://schemas.openxmlformats.org/officeDocument/2006/relationships/tags" Target="../tags/tag39.xml"/><Relationship Id="rId58" Type="http://schemas.openxmlformats.org/officeDocument/2006/relationships/tags" Target="../tags/tag60.xml"/><Relationship Id="rId79" Type="http://schemas.openxmlformats.org/officeDocument/2006/relationships/tags" Target="../tags/tag81.xml"/><Relationship Id="rId102" Type="http://schemas.openxmlformats.org/officeDocument/2006/relationships/tags" Target="../tags/tag104.xml"/><Relationship Id="rId123" Type="http://schemas.openxmlformats.org/officeDocument/2006/relationships/tags" Target="../tags/tag125.xml"/><Relationship Id="rId144" Type="http://schemas.openxmlformats.org/officeDocument/2006/relationships/tags" Target="../tags/tag146.xml"/><Relationship Id="rId90" Type="http://schemas.openxmlformats.org/officeDocument/2006/relationships/tags" Target="../tags/tag92.xml"/><Relationship Id="rId165" Type="http://schemas.openxmlformats.org/officeDocument/2006/relationships/tags" Target="../tags/tag167.xml"/><Relationship Id="rId186" Type="http://schemas.openxmlformats.org/officeDocument/2006/relationships/tags" Target="../tags/tag188.xml"/><Relationship Id="rId211" Type="http://schemas.openxmlformats.org/officeDocument/2006/relationships/tags" Target="../tags/tag213.xml"/><Relationship Id="rId232" Type="http://schemas.openxmlformats.org/officeDocument/2006/relationships/tags" Target="../tags/tag234.xml"/><Relationship Id="rId253" Type="http://schemas.openxmlformats.org/officeDocument/2006/relationships/tags" Target="../tags/tag255.xml"/><Relationship Id="rId27" Type="http://schemas.openxmlformats.org/officeDocument/2006/relationships/tags" Target="../tags/tag29.xml"/><Relationship Id="rId48" Type="http://schemas.openxmlformats.org/officeDocument/2006/relationships/tags" Target="../tags/tag50.xml"/><Relationship Id="rId69" Type="http://schemas.openxmlformats.org/officeDocument/2006/relationships/tags" Target="../tags/tag71.xml"/><Relationship Id="rId113" Type="http://schemas.openxmlformats.org/officeDocument/2006/relationships/tags" Target="../tags/tag115.xml"/><Relationship Id="rId134" Type="http://schemas.openxmlformats.org/officeDocument/2006/relationships/tags" Target="../tags/tag136.xml"/><Relationship Id="rId80" Type="http://schemas.openxmlformats.org/officeDocument/2006/relationships/tags" Target="../tags/tag82.xml"/><Relationship Id="rId155" Type="http://schemas.openxmlformats.org/officeDocument/2006/relationships/tags" Target="../tags/tag157.xml"/><Relationship Id="rId176" Type="http://schemas.openxmlformats.org/officeDocument/2006/relationships/tags" Target="../tags/tag178.xml"/><Relationship Id="rId197" Type="http://schemas.openxmlformats.org/officeDocument/2006/relationships/tags" Target="../tags/tag199.xml"/><Relationship Id="rId201" Type="http://schemas.openxmlformats.org/officeDocument/2006/relationships/tags" Target="../tags/tag203.xml"/><Relationship Id="rId222" Type="http://schemas.openxmlformats.org/officeDocument/2006/relationships/tags" Target="../tags/tag224.xml"/><Relationship Id="rId243" Type="http://schemas.openxmlformats.org/officeDocument/2006/relationships/tags" Target="../tags/tag245.xml"/><Relationship Id="rId264" Type="http://schemas.openxmlformats.org/officeDocument/2006/relationships/tags" Target="../tags/tag266.xml"/><Relationship Id="rId17" Type="http://schemas.openxmlformats.org/officeDocument/2006/relationships/tags" Target="../tags/tag19.xml"/><Relationship Id="rId38" Type="http://schemas.openxmlformats.org/officeDocument/2006/relationships/tags" Target="../tags/tag40.xml"/><Relationship Id="rId59" Type="http://schemas.openxmlformats.org/officeDocument/2006/relationships/tags" Target="../tags/tag61.xml"/><Relationship Id="rId103" Type="http://schemas.openxmlformats.org/officeDocument/2006/relationships/tags" Target="../tags/tag105.xml"/><Relationship Id="rId124" Type="http://schemas.openxmlformats.org/officeDocument/2006/relationships/tags" Target="../tags/tag126.xml"/><Relationship Id="rId70" Type="http://schemas.openxmlformats.org/officeDocument/2006/relationships/tags" Target="../tags/tag72.xml"/><Relationship Id="rId91" Type="http://schemas.openxmlformats.org/officeDocument/2006/relationships/tags" Target="../tags/tag93.xml"/><Relationship Id="rId145" Type="http://schemas.openxmlformats.org/officeDocument/2006/relationships/tags" Target="../tags/tag147.xml"/><Relationship Id="rId166" Type="http://schemas.openxmlformats.org/officeDocument/2006/relationships/tags" Target="../tags/tag168.xml"/><Relationship Id="rId187" Type="http://schemas.openxmlformats.org/officeDocument/2006/relationships/tags" Target="../tags/tag189.xml"/><Relationship Id="rId1" Type="http://schemas.openxmlformats.org/officeDocument/2006/relationships/tags" Target="../tags/tag3.xml"/><Relationship Id="rId212" Type="http://schemas.openxmlformats.org/officeDocument/2006/relationships/tags" Target="../tags/tag214.xml"/><Relationship Id="rId233" Type="http://schemas.openxmlformats.org/officeDocument/2006/relationships/tags" Target="../tags/tag235.xml"/><Relationship Id="rId254" Type="http://schemas.openxmlformats.org/officeDocument/2006/relationships/tags" Target="../tags/tag25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3.xml"/><Relationship Id="rId6" Type="http://schemas.openxmlformats.org/officeDocument/2006/relationships/chart" Target="../charts/chart3.xml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75.xml"/><Relationship Id="rId1" Type="http://schemas.openxmlformats.org/officeDocument/2006/relationships/tags" Target="../tags/tag27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09" name="eon_logo2" descr="EON_W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gray">
          <a:xfrm>
            <a:off x="373063" y="806450"/>
            <a:ext cx="3073400" cy="822325"/>
          </a:xfrm>
          <a:prstGeom prst="rect">
            <a:avLst/>
          </a:prstGeom>
          <a:noFill/>
          <a:ln w="12700">
            <a:noFill/>
            <a:miter lim="800000"/>
            <a:headEnd/>
            <a:tailEnd type="none" w="med" len="lg"/>
          </a:ln>
        </p:spPr>
      </p:pic>
      <p:sp>
        <p:nvSpPr>
          <p:cNvPr id="17410" name="Rectangle 2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>
          <a:xfrm>
            <a:off x="2132014" y="2483895"/>
            <a:ext cx="5635341" cy="810090"/>
          </a:xfrm>
        </p:spPr>
        <p:txBody>
          <a:bodyPr anchor="t"/>
          <a:lstStyle/>
          <a:p>
            <a:pPr algn="ctr">
              <a:lnSpc>
                <a:spcPct val="100000"/>
              </a:lnSpc>
              <a:spcBef>
                <a:spcPts val="300"/>
              </a:spcBef>
            </a:pPr>
            <a:r>
              <a:rPr lang="ru-RU" sz="3400" dirty="0" smtClean="0">
                <a:latin typeface="PoloCyr" pitchFamily="2" charset="0"/>
              </a:rPr>
              <a:t/>
            </a:r>
            <a:br>
              <a:rPr lang="ru-RU" sz="3400" dirty="0" smtClean="0">
                <a:latin typeface="PoloCyr" pitchFamily="2" charset="0"/>
              </a:rPr>
            </a:br>
            <a:r>
              <a:rPr lang="ru-RU" sz="3400" dirty="0" smtClean="0">
                <a:latin typeface="PoloCyr" pitchFamily="2" charset="0"/>
              </a:rPr>
              <a:t>Особенности работы ПГУ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sz="3400" dirty="0" smtClean="0"/>
              <a:t/>
            </a:r>
            <a:br>
              <a:rPr lang="en-US" sz="3400" dirty="0" smtClean="0"/>
            </a:br>
            <a:r>
              <a:rPr lang="ru-RU" sz="2400" dirty="0" smtClean="0"/>
              <a:t/>
            </a:r>
            <a:br>
              <a:rPr lang="ru-RU" sz="2400" dirty="0" smtClean="0"/>
            </a:br>
            <a:r>
              <a:rPr lang="ru-RU" sz="2400" dirty="0" smtClean="0"/>
              <a:t/>
            </a:r>
            <a:br>
              <a:rPr lang="ru-RU" sz="2400" dirty="0" smtClean="0"/>
            </a:br>
            <a:r>
              <a:rPr lang="ru-RU" sz="1800" dirty="0" smtClean="0"/>
              <a:t>Москва</a:t>
            </a:r>
            <a:r>
              <a:rPr lang="ru-RU" sz="2400" dirty="0" smtClean="0"/>
              <a:t>, </a:t>
            </a:r>
            <a:br>
              <a:rPr lang="ru-RU" sz="2400" dirty="0" smtClean="0"/>
            </a:br>
            <a:r>
              <a:rPr lang="ru-RU" sz="1800" dirty="0" smtClean="0"/>
              <a:t>08.12.2011</a:t>
            </a:r>
            <a:r>
              <a:rPr lang="ru-RU" sz="1400" dirty="0" smtClean="0"/>
              <a:t/>
            </a:r>
            <a:br>
              <a:rPr lang="ru-RU" sz="1400" dirty="0" smtClean="0"/>
            </a:br>
            <a:endParaRPr lang="en-US" sz="1400" dirty="0" smtClean="0"/>
          </a:p>
        </p:txBody>
      </p:sp>
      <p:sp>
        <p:nvSpPr>
          <p:cNvPr id="17411" name="Rectangle 2"/>
          <p:cNvSpPr>
            <a:spLocks noChangeArrowheads="1"/>
          </p:cNvSpPr>
          <p:nvPr/>
        </p:nvSpPr>
        <p:spPr bwMode="gray">
          <a:xfrm>
            <a:off x="4526995" y="4649787"/>
            <a:ext cx="3970337" cy="458788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120000"/>
              </a:lnSpc>
              <a:spcBef>
                <a:spcPct val="50000"/>
              </a:spcBef>
            </a:pPr>
            <a:r>
              <a:rPr lang="ru-RU" sz="2000" dirty="0"/>
              <a:t>ОАО «Э.ОН Россия»</a:t>
            </a:r>
            <a:endParaRPr lang="en-US" sz="2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9BE80E-9ABE-4D2F-A5A3-540BFB20A004}" type="slidenum">
              <a:rPr lang="ru-RU" smtClean="0"/>
              <a:pPr>
                <a:defRPr/>
              </a:pPr>
              <a:t>1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      </a:t>
            </a:r>
            <a:endParaRPr lang="ru-RU"/>
          </a:p>
        </p:txBody>
      </p:sp>
      <p:sp>
        <p:nvSpPr>
          <p:cNvPr id="4" name="Номер слайда 1"/>
          <p:cNvSpPr txBox="1">
            <a:spLocks/>
          </p:cNvSpPr>
          <p:nvPr/>
        </p:nvSpPr>
        <p:spPr bwMode="auto">
          <a:xfrm>
            <a:off x="8001000" y="6553200"/>
            <a:ext cx="5334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0" fontAlgn="base" latinLnBrk="0" hangingPunct="0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29BE80E-9ABE-4D2F-A5A3-540BFB20A004}" type="slidenum">
              <a:rPr kumimoji="0" lang="ru-RU" sz="1000" b="0" i="0" u="none" strike="noStrike" kern="1200" cap="none" spc="0" normalizeH="0" baseline="0" noProof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olo" pitchFamily="2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ts val="9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000" b="0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Polo" pitchFamily="2" charset="0"/>
              <a:ea typeface="+mn-ea"/>
              <a:cs typeface="+mn-cs"/>
            </a:endParaRPr>
          </a:p>
        </p:txBody>
      </p:sp>
      <p:sp>
        <p:nvSpPr>
          <p:cNvPr id="5" name="Нижний колонтитул 2"/>
          <p:cNvSpPr txBox="1">
            <a:spLocks/>
          </p:cNvSpPr>
          <p:nvPr/>
        </p:nvSpPr>
        <p:spPr bwMode="auto">
          <a:xfrm>
            <a:off x="3048000" y="6553200"/>
            <a:ext cx="51054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0" fontAlgn="base" latinLnBrk="0" hangingPunct="0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olo" pitchFamily="2" charset="0"/>
                <a:ea typeface="+mn-ea"/>
                <a:cs typeface="+mn-cs"/>
              </a:rPr>
              <a:t>      </a:t>
            </a:r>
            <a:endParaRPr kumimoji="0" lang="ru-RU" sz="700" b="0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Polo" pitchFamily="2" charset="0"/>
              <a:ea typeface="+mn-ea"/>
              <a:cs typeface="+mn-cs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81589" y="1983836"/>
            <a:ext cx="7425825" cy="369541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7" name="TextBox 6"/>
          <p:cNvSpPr txBox="1"/>
          <p:nvPr/>
        </p:nvSpPr>
        <p:spPr>
          <a:xfrm>
            <a:off x="577440" y="1060217"/>
            <a:ext cx="7956960" cy="6157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5000"/>
              </a:lnSpc>
            </a:pPr>
            <a:r>
              <a:rPr lang="ru-RU" sz="1400" b="1" dirty="0" smtClean="0">
                <a:solidFill>
                  <a:schemeClr val="tx1"/>
                </a:solidFill>
                <a:latin typeface="PoloCyr" pitchFamily="2" charset="0"/>
              </a:rPr>
              <a:t>Общая схема одновальной компоновки основного оборудования парогазового энергоблока ПГУ-400 эксплуатирующихся на Шатурской ГРЭС, </a:t>
            </a:r>
            <a:r>
              <a:rPr lang="ru-RU" sz="1400" b="1" dirty="0" err="1" smtClean="0">
                <a:solidFill>
                  <a:schemeClr val="tx1"/>
                </a:solidFill>
                <a:latin typeface="PoloCyr" pitchFamily="2" charset="0"/>
              </a:rPr>
              <a:t>Сургутской</a:t>
            </a:r>
            <a:r>
              <a:rPr lang="ru-RU" sz="1400" b="1" dirty="0" smtClean="0">
                <a:solidFill>
                  <a:schemeClr val="tx1"/>
                </a:solidFill>
                <a:latin typeface="PoloCyr" pitchFamily="2" charset="0"/>
              </a:rPr>
              <a:t> ГРЭС-2  и </a:t>
            </a:r>
            <a:r>
              <a:rPr lang="ru-RU" sz="1400" b="1" dirty="0" err="1" smtClean="0">
                <a:solidFill>
                  <a:schemeClr val="tx1"/>
                </a:solidFill>
                <a:latin typeface="PoloCyr" pitchFamily="2" charset="0"/>
              </a:rPr>
              <a:t>Яйвинской</a:t>
            </a:r>
            <a:r>
              <a:rPr lang="ru-RU" sz="1400" b="1" dirty="0" smtClean="0">
                <a:solidFill>
                  <a:schemeClr val="tx1"/>
                </a:solidFill>
                <a:latin typeface="PoloCyr" pitchFamily="2" charset="0"/>
              </a:rPr>
              <a:t> ГРЭС</a:t>
            </a:r>
            <a:endParaRPr lang="ru-RU" sz="1400" b="1" dirty="0">
              <a:solidFill>
                <a:schemeClr val="tx1"/>
              </a:solidFill>
              <a:latin typeface="PoloCyr" pitchFamily="2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746575" y="5679250"/>
            <a:ext cx="778782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dirty="0" smtClean="0">
                <a:solidFill>
                  <a:schemeClr val="tx1"/>
                </a:solidFill>
                <a:latin typeface="PoloCyr" pitchFamily="2" charset="0"/>
              </a:rPr>
              <a:t>Парогазовая установка ПГУ – установка, предназначенная для одновременного преобразования энергии двух рабочих тел – пара и газа, в механическую энергию, при передаче которой в генератор, происходит ее преобразование в электрическую энергию.</a:t>
            </a:r>
            <a:endParaRPr lang="ru-RU" sz="1400" dirty="0">
              <a:solidFill>
                <a:schemeClr val="tx1"/>
              </a:solidFill>
              <a:latin typeface="PoloCyr" pitchFamily="2" charset="0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9BE80E-9ABE-4D2F-A5A3-540BFB20A004}" type="slidenum">
              <a:rPr lang="ru-RU" smtClean="0"/>
              <a:pPr>
                <a:defRPr/>
              </a:pPr>
              <a:t>1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      </a:t>
            </a:r>
            <a:endParaRPr lang="ru-RU"/>
          </a:p>
        </p:txBody>
      </p:sp>
      <p:pic>
        <p:nvPicPr>
          <p:cNvPr id="4" name="Рисунок 7" descr="Общий вид машзала н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71600" y="1763815"/>
            <a:ext cx="7562800" cy="4590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Нижний колонтитул 5"/>
          <p:cNvSpPr txBox="1"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476546" y="1133745"/>
            <a:ext cx="8280920" cy="495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r>
              <a:rPr lang="ru-RU" sz="1800" b="1" dirty="0" smtClean="0">
                <a:solidFill>
                  <a:schemeClr val="tx1"/>
                </a:solidFill>
                <a:latin typeface="PoloCyr" pitchFamily="2" charset="0"/>
              </a:rPr>
              <a:t>Фотография машинного зала ПГУ-400 Шатурской </a:t>
            </a:r>
            <a:r>
              <a:rPr lang="ru-RU" sz="1800" b="1" dirty="0" smtClean="0">
                <a:solidFill>
                  <a:schemeClr val="tx1"/>
                </a:solidFill>
                <a:latin typeface="PoloCyr" pitchFamily="2" charset="0"/>
              </a:rPr>
              <a:t>ГРЭС </a:t>
            </a:r>
          </a:p>
          <a:p>
            <a:pPr>
              <a:defRPr/>
            </a:pPr>
            <a:r>
              <a:rPr lang="ru-RU" sz="1800" b="1" dirty="0" smtClean="0">
                <a:solidFill>
                  <a:schemeClr val="tx1"/>
                </a:solidFill>
                <a:latin typeface="PoloCyr" pitchFamily="2" charset="0"/>
              </a:rPr>
              <a:t>Вид со стороны генератора ПГУ </a:t>
            </a:r>
            <a:endParaRPr lang="ru-RU" sz="1800" b="1" dirty="0">
              <a:solidFill>
                <a:schemeClr val="tx1"/>
              </a:solidFill>
              <a:latin typeface="PoloCyr" pitchFamily="2" charset="0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9BE80E-9ABE-4D2F-A5A3-540BFB20A004}" type="slidenum">
              <a:rPr lang="ru-RU" smtClean="0"/>
              <a:pPr>
                <a:defRPr/>
              </a:pPr>
              <a:t>1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      </a:t>
            </a:r>
            <a:endParaRPr lang="ru-RU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 rot="5400000">
            <a:off x="2529011" y="-108634"/>
            <a:ext cx="3599538" cy="7344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Нижний колонтитул 5"/>
          <p:cNvSpPr txBox="1"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206515" y="1178750"/>
            <a:ext cx="7794484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r>
              <a:rPr lang="ru-RU" sz="1400" b="1" dirty="0" smtClean="0">
                <a:solidFill>
                  <a:schemeClr val="tx1"/>
                </a:solidFill>
              </a:rPr>
              <a:t>       </a:t>
            </a:r>
            <a:endParaRPr lang="ru-RU" sz="1400" b="1" dirty="0" smtClean="0">
              <a:solidFill>
                <a:schemeClr val="tx1"/>
              </a:solidFill>
            </a:endParaRPr>
          </a:p>
          <a:p>
            <a:pPr>
              <a:defRPr/>
            </a:pPr>
            <a:r>
              <a:rPr lang="ru-RU" sz="1800" b="1" dirty="0" smtClean="0">
                <a:solidFill>
                  <a:schemeClr val="tx1"/>
                </a:solidFill>
                <a:latin typeface="PoloCyr" pitchFamily="2" charset="0"/>
              </a:rPr>
              <a:t>Продольный </a:t>
            </a:r>
            <a:r>
              <a:rPr lang="ru-RU" sz="1800" b="1" dirty="0" smtClean="0">
                <a:solidFill>
                  <a:schemeClr val="tx1"/>
                </a:solidFill>
                <a:latin typeface="PoloCyr" pitchFamily="2" charset="0"/>
              </a:rPr>
              <a:t>разрез газотурбинной установки типа </a:t>
            </a:r>
            <a:r>
              <a:rPr lang="en-US" sz="1800" b="1" dirty="0" smtClean="0">
                <a:solidFill>
                  <a:schemeClr val="tx1"/>
                </a:solidFill>
                <a:latin typeface="PoloCyr" pitchFamily="2" charset="0"/>
              </a:rPr>
              <a:t>MS </a:t>
            </a:r>
            <a:r>
              <a:rPr lang="en-US" sz="1800" b="1" dirty="0" smtClean="0">
                <a:solidFill>
                  <a:schemeClr val="tx1"/>
                </a:solidFill>
                <a:latin typeface="PoloCyr" pitchFamily="2" charset="0"/>
              </a:rPr>
              <a:t>90001FA</a:t>
            </a:r>
            <a:r>
              <a:rPr lang="ru-RU" sz="1800" b="1" dirty="0" smtClean="0">
                <a:solidFill>
                  <a:schemeClr val="tx1"/>
                </a:solidFill>
                <a:latin typeface="PoloCyr" pitchFamily="2" charset="0"/>
              </a:rPr>
              <a:t>, </a:t>
            </a:r>
            <a:r>
              <a:rPr lang="en-US" sz="1800" b="1" dirty="0" smtClean="0">
                <a:solidFill>
                  <a:schemeClr val="tx1"/>
                </a:solidFill>
                <a:latin typeface="PoloCyr" pitchFamily="2" charset="0"/>
              </a:rPr>
              <a:t> </a:t>
            </a:r>
            <a:r>
              <a:rPr lang="ru-RU" sz="1800" b="1" dirty="0" smtClean="0">
                <a:solidFill>
                  <a:schemeClr val="tx1"/>
                </a:solidFill>
                <a:latin typeface="PoloCyr" pitchFamily="2" charset="0"/>
              </a:rPr>
              <a:t> </a:t>
            </a:r>
            <a:r>
              <a:rPr lang="ru-RU" sz="1800" b="1" dirty="0" smtClean="0">
                <a:solidFill>
                  <a:schemeClr val="tx1"/>
                </a:solidFill>
                <a:latin typeface="PoloCyr" pitchFamily="2" charset="0"/>
              </a:rPr>
              <a:t>установленной в составе энергоблоков ПГУ на Шатурской ГРЭС и </a:t>
            </a:r>
            <a:r>
              <a:rPr lang="ru-RU" sz="1800" b="1" dirty="0" err="1" smtClean="0">
                <a:solidFill>
                  <a:schemeClr val="tx1"/>
                </a:solidFill>
                <a:latin typeface="PoloCyr" pitchFamily="2" charset="0"/>
              </a:rPr>
              <a:t>Сургутской</a:t>
            </a:r>
            <a:r>
              <a:rPr lang="ru-RU" sz="1800" b="1" dirty="0" smtClean="0">
                <a:solidFill>
                  <a:schemeClr val="tx1"/>
                </a:solidFill>
                <a:latin typeface="PoloCyr" pitchFamily="2" charset="0"/>
              </a:rPr>
              <a:t> ГРЭС-2</a:t>
            </a:r>
            <a:endParaRPr lang="ru-RU" sz="1800" b="1" dirty="0">
              <a:solidFill>
                <a:schemeClr val="tx1"/>
              </a:solidFill>
              <a:latin typeface="PoloCyr" pitchFamily="2" charset="0"/>
            </a:endParaRPr>
          </a:p>
        </p:txBody>
      </p:sp>
      <p:sp>
        <p:nvSpPr>
          <p:cNvPr id="6" name="Нижний колонтитул 5"/>
          <p:cNvSpPr txBox="1"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1144082" y="5544235"/>
            <a:ext cx="7009317" cy="675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400" dirty="0" smtClean="0">
                <a:solidFill>
                  <a:schemeClr val="tx1"/>
                </a:solidFill>
              </a:rPr>
              <a:t>  </a:t>
            </a:r>
            <a:r>
              <a:rPr lang="ru-RU" sz="1400" dirty="0" smtClean="0">
                <a:solidFill>
                  <a:schemeClr val="tx1"/>
                </a:solidFill>
                <a:latin typeface="PoloCyr" pitchFamily="2" charset="0"/>
              </a:rPr>
              <a:t>Заводские расчетные показатели ГТУ по условиям ИСО:</a:t>
            </a:r>
          </a:p>
          <a:p>
            <a:pPr algn="ctr">
              <a:defRPr/>
            </a:pPr>
            <a:r>
              <a:rPr lang="ru-RU" sz="1400" dirty="0" smtClean="0">
                <a:solidFill>
                  <a:schemeClr val="tx1"/>
                </a:solidFill>
                <a:latin typeface="PoloCyr" pitchFamily="2" charset="0"/>
              </a:rPr>
              <a:t>Мощность  – 255 МВт, температура газов за ГТУ 600 </a:t>
            </a:r>
            <a:r>
              <a:rPr lang="ru-RU" sz="1400" baseline="30000" dirty="0" smtClean="0">
                <a:solidFill>
                  <a:schemeClr val="tx1"/>
                </a:solidFill>
                <a:latin typeface="PoloCyr" pitchFamily="2" charset="0"/>
              </a:rPr>
              <a:t>О</a:t>
            </a:r>
            <a:r>
              <a:rPr lang="ru-RU" sz="1400" dirty="0" smtClean="0">
                <a:solidFill>
                  <a:schemeClr val="tx1"/>
                </a:solidFill>
                <a:latin typeface="PoloCyr" pitchFamily="2" charset="0"/>
              </a:rPr>
              <a:t>С, расход воздуха на входе в компрессор 641 кг/с, КПД ГТУ 37 %,  степень сжатия компрессора - 17  </a:t>
            </a:r>
            <a:endParaRPr lang="ru-RU" sz="1400" dirty="0">
              <a:solidFill>
                <a:schemeClr val="tx1"/>
              </a:solidFill>
              <a:latin typeface="PoloCyr" pitchFamily="2" charset="0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001000" y="6032500"/>
            <a:ext cx="533400" cy="152400"/>
          </a:xfrm>
          <a:noFill/>
        </p:spPr>
        <p:txBody>
          <a:bodyPr/>
          <a:lstStyle/>
          <a:p>
            <a:fld id="{9F999C9A-6D94-46A7-8F5E-4D4338C387C0}" type="slidenum">
              <a:rPr smtClean="0">
                <a:latin typeface="Polo"/>
                <a:cs typeface="Arial" charset="0"/>
              </a:rPr>
              <a:pPr/>
              <a:t>2</a:t>
            </a:fld>
            <a:endParaRPr lang="ru-RU" smtClean="0">
              <a:latin typeface="Polo"/>
              <a:cs typeface="Arial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611188" y="5954713"/>
            <a:ext cx="8353425" cy="4000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8435" name="Freeform 387"/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2565400" y="3784600"/>
            <a:ext cx="222250" cy="155575"/>
          </a:xfrm>
          <a:custGeom>
            <a:avLst/>
            <a:gdLst>
              <a:gd name="T0" fmla="*/ 98032 w 331"/>
              <a:gd name="T1" fmla="*/ 131593 h 253"/>
              <a:gd name="T2" fmla="*/ 78560 w 331"/>
              <a:gd name="T3" fmla="*/ 137742 h 253"/>
              <a:gd name="T4" fmla="*/ 65131 w 331"/>
              <a:gd name="T5" fmla="*/ 143892 h 253"/>
              <a:gd name="T6" fmla="*/ 58416 w 331"/>
              <a:gd name="T7" fmla="*/ 143892 h 253"/>
              <a:gd name="T8" fmla="*/ 52373 w 331"/>
              <a:gd name="T9" fmla="*/ 143892 h 253"/>
              <a:gd name="T10" fmla="*/ 32230 w 331"/>
              <a:gd name="T11" fmla="*/ 143892 h 253"/>
              <a:gd name="T12" fmla="*/ 12758 w 331"/>
              <a:gd name="T13" fmla="*/ 143892 h 253"/>
              <a:gd name="T14" fmla="*/ 6043 w 331"/>
              <a:gd name="T15" fmla="*/ 143892 h 253"/>
              <a:gd name="T16" fmla="*/ 0 w 331"/>
              <a:gd name="T17" fmla="*/ 131593 h 253"/>
              <a:gd name="T18" fmla="*/ 6043 w 331"/>
              <a:gd name="T19" fmla="*/ 119910 h 253"/>
              <a:gd name="T20" fmla="*/ 6043 w 331"/>
              <a:gd name="T21" fmla="*/ 119910 h 253"/>
              <a:gd name="T22" fmla="*/ 6043 w 331"/>
              <a:gd name="T23" fmla="*/ 107611 h 253"/>
              <a:gd name="T24" fmla="*/ 6043 w 331"/>
              <a:gd name="T25" fmla="*/ 95928 h 253"/>
              <a:gd name="T26" fmla="*/ 12758 w 331"/>
              <a:gd name="T27" fmla="*/ 95928 h 253"/>
              <a:gd name="T28" fmla="*/ 19472 w 331"/>
              <a:gd name="T29" fmla="*/ 83629 h 253"/>
              <a:gd name="T30" fmla="*/ 19472 w 331"/>
              <a:gd name="T31" fmla="*/ 71946 h 253"/>
              <a:gd name="T32" fmla="*/ 19472 w 331"/>
              <a:gd name="T33" fmla="*/ 59647 h 253"/>
              <a:gd name="T34" fmla="*/ 26187 w 331"/>
              <a:gd name="T35" fmla="*/ 59647 h 253"/>
              <a:gd name="T36" fmla="*/ 32230 w 331"/>
              <a:gd name="T37" fmla="*/ 47964 h 253"/>
              <a:gd name="T38" fmla="*/ 45659 w 331"/>
              <a:gd name="T39" fmla="*/ 41815 h 253"/>
              <a:gd name="T40" fmla="*/ 45659 w 331"/>
              <a:gd name="T41" fmla="*/ 29516 h 253"/>
              <a:gd name="T42" fmla="*/ 45659 w 331"/>
              <a:gd name="T43" fmla="*/ 23982 h 253"/>
              <a:gd name="T44" fmla="*/ 58416 w 331"/>
              <a:gd name="T45" fmla="*/ 23982 h 253"/>
              <a:gd name="T46" fmla="*/ 65131 w 331"/>
              <a:gd name="T47" fmla="*/ 23982 h 253"/>
              <a:gd name="T48" fmla="*/ 71845 w 331"/>
              <a:gd name="T49" fmla="*/ 17833 h 253"/>
              <a:gd name="T50" fmla="*/ 71845 w 331"/>
              <a:gd name="T51" fmla="*/ 11683 h 253"/>
              <a:gd name="T52" fmla="*/ 78560 w 331"/>
              <a:gd name="T53" fmla="*/ 5534 h 253"/>
              <a:gd name="T54" fmla="*/ 91317 w 331"/>
              <a:gd name="T55" fmla="*/ 5534 h 253"/>
              <a:gd name="T56" fmla="*/ 98032 w 331"/>
              <a:gd name="T57" fmla="*/ 0 h 253"/>
              <a:gd name="T58" fmla="*/ 104746 w 331"/>
              <a:gd name="T59" fmla="*/ 0 h 253"/>
              <a:gd name="T60" fmla="*/ 110789 w 331"/>
              <a:gd name="T61" fmla="*/ 5534 h 253"/>
              <a:gd name="T62" fmla="*/ 110789 w 331"/>
              <a:gd name="T63" fmla="*/ 17833 h 253"/>
              <a:gd name="T64" fmla="*/ 117504 w 331"/>
              <a:gd name="T65" fmla="*/ 23982 h 253"/>
              <a:gd name="T66" fmla="*/ 130933 w 331"/>
              <a:gd name="T67" fmla="*/ 53498 h 253"/>
              <a:gd name="T68" fmla="*/ 150405 w 331"/>
              <a:gd name="T69" fmla="*/ 65797 h 253"/>
              <a:gd name="T70" fmla="*/ 163162 w 331"/>
              <a:gd name="T71" fmla="*/ 77480 h 253"/>
              <a:gd name="T72" fmla="*/ 189349 w 331"/>
              <a:gd name="T73" fmla="*/ 83629 h 253"/>
              <a:gd name="T74" fmla="*/ 202778 w 331"/>
              <a:gd name="T75" fmla="*/ 77480 h 253"/>
              <a:gd name="T76" fmla="*/ 209492 w 331"/>
              <a:gd name="T77" fmla="*/ 83629 h 253"/>
              <a:gd name="T78" fmla="*/ 209492 w 331"/>
              <a:gd name="T79" fmla="*/ 95928 h 253"/>
              <a:gd name="T80" fmla="*/ 209492 w 331"/>
              <a:gd name="T81" fmla="*/ 107611 h 253"/>
              <a:gd name="T82" fmla="*/ 215536 w 331"/>
              <a:gd name="T83" fmla="*/ 113760 h 253"/>
              <a:gd name="T84" fmla="*/ 222250 w 331"/>
              <a:gd name="T85" fmla="*/ 119910 h 253"/>
              <a:gd name="T86" fmla="*/ 222250 w 331"/>
              <a:gd name="T87" fmla="*/ 125444 h 253"/>
              <a:gd name="T88" fmla="*/ 215536 w 331"/>
              <a:gd name="T89" fmla="*/ 131593 h 253"/>
              <a:gd name="T90" fmla="*/ 196063 w 331"/>
              <a:gd name="T91" fmla="*/ 143892 h 253"/>
              <a:gd name="T92" fmla="*/ 183306 w 331"/>
              <a:gd name="T93" fmla="*/ 149426 h 253"/>
              <a:gd name="T94" fmla="*/ 169877 w 331"/>
              <a:gd name="T95" fmla="*/ 155575 h 253"/>
              <a:gd name="T96" fmla="*/ 157119 w 331"/>
              <a:gd name="T97" fmla="*/ 155575 h 253"/>
              <a:gd name="T98" fmla="*/ 143690 w 331"/>
              <a:gd name="T99" fmla="*/ 149426 h 253"/>
              <a:gd name="T100" fmla="*/ 130933 w 331"/>
              <a:gd name="T101" fmla="*/ 155575 h 253"/>
              <a:gd name="T102" fmla="*/ 117504 w 331"/>
              <a:gd name="T103" fmla="*/ 149426 h 253"/>
              <a:gd name="T104" fmla="*/ 110789 w 331"/>
              <a:gd name="T105" fmla="*/ 149426 h 253"/>
              <a:gd name="T106" fmla="*/ 104746 w 331"/>
              <a:gd name="T107" fmla="*/ 149426 h 253"/>
              <a:gd name="T108" fmla="*/ 104746 w 331"/>
              <a:gd name="T109" fmla="*/ 143892 h 253"/>
              <a:gd name="T110" fmla="*/ 98032 w 331"/>
              <a:gd name="T111" fmla="*/ 131593 h 253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331"/>
              <a:gd name="T169" fmla="*/ 0 h 253"/>
              <a:gd name="T170" fmla="*/ 331 w 331"/>
              <a:gd name="T171" fmla="*/ 253 h 253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331" h="253">
                <a:moveTo>
                  <a:pt x="146" y="214"/>
                </a:moveTo>
                <a:lnTo>
                  <a:pt x="117" y="224"/>
                </a:lnTo>
                <a:lnTo>
                  <a:pt x="97" y="234"/>
                </a:lnTo>
                <a:lnTo>
                  <a:pt x="87" y="234"/>
                </a:lnTo>
                <a:lnTo>
                  <a:pt x="78" y="234"/>
                </a:lnTo>
                <a:lnTo>
                  <a:pt x="48" y="234"/>
                </a:lnTo>
                <a:lnTo>
                  <a:pt x="19" y="234"/>
                </a:lnTo>
                <a:lnTo>
                  <a:pt x="9" y="234"/>
                </a:lnTo>
                <a:lnTo>
                  <a:pt x="0" y="214"/>
                </a:lnTo>
                <a:lnTo>
                  <a:pt x="9" y="195"/>
                </a:lnTo>
                <a:lnTo>
                  <a:pt x="9" y="175"/>
                </a:lnTo>
                <a:lnTo>
                  <a:pt x="9" y="156"/>
                </a:lnTo>
                <a:lnTo>
                  <a:pt x="19" y="156"/>
                </a:lnTo>
                <a:lnTo>
                  <a:pt x="29" y="136"/>
                </a:lnTo>
                <a:lnTo>
                  <a:pt x="29" y="117"/>
                </a:lnTo>
                <a:lnTo>
                  <a:pt x="29" y="97"/>
                </a:lnTo>
                <a:lnTo>
                  <a:pt x="39" y="97"/>
                </a:lnTo>
                <a:lnTo>
                  <a:pt x="48" y="78"/>
                </a:lnTo>
                <a:lnTo>
                  <a:pt x="68" y="68"/>
                </a:lnTo>
                <a:lnTo>
                  <a:pt x="68" y="48"/>
                </a:lnTo>
                <a:lnTo>
                  <a:pt x="68" y="39"/>
                </a:lnTo>
                <a:lnTo>
                  <a:pt x="87" y="39"/>
                </a:lnTo>
                <a:lnTo>
                  <a:pt x="97" y="39"/>
                </a:lnTo>
                <a:lnTo>
                  <a:pt x="107" y="29"/>
                </a:lnTo>
                <a:lnTo>
                  <a:pt x="107" y="19"/>
                </a:lnTo>
                <a:lnTo>
                  <a:pt x="117" y="9"/>
                </a:lnTo>
                <a:lnTo>
                  <a:pt x="136" y="9"/>
                </a:lnTo>
                <a:lnTo>
                  <a:pt x="146" y="0"/>
                </a:lnTo>
                <a:lnTo>
                  <a:pt x="156" y="0"/>
                </a:lnTo>
                <a:lnTo>
                  <a:pt x="165" y="9"/>
                </a:lnTo>
                <a:lnTo>
                  <a:pt x="165" y="29"/>
                </a:lnTo>
                <a:lnTo>
                  <a:pt x="175" y="39"/>
                </a:lnTo>
                <a:lnTo>
                  <a:pt x="195" y="87"/>
                </a:lnTo>
                <a:lnTo>
                  <a:pt x="224" y="107"/>
                </a:lnTo>
                <a:lnTo>
                  <a:pt x="243" y="126"/>
                </a:lnTo>
                <a:lnTo>
                  <a:pt x="282" y="136"/>
                </a:lnTo>
                <a:lnTo>
                  <a:pt x="302" y="126"/>
                </a:lnTo>
                <a:lnTo>
                  <a:pt x="312" y="136"/>
                </a:lnTo>
                <a:lnTo>
                  <a:pt x="312" y="156"/>
                </a:lnTo>
                <a:lnTo>
                  <a:pt x="312" y="175"/>
                </a:lnTo>
                <a:lnTo>
                  <a:pt x="321" y="185"/>
                </a:lnTo>
                <a:lnTo>
                  <a:pt x="331" y="195"/>
                </a:lnTo>
                <a:lnTo>
                  <a:pt x="331" y="204"/>
                </a:lnTo>
                <a:lnTo>
                  <a:pt x="321" y="214"/>
                </a:lnTo>
                <a:lnTo>
                  <a:pt x="292" y="234"/>
                </a:lnTo>
                <a:lnTo>
                  <a:pt x="273" y="243"/>
                </a:lnTo>
                <a:lnTo>
                  <a:pt x="253" y="253"/>
                </a:lnTo>
                <a:lnTo>
                  <a:pt x="234" y="253"/>
                </a:lnTo>
                <a:lnTo>
                  <a:pt x="214" y="243"/>
                </a:lnTo>
                <a:lnTo>
                  <a:pt x="195" y="253"/>
                </a:lnTo>
                <a:lnTo>
                  <a:pt x="175" y="243"/>
                </a:lnTo>
                <a:lnTo>
                  <a:pt x="165" y="243"/>
                </a:lnTo>
                <a:lnTo>
                  <a:pt x="156" y="243"/>
                </a:lnTo>
                <a:lnTo>
                  <a:pt x="156" y="234"/>
                </a:lnTo>
                <a:lnTo>
                  <a:pt x="146" y="214"/>
                </a:lnTo>
                <a:close/>
              </a:path>
            </a:pathLst>
          </a:custGeom>
          <a:solidFill>
            <a:srgbClr val="CCECFF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36" name="Freeform 342"/>
          <p:cNvSpPr>
            <a:spLocks noChangeAspect="1"/>
          </p:cNvSpPr>
          <p:nvPr>
            <p:custDataLst>
              <p:tags r:id="rId2"/>
            </p:custDataLst>
          </p:nvPr>
        </p:nvSpPr>
        <p:spPr bwMode="auto">
          <a:xfrm>
            <a:off x="2644775" y="3563938"/>
            <a:ext cx="195263" cy="238125"/>
          </a:xfrm>
          <a:custGeom>
            <a:avLst/>
            <a:gdLst>
              <a:gd name="T0" fmla="*/ 71552 w 292"/>
              <a:gd name="T1" fmla="*/ 220000 h 381"/>
              <a:gd name="T2" fmla="*/ 52159 w 292"/>
              <a:gd name="T3" fmla="*/ 231875 h 381"/>
              <a:gd name="T4" fmla="*/ 32098 w 292"/>
              <a:gd name="T5" fmla="*/ 225625 h 381"/>
              <a:gd name="T6" fmla="*/ 19393 w 292"/>
              <a:gd name="T7" fmla="*/ 220000 h 381"/>
              <a:gd name="T8" fmla="*/ 26080 w 292"/>
              <a:gd name="T9" fmla="*/ 201250 h 381"/>
              <a:gd name="T10" fmla="*/ 12705 w 292"/>
              <a:gd name="T11" fmla="*/ 183125 h 381"/>
              <a:gd name="T12" fmla="*/ 0 w 292"/>
              <a:gd name="T13" fmla="*/ 170625 h 381"/>
              <a:gd name="T14" fmla="*/ 12705 w 292"/>
              <a:gd name="T15" fmla="*/ 158750 h 381"/>
              <a:gd name="T16" fmla="*/ 6018 w 292"/>
              <a:gd name="T17" fmla="*/ 146250 h 381"/>
              <a:gd name="T18" fmla="*/ 0 w 292"/>
              <a:gd name="T19" fmla="*/ 134375 h 381"/>
              <a:gd name="T20" fmla="*/ 0 w 292"/>
              <a:gd name="T21" fmla="*/ 121875 h 381"/>
              <a:gd name="T22" fmla="*/ 0 w 292"/>
              <a:gd name="T23" fmla="*/ 110000 h 381"/>
              <a:gd name="T24" fmla="*/ 19393 w 292"/>
              <a:gd name="T25" fmla="*/ 103750 h 381"/>
              <a:gd name="T26" fmla="*/ 26080 w 292"/>
              <a:gd name="T27" fmla="*/ 91875 h 381"/>
              <a:gd name="T28" fmla="*/ 38785 w 292"/>
              <a:gd name="T29" fmla="*/ 79375 h 381"/>
              <a:gd name="T30" fmla="*/ 38785 w 292"/>
              <a:gd name="T31" fmla="*/ 67500 h 381"/>
              <a:gd name="T32" fmla="*/ 52159 w 292"/>
              <a:gd name="T33" fmla="*/ 61250 h 381"/>
              <a:gd name="T34" fmla="*/ 71552 w 292"/>
              <a:gd name="T35" fmla="*/ 55000 h 381"/>
              <a:gd name="T36" fmla="*/ 84257 w 292"/>
              <a:gd name="T37" fmla="*/ 36875 h 381"/>
              <a:gd name="T38" fmla="*/ 97632 w 292"/>
              <a:gd name="T39" fmla="*/ 30625 h 381"/>
              <a:gd name="T40" fmla="*/ 123711 w 292"/>
              <a:gd name="T41" fmla="*/ 30625 h 381"/>
              <a:gd name="T42" fmla="*/ 130398 w 292"/>
              <a:gd name="T43" fmla="*/ 24375 h 381"/>
              <a:gd name="T44" fmla="*/ 149791 w 292"/>
              <a:gd name="T45" fmla="*/ 18750 h 381"/>
              <a:gd name="T46" fmla="*/ 169183 w 292"/>
              <a:gd name="T47" fmla="*/ 6250 h 381"/>
              <a:gd name="T48" fmla="*/ 189245 w 292"/>
              <a:gd name="T49" fmla="*/ 0 h 381"/>
              <a:gd name="T50" fmla="*/ 195263 w 292"/>
              <a:gd name="T51" fmla="*/ 6250 h 381"/>
              <a:gd name="T52" fmla="*/ 195263 w 292"/>
              <a:gd name="T53" fmla="*/ 18750 h 381"/>
              <a:gd name="T54" fmla="*/ 195263 w 292"/>
              <a:gd name="T55" fmla="*/ 43125 h 381"/>
              <a:gd name="T56" fmla="*/ 189245 w 292"/>
              <a:gd name="T57" fmla="*/ 61250 h 381"/>
              <a:gd name="T58" fmla="*/ 189245 w 292"/>
              <a:gd name="T59" fmla="*/ 73125 h 381"/>
              <a:gd name="T60" fmla="*/ 175870 w 292"/>
              <a:gd name="T61" fmla="*/ 79375 h 381"/>
              <a:gd name="T62" fmla="*/ 162496 w 292"/>
              <a:gd name="T63" fmla="*/ 79375 h 381"/>
              <a:gd name="T64" fmla="*/ 169183 w 292"/>
              <a:gd name="T65" fmla="*/ 110000 h 381"/>
              <a:gd name="T66" fmla="*/ 149791 w 292"/>
              <a:gd name="T67" fmla="*/ 134375 h 381"/>
              <a:gd name="T68" fmla="*/ 130398 w 292"/>
              <a:gd name="T69" fmla="*/ 134375 h 381"/>
              <a:gd name="T70" fmla="*/ 123711 w 292"/>
              <a:gd name="T71" fmla="*/ 152500 h 381"/>
              <a:gd name="T72" fmla="*/ 110337 w 292"/>
              <a:gd name="T73" fmla="*/ 165000 h 381"/>
              <a:gd name="T74" fmla="*/ 104319 w 292"/>
              <a:gd name="T75" fmla="*/ 176875 h 381"/>
              <a:gd name="T76" fmla="*/ 90944 w 292"/>
              <a:gd name="T77" fmla="*/ 183125 h 381"/>
              <a:gd name="T78" fmla="*/ 90944 w 292"/>
              <a:gd name="T79" fmla="*/ 195625 h 381"/>
              <a:gd name="T80" fmla="*/ 78239 w 292"/>
              <a:gd name="T81" fmla="*/ 207500 h 381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292"/>
              <a:gd name="T124" fmla="*/ 0 h 381"/>
              <a:gd name="T125" fmla="*/ 292 w 292"/>
              <a:gd name="T126" fmla="*/ 381 h 381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292" h="381">
                <a:moveTo>
                  <a:pt x="117" y="332"/>
                </a:moveTo>
                <a:lnTo>
                  <a:pt x="107" y="352"/>
                </a:lnTo>
                <a:lnTo>
                  <a:pt x="97" y="361"/>
                </a:lnTo>
                <a:lnTo>
                  <a:pt x="78" y="371"/>
                </a:lnTo>
                <a:lnTo>
                  <a:pt x="48" y="381"/>
                </a:lnTo>
                <a:lnTo>
                  <a:pt x="48" y="361"/>
                </a:lnTo>
                <a:lnTo>
                  <a:pt x="39" y="352"/>
                </a:lnTo>
                <a:lnTo>
                  <a:pt x="29" y="352"/>
                </a:lnTo>
                <a:lnTo>
                  <a:pt x="29" y="342"/>
                </a:lnTo>
                <a:lnTo>
                  <a:pt x="39" y="322"/>
                </a:lnTo>
                <a:lnTo>
                  <a:pt x="39" y="303"/>
                </a:lnTo>
                <a:lnTo>
                  <a:pt x="19" y="293"/>
                </a:lnTo>
                <a:lnTo>
                  <a:pt x="9" y="283"/>
                </a:lnTo>
                <a:lnTo>
                  <a:pt x="0" y="273"/>
                </a:lnTo>
                <a:lnTo>
                  <a:pt x="9" y="264"/>
                </a:lnTo>
                <a:lnTo>
                  <a:pt x="19" y="254"/>
                </a:lnTo>
                <a:lnTo>
                  <a:pt x="19" y="244"/>
                </a:lnTo>
                <a:lnTo>
                  <a:pt x="9" y="234"/>
                </a:lnTo>
                <a:lnTo>
                  <a:pt x="0" y="225"/>
                </a:lnTo>
                <a:lnTo>
                  <a:pt x="0" y="215"/>
                </a:lnTo>
                <a:lnTo>
                  <a:pt x="9" y="195"/>
                </a:lnTo>
                <a:lnTo>
                  <a:pt x="0" y="195"/>
                </a:lnTo>
                <a:lnTo>
                  <a:pt x="0" y="186"/>
                </a:lnTo>
                <a:lnTo>
                  <a:pt x="0" y="176"/>
                </a:lnTo>
                <a:lnTo>
                  <a:pt x="9" y="166"/>
                </a:lnTo>
                <a:lnTo>
                  <a:pt x="29" y="166"/>
                </a:lnTo>
                <a:lnTo>
                  <a:pt x="39" y="156"/>
                </a:lnTo>
                <a:lnTo>
                  <a:pt x="39" y="147"/>
                </a:lnTo>
                <a:lnTo>
                  <a:pt x="48" y="137"/>
                </a:lnTo>
                <a:lnTo>
                  <a:pt x="58" y="127"/>
                </a:lnTo>
                <a:lnTo>
                  <a:pt x="58" y="117"/>
                </a:lnTo>
                <a:lnTo>
                  <a:pt x="58" y="108"/>
                </a:lnTo>
                <a:lnTo>
                  <a:pt x="68" y="98"/>
                </a:lnTo>
                <a:lnTo>
                  <a:pt x="78" y="98"/>
                </a:lnTo>
                <a:lnTo>
                  <a:pt x="97" y="98"/>
                </a:lnTo>
                <a:lnTo>
                  <a:pt x="107" y="88"/>
                </a:lnTo>
                <a:lnTo>
                  <a:pt x="117" y="69"/>
                </a:lnTo>
                <a:lnTo>
                  <a:pt x="126" y="59"/>
                </a:lnTo>
                <a:lnTo>
                  <a:pt x="136" y="49"/>
                </a:lnTo>
                <a:lnTo>
                  <a:pt x="146" y="49"/>
                </a:lnTo>
                <a:lnTo>
                  <a:pt x="165" y="59"/>
                </a:lnTo>
                <a:lnTo>
                  <a:pt x="185" y="49"/>
                </a:lnTo>
                <a:lnTo>
                  <a:pt x="195" y="39"/>
                </a:lnTo>
                <a:lnTo>
                  <a:pt x="204" y="30"/>
                </a:lnTo>
                <a:lnTo>
                  <a:pt x="224" y="30"/>
                </a:lnTo>
                <a:lnTo>
                  <a:pt x="234" y="20"/>
                </a:lnTo>
                <a:lnTo>
                  <a:pt x="253" y="10"/>
                </a:lnTo>
                <a:lnTo>
                  <a:pt x="273" y="10"/>
                </a:lnTo>
                <a:lnTo>
                  <a:pt x="283" y="0"/>
                </a:lnTo>
                <a:lnTo>
                  <a:pt x="292" y="10"/>
                </a:lnTo>
                <a:lnTo>
                  <a:pt x="283" y="30"/>
                </a:lnTo>
                <a:lnTo>
                  <a:pt x="292" y="30"/>
                </a:lnTo>
                <a:lnTo>
                  <a:pt x="292" y="49"/>
                </a:lnTo>
                <a:lnTo>
                  <a:pt x="292" y="69"/>
                </a:lnTo>
                <a:lnTo>
                  <a:pt x="283" y="78"/>
                </a:lnTo>
                <a:lnTo>
                  <a:pt x="283" y="98"/>
                </a:lnTo>
                <a:lnTo>
                  <a:pt x="283" y="108"/>
                </a:lnTo>
                <a:lnTo>
                  <a:pt x="283" y="117"/>
                </a:lnTo>
                <a:lnTo>
                  <a:pt x="283" y="127"/>
                </a:lnTo>
                <a:lnTo>
                  <a:pt x="263" y="127"/>
                </a:lnTo>
                <a:lnTo>
                  <a:pt x="263" y="117"/>
                </a:lnTo>
                <a:lnTo>
                  <a:pt x="243" y="127"/>
                </a:lnTo>
                <a:lnTo>
                  <a:pt x="243" y="166"/>
                </a:lnTo>
                <a:lnTo>
                  <a:pt x="253" y="176"/>
                </a:lnTo>
                <a:lnTo>
                  <a:pt x="224" y="195"/>
                </a:lnTo>
                <a:lnTo>
                  <a:pt x="224" y="215"/>
                </a:lnTo>
                <a:lnTo>
                  <a:pt x="195" y="215"/>
                </a:lnTo>
                <a:lnTo>
                  <a:pt x="204" y="234"/>
                </a:lnTo>
                <a:lnTo>
                  <a:pt x="185" y="244"/>
                </a:lnTo>
                <a:lnTo>
                  <a:pt x="165" y="254"/>
                </a:lnTo>
                <a:lnTo>
                  <a:pt x="165" y="264"/>
                </a:lnTo>
                <a:lnTo>
                  <a:pt x="175" y="283"/>
                </a:lnTo>
                <a:lnTo>
                  <a:pt x="156" y="283"/>
                </a:lnTo>
                <a:lnTo>
                  <a:pt x="146" y="283"/>
                </a:lnTo>
                <a:lnTo>
                  <a:pt x="136" y="293"/>
                </a:lnTo>
                <a:lnTo>
                  <a:pt x="136" y="303"/>
                </a:lnTo>
                <a:lnTo>
                  <a:pt x="136" y="313"/>
                </a:lnTo>
                <a:lnTo>
                  <a:pt x="126" y="322"/>
                </a:lnTo>
                <a:lnTo>
                  <a:pt x="117" y="332"/>
                </a:lnTo>
                <a:close/>
              </a:path>
            </a:pathLst>
          </a:custGeom>
          <a:solidFill>
            <a:srgbClr val="FFCC99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37" name="Freeform 192"/>
          <p:cNvSpPr>
            <a:spLocks noChangeAspect="1"/>
          </p:cNvSpPr>
          <p:nvPr>
            <p:custDataLst>
              <p:tags r:id="rId3"/>
            </p:custDataLst>
          </p:nvPr>
        </p:nvSpPr>
        <p:spPr bwMode="auto">
          <a:xfrm>
            <a:off x="2565400" y="3784600"/>
            <a:ext cx="222250" cy="155575"/>
          </a:xfrm>
          <a:custGeom>
            <a:avLst/>
            <a:gdLst>
              <a:gd name="T0" fmla="*/ 98032 w 331"/>
              <a:gd name="T1" fmla="*/ 131593 h 253"/>
              <a:gd name="T2" fmla="*/ 78560 w 331"/>
              <a:gd name="T3" fmla="*/ 137742 h 253"/>
              <a:gd name="T4" fmla="*/ 65131 w 331"/>
              <a:gd name="T5" fmla="*/ 143892 h 253"/>
              <a:gd name="T6" fmla="*/ 58416 w 331"/>
              <a:gd name="T7" fmla="*/ 143892 h 253"/>
              <a:gd name="T8" fmla="*/ 52373 w 331"/>
              <a:gd name="T9" fmla="*/ 143892 h 253"/>
              <a:gd name="T10" fmla="*/ 32230 w 331"/>
              <a:gd name="T11" fmla="*/ 143892 h 253"/>
              <a:gd name="T12" fmla="*/ 12758 w 331"/>
              <a:gd name="T13" fmla="*/ 143892 h 253"/>
              <a:gd name="T14" fmla="*/ 6043 w 331"/>
              <a:gd name="T15" fmla="*/ 143892 h 253"/>
              <a:gd name="T16" fmla="*/ 0 w 331"/>
              <a:gd name="T17" fmla="*/ 131593 h 253"/>
              <a:gd name="T18" fmla="*/ 6043 w 331"/>
              <a:gd name="T19" fmla="*/ 119910 h 253"/>
              <a:gd name="T20" fmla="*/ 6043 w 331"/>
              <a:gd name="T21" fmla="*/ 119910 h 253"/>
              <a:gd name="T22" fmla="*/ 6043 w 331"/>
              <a:gd name="T23" fmla="*/ 107611 h 253"/>
              <a:gd name="T24" fmla="*/ 6043 w 331"/>
              <a:gd name="T25" fmla="*/ 95928 h 253"/>
              <a:gd name="T26" fmla="*/ 12758 w 331"/>
              <a:gd name="T27" fmla="*/ 95928 h 253"/>
              <a:gd name="T28" fmla="*/ 19472 w 331"/>
              <a:gd name="T29" fmla="*/ 83629 h 253"/>
              <a:gd name="T30" fmla="*/ 19472 w 331"/>
              <a:gd name="T31" fmla="*/ 71946 h 253"/>
              <a:gd name="T32" fmla="*/ 19472 w 331"/>
              <a:gd name="T33" fmla="*/ 59647 h 253"/>
              <a:gd name="T34" fmla="*/ 26187 w 331"/>
              <a:gd name="T35" fmla="*/ 59647 h 253"/>
              <a:gd name="T36" fmla="*/ 32230 w 331"/>
              <a:gd name="T37" fmla="*/ 47964 h 253"/>
              <a:gd name="T38" fmla="*/ 45659 w 331"/>
              <a:gd name="T39" fmla="*/ 41815 h 253"/>
              <a:gd name="T40" fmla="*/ 45659 w 331"/>
              <a:gd name="T41" fmla="*/ 29516 h 253"/>
              <a:gd name="T42" fmla="*/ 45659 w 331"/>
              <a:gd name="T43" fmla="*/ 23982 h 253"/>
              <a:gd name="T44" fmla="*/ 58416 w 331"/>
              <a:gd name="T45" fmla="*/ 23982 h 253"/>
              <a:gd name="T46" fmla="*/ 65131 w 331"/>
              <a:gd name="T47" fmla="*/ 23982 h 253"/>
              <a:gd name="T48" fmla="*/ 71845 w 331"/>
              <a:gd name="T49" fmla="*/ 17833 h 253"/>
              <a:gd name="T50" fmla="*/ 71845 w 331"/>
              <a:gd name="T51" fmla="*/ 11683 h 253"/>
              <a:gd name="T52" fmla="*/ 78560 w 331"/>
              <a:gd name="T53" fmla="*/ 5534 h 253"/>
              <a:gd name="T54" fmla="*/ 91317 w 331"/>
              <a:gd name="T55" fmla="*/ 5534 h 253"/>
              <a:gd name="T56" fmla="*/ 98032 w 331"/>
              <a:gd name="T57" fmla="*/ 0 h 253"/>
              <a:gd name="T58" fmla="*/ 104746 w 331"/>
              <a:gd name="T59" fmla="*/ 0 h 253"/>
              <a:gd name="T60" fmla="*/ 110789 w 331"/>
              <a:gd name="T61" fmla="*/ 5534 h 253"/>
              <a:gd name="T62" fmla="*/ 110789 w 331"/>
              <a:gd name="T63" fmla="*/ 17833 h 253"/>
              <a:gd name="T64" fmla="*/ 117504 w 331"/>
              <a:gd name="T65" fmla="*/ 23982 h 253"/>
              <a:gd name="T66" fmla="*/ 130933 w 331"/>
              <a:gd name="T67" fmla="*/ 53498 h 253"/>
              <a:gd name="T68" fmla="*/ 150405 w 331"/>
              <a:gd name="T69" fmla="*/ 65797 h 253"/>
              <a:gd name="T70" fmla="*/ 163162 w 331"/>
              <a:gd name="T71" fmla="*/ 77480 h 253"/>
              <a:gd name="T72" fmla="*/ 189349 w 331"/>
              <a:gd name="T73" fmla="*/ 83629 h 253"/>
              <a:gd name="T74" fmla="*/ 202778 w 331"/>
              <a:gd name="T75" fmla="*/ 77480 h 253"/>
              <a:gd name="T76" fmla="*/ 209492 w 331"/>
              <a:gd name="T77" fmla="*/ 83629 h 253"/>
              <a:gd name="T78" fmla="*/ 209492 w 331"/>
              <a:gd name="T79" fmla="*/ 95928 h 253"/>
              <a:gd name="T80" fmla="*/ 209492 w 331"/>
              <a:gd name="T81" fmla="*/ 107611 h 253"/>
              <a:gd name="T82" fmla="*/ 215536 w 331"/>
              <a:gd name="T83" fmla="*/ 113760 h 253"/>
              <a:gd name="T84" fmla="*/ 222250 w 331"/>
              <a:gd name="T85" fmla="*/ 119910 h 253"/>
              <a:gd name="T86" fmla="*/ 222250 w 331"/>
              <a:gd name="T87" fmla="*/ 125444 h 253"/>
              <a:gd name="T88" fmla="*/ 215536 w 331"/>
              <a:gd name="T89" fmla="*/ 131593 h 253"/>
              <a:gd name="T90" fmla="*/ 196063 w 331"/>
              <a:gd name="T91" fmla="*/ 143892 h 253"/>
              <a:gd name="T92" fmla="*/ 183306 w 331"/>
              <a:gd name="T93" fmla="*/ 149426 h 253"/>
              <a:gd name="T94" fmla="*/ 169877 w 331"/>
              <a:gd name="T95" fmla="*/ 155575 h 253"/>
              <a:gd name="T96" fmla="*/ 157119 w 331"/>
              <a:gd name="T97" fmla="*/ 155575 h 253"/>
              <a:gd name="T98" fmla="*/ 143690 w 331"/>
              <a:gd name="T99" fmla="*/ 149426 h 253"/>
              <a:gd name="T100" fmla="*/ 130933 w 331"/>
              <a:gd name="T101" fmla="*/ 155575 h 253"/>
              <a:gd name="T102" fmla="*/ 117504 w 331"/>
              <a:gd name="T103" fmla="*/ 149426 h 253"/>
              <a:gd name="T104" fmla="*/ 110789 w 331"/>
              <a:gd name="T105" fmla="*/ 149426 h 253"/>
              <a:gd name="T106" fmla="*/ 104746 w 331"/>
              <a:gd name="T107" fmla="*/ 149426 h 253"/>
              <a:gd name="T108" fmla="*/ 104746 w 331"/>
              <a:gd name="T109" fmla="*/ 143892 h 253"/>
              <a:gd name="T110" fmla="*/ 98032 w 331"/>
              <a:gd name="T111" fmla="*/ 131593 h 253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331"/>
              <a:gd name="T169" fmla="*/ 0 h 253"/>
              <a:gd name="T170" fmla="*/ 331 w 331"/>
              <a:gd name="T171" fmla="*/ 253 h 253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331" h="253">
                <a:moveTo>
                  <a:pt x="146" y="214"/>
                </a:moveTo>
                <a:lnTo>
                  <a:pt x="117" y="224"/>
                </a:lnTo>
                <a:lnTo>
                  <a:pt x="97" y="234"/>
                </a:lnTo>
                <a:lnTo>
                  <a:pt x="87" y="234"/>
                </a:lnTo>
                <a:lnTo>
                  <a:pt x="78" y="234"/>
                </a:lnTo>
                <a:lnTo>
                  <a:pt x="48" y="234"/>
                </a:lnTo>
                <a:lnTo>
                  <a:pt x="19" y="234"/>
                </a:lnTo>
                <a:lnTo>
                  <a:pt x="9" y="234"/>
                </a:lnTo>
                <a:lnTo>
                  <a:pt x="0" y="214"/>
                </a:lnTo>
                <a:lnTo>
                  <a:pt x="9" y="195"/>
                </a:lnTo>
                <a:lnTo>
                  <a:pt x="9" y="175"/>
                </a:lnTo>
                <a:lnTo>
                  <a:pt x="9" y="156"/>
                </a:lnTo>
                <a:lnTo>
                  <a:pt x="19" y="156"/>
                </a:lnTo>
                <a:lnTo>
                  <a:pt x="29" y="136"/>
                </a:lnTo>
                <a:lnTo>
                  <a:pt x="29" y="117"/>
                </a:lnTo>
                <a:lnTo>
                  <a:pt x="29" y="97"/>
                </a:lnTo>
                <a:lnTo>
                  <a:pt x="39" y="97"/>
                </a:lnTo>
                <a:lnTo>
                  <a:pt x="48" y="78"/>
                </a:lnTo>
                <a:lnTo>
                  <a:pt x="68" y="68"/>
                </a:lnTo>
                <a:lnTo>
                  <a:pt x="68" y="48"/>
                </a:lnTo>
                <a:lnTo>
                  <a:pt x="68" y="39"/>
                </a:lnTo>
                <a:lnTo>
                  <a:pt x="87" y="39"/>
                </a:lnTo>
                <a:lnTo>
                  <a:pt x="97" y="39"/>
                </a:lnTo>
                <a:lnTo>
                  <a:pt x="107" y="29"/>
                </a:lnTo>
                <a:lnTo>
                  <a:pt x="107" y="19"/>
                </a:lnTo>
                <a:lnTo>
                  <a:pt x="117" y="9"/>
                </a:lnTo>
                <a:lnTo>
                  <a:pt x="136" y="9"/>
                </a:lnTo>
                <a:lnTo>
                  <a:pt x="146" y="0"/>
                </a:lnTo>
                <a:lnTo>
                  <a:pt x="156" y="0"/>
                </a:lnTo>
                <a:lnTo>
                  <a:pt x="165" y="9"/>
                </a:lnTo>
                <a:lnTo>
                  <a:pt x="165" y="29"/>
                </a:lnTo>
                <a:lnTo>
                  <a:pt x="175" y="39"/>
                </a:lnTo>
                <a:lnTo>
                  <a:pt x="195" y="87"/>
                </a:lnTo>
                <a:lnTo>
                  <a:pt x="224" y="107"/>
                </a:lnTo>
                <a:lnTo>
                  <a:pt x="243" y="126"/>
                </a:lnTo>
                <a:lnTo>
                  <a:pt x="282" y="136"/>
                </a:lnTo>
                <a:lnTo>
                  <a:pt x="302" y="126"/>
                </a:lnTo>
                <a:lnTo>
                  <a:pt x="312" y="136"/>
                </a:lnTo>
                <a:lnTo>
                  <a:pt x="312" y="156"/>
                </a:lnTo>
                <a:lnTo>
                  <a:pt x="312" y="175"/>
                </a:lnTo>
                <a:lnTo>
                  <a:pt x="321" y="185"/>
                </a:lnTo>
                <a:lnTo>
                  <a:pt x="331" y="195"/>
                </a:lnTo>
                <a:lnTo>
                  <a:pt x="331" y="204"/>
                </a:lnTo>
                <a:lnTo>
                  <a:pt x="321" y="214"/>
                </a:lnTo>
                <a:lnTo>
                  <a:pt x="292" y="234"/>
                </a:lnTo>
                <a:lnTo>
                  <a:pt x="273" y="243"/>
                </a:lnTo>
                <a:lnTo>
                  <a:pt x="253" y="253"/>
                </a:lnTo>
                <a:lnTo>
                  <a:pt x="234" y="253"/>
                </a:lnTo>
                <a:lnTo>
                  <a:pt x="214" y="243"/>
                </a:lnTo>
                <a:lnTo>
                  <a:pt x="195" y="253"/>
                </a:lnTo>
                <a:lnTo>
                  <a:pt x="175" y="243"/>
                </a:lnTo>
                <a:lnTo>
                  <a:pt x="165" y="243"/>
                </a:lnTo>
                <a:lnTo>
                  <a:pt x="156" y="243"/>
                </a:lnTo>
                <a:lnTo>
                  <a:pt x="156" y="234"/>
                </a:lnTo>
                <a:lnTo>
                  <a:pt x="146" y="214"/>
                </a:lnTo>
                <a:close/>
              </a:path>
            </a:pathLst>
          </a:custGeom>
          <a:solidFill>
            <a:srgbClr val="CCECFF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0" name="Freeform 147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2644775" y="3563938"/>
            <a:ext cx="195263" cy="239712"/>
          </a:xfrm>
          <a:custGeom>
            <a:avLst/>
            <a:gdLst/>
            <a:ahLst/>
            <a:cxnLst>
              <a:cxn ang="0">
                <a:pos x="107" y="352"/>
              </a:cxn>
              <a:cxn ang="0">
                <a:pos x="78" y="371"/>
              </a:cxn>
              <a:cxn ang="0">
                <a:pos x="48" y="361"/>
              </a:cxn>
              <a:cxn ang="0">
                <a:pos x="29" y="352"/>
              </a:cxn>
              <a:cxn ang="0">
                <a:pos x="39" y="322"/>
              </a:cxn>
              <a:cxn ang="0">
                <a:pos x="19" y="293"/>
              </a:cxn>
              <a:cxn ang="0">
                <a:pos x="0" y="273"/>
              </a:cxn>
              <a:cxn ang="0">
                <a:pos x="19" y="254"/>
              </a:cxn>
              <a:cxn ang="0">
                <a:pos x="9" y="234"/>
              </a:cxn>
              <a:cxn ang="0">
                <a:pos x="0" y="215"/>
              </a:cxn>
              <a:cxn ang="0">
                <a:pos x="0" y="195"/>
              </a:cxn>
              <a:cxn ang="0">
                <a:pos x="0" y="176"/>
              </a:cxn>
              <a:cxn ang="0">
                <a:pos x="29" y="166"/>
              </a:cxn>
              <a:cxn ang="0">
                <a:pos x="39" y="147"/>
              </a:cxn>
              <a:cxn ang="0">
                <a:pos x="58" y="127"/>
              </a:cxn>
              <a:cxn ang="0">
                <a:pos x="58" y="108"/>
              </a:cxn>
              <a:cxn ang="0">
                <a:pos x="78" y="98"/>
              </a:cxn>
              <a:cxn ang="0">
                <a:pos x="107" y="88"/>
              </a:cxn>
              <a:cxn ang="0">
                <a:pos x="126" y="59"/>
              </a:cxn>
              <a:cxn ang="0">
                <a:pos x="146" y="49"/>
              </a:cxn>
              <a:cxn ang="0">
                <a:pos x="185" y="49"/>
              </a:cxn>
              <a:cxn ang="0">
                <a:pos x="195" y="39"/>
              </a:cxn>
              <a:cxn ang="0">
                <a:pos x="224" y="30"/>
              </a:cxn>
              <a:cxn ang="0">
                <a:pos x="253" y="10"/>
              </a:cxn>
              <a:cxn ang="0">
                <a:pos x="283" y="0"/>
              </a:cxn>
              <a:cxn ang="0">
                <a:pos x="292" y="10"/>
              </a:cxn>
              <a:cxn ang="0">
                <a:pos x="292" y="30"/>
              </a:cxn>
              <a:cxn ang="0">
                <a:pos x="292" y="69"/>
              </a:cxn>
              <a:cxn ang="0">
                <a:pos x="283" y="98"/>
              </a:cxn>
              <a:cxn ang="0">
                <a:pos x="283" y="117"/>
              </a:cxn>
              <a:cxn ang="0">
                <a:pos x="263" y="127"/>
              </a:cxn>
              <a:cxn ang="0">
                <a:pos x="243" y="127"/>
              </a:cxn>
              <a:cxn ang="0">
                <a:pos x="253" y="176"/>
              </a:cxn>
              <a:cxn ang="0">
                <a:pos x="224" y="215"/>
              </a:cxn>
              <a:cxn ang="0">
                <a:pos x="195" y="215"/>
              </a:cxn>
              <a:cxn ang="0">
                <a:pos x="185" y="244"/>
              </a:cxn>
              <a:cxn ang="0">
                <a:pos x="165" y="264"/>
              </a:cxn>
              <a:cxn ang="0">
                <a:pos x="156" y="283"/>
              </a:cxn>
              <a:cxn ang="0">
                <a:pos x="136" y="293"/>
              </a:cxn>
              <a:cxn ang="0">
                <a:pos x="136" y="313"/>
              </a:cxn>
              <a:cxn ang="0">
                <a:pos x="117" y="332"/>
              </a:cxn>
            </a:cxnLst>
            <a:rect l="0" t="0" r="r" b="b"/>
            <a:pathLst>
              <a:path w="292" h="381">
                <a:moveTo>
                  <a:pt x="117" y="332"/>
                </a:moveTo>
                <a:lnTo>
                  <a:pt x="107" y="352"/>
                </a:lnTo>
                <a:lnTo>
                  <a:pt x="97" y="361"/>
                </a:lnTo>
                <a:lnTo>
                  <a:pt x="78" y="371"/>
                </a:lnTo>
                <a:lnTo>
                  <a:pt x="48" y="381"/>
                </a:lnTo>
                <a:lnTo>
                  <a:pt x="48" y="361"/>
                </a:lnTo>
                <a:lnTo>
                  <a:pt x="39" y="352"/>
                </a:lnTo>
                <a:lnTo>
                  <a:pt x="29" y="352"/>
                </a:lnTo>
                <a:lnTo>
                  <a:pt x="29" y="342"/>
                </a:lnTo>
                <a:lnTo>
                  <a:pt x="39" y="322"/>
                </a:lnTo>
                <a:lnTo>
                  <a:pt x="39" y="303"/>
                </a:lnTo>
                <a:lnTo>
                  <a:pt x="19" y="293"/>
                </a:lnTo>
                <a:lnTo>
                  <a:pt x="9" y="283"/>
                </a:lnTo>
                <a:lnTo>
                  <a:pt x="0" y="273"/>
                </a:lnTo>
                <a:lnTo>
                  <a:pt x="9" y="264"/>
                </a:lnTo>
                <a:lnTo>
                  <a:pt x="19" y="254"/>
                </a:lnTo>
                <a:lnTo>
                  <a:pt x="19" y="244"/>
                </a:lnTo>
                <a:lnTo>
                  <a:pt x="9" y="234"/>
                </a:lnTo>
                <a:lnTo>
                  <a:pt x="0" y="225"/>
                </a:lnTo>
                <a:lnTo>
                  <a:pt x="0" y="215"/>
                </a:lnTo>
                <a:lnTo>
                  <a:pt x="9" y="195"/>
                </a:lnTo>
                <a:lnTo>
                  <a:pt x="0" y="195"/>
                </a:lnTo>
                <a:lnTo>
                  <a:pt x="0" y="186"/>
                </a:lnTo>
                <a:lnTo>
                  <a:pt x="0" y="176"/>
                </a:lnTo>
                <a:lnTo>
                  <a:pt x="9" y="166"/>
                </a:lnTo>
                <a:lnTo>
                  <a:pt x="29" y="166"/>
                </a:lnTo>
                <a:lnTo>
                  <a:pt x="39" y="156"/>
                </a:lnTo>
                <a:lnTo>
                  <a:pt x="39" y="147"/>
                </a:lnTo>
                <a:lnTo>
                  <a:pt x="48" y="137"/>
                </a:lnTo>
                <a:lnTo>
                  <a:pt x="58" y="127"/>
                </a:lnTo>
                <a:lnTo>
                  <a:pt x="58" y="117"/>
                </a:lnTo>
                <a:lnTo>
                  <a:pt x="58" y="108"/>
                </a:lnTo>
                <a:lnTo>
                  <a:pt x="68" y="98"/>
                </a:lnTo>
                <a:lnTo>
                  <a:pt x="78" y="98"/>
                </a:lnTo>
                <a:lnTo>
                  <a:pt x="97" y="98"/>
                </a:lnTo>
                <a:lnTo>
                  <a:pt x="107" y="88"/>
                </a:lnTo>
                <a:lnTo>
                  <a:pt x="117" y="69"/>
                </a:lnTo>
                <a:lnTo>
                  <a:pt x="126" y="59"/>
                </a:lnTo>
                <a:lnTo>
                  <a:pt x="136" y="49"/>
                </a:lnTo>
                <a:lnTo>
                  <a:pt x="146" y="49"/>
                </a:lnTo>
                <a:lnTo>
                  <a:pt x="165" y="59"/>
                </a:lnTo>
                <a:lnTo>
                  <a:pt x="185" y="49"/>
                </a:lnTo>
                <a:lnTo>
                  <a:pt x="195" y="39"/>
                </a:lnTo>
                <a:lnTo>
                  <a:pt x="204" y="30"/>
                </a:lnTo>
                <a:lnTo>
                  <a:pt x="224" y="30"/>
                </a:lnTo>
                <a:lnTo>
                  <a:pt x="234" y="20"/>
                </a:lnTo>
                <a:lnTo>
                  <a:pt x="253" y="10"/>
                </a:lnTo>
                <a:lnTo>
                  <a:pt x="273" y="10"/>
                </a:lnTo>
                <a:lnTo>
                  <a:pt x="283" y="0"/>
                </a:lnTo>
                <a:lnTo>
                  <a:pt x="292" y="10"/>
                </a:lnTo>
                <a:lnTo>
                  <a:pt x="283" y="30"/>
                </a:lnTo>
                <a:lnTo>
                  <a:pt x="292" y="30"/>
                </a:lnTo>
                <a:lnTo>
                  <a:pt x="292" y="49"/>
                </a:lnTo>
                <a:lnTo>
                  <a:pt x="292" y="69"/>
                </a:lnTo>
                <a:lnTo>
                  <a:pt x="283" y="78"/>
                </a:lnTo>
                <a:lnTo>
                  <a:pt x="283" y="98"/>
                </a:lnTo>
                <a:lnTo>
                  <a:pt x="283" y="108"/>
                </a:lnTo>
                <a:lnTo>
                  <a:pt x="283" y="117"/>
                </a:lnTo>
                <a:lnTo>
                  <a:pt x="283" y="127"/>
                </a:lnTo>
                <a:lnTo>
                  <a:pt x="263" y="127"/>
                </a:lnTo>
                <a:lnTo>
                  <a:pt x="263" y="117"/>
                </a:lnTo>
                <a:lnTo>
                  <a:pt x="243" y="127"/>
                </a:lnTo>
                <a:lnTo>
                  <a:pt x="243" y="166"/>
                </a:lnTo>
                <a:lnTo>
                  <a:pt x="253" y="176"/>
                </a:lnTo>
                <a:lnTo>
                  <a:pt x="224" y="195"/>
                </a:lnTo>
                <a:lnTo>
                  <a:pt x="224" y="215"/>
                </a:lnTo>
                <a:lnTo>
                  <a:pt x="195" y="215"/>
                </a:lnTo>
                <a:lnTo>
                  <a:pt x="204" y="234"/>
                </a:lnTo>
                <a:lnTo>
                  <a:pt x="185" y="244"/>
                </a:lnTo>
                <a:lnTo>
                  <a:pt x="165" y="254"/>
                </a:lnTo>
                <a:lnTo>
                  <a:pt x="165" y="264"/>
                </a:lnTo>
                <a:lnTo>
                  <a:pt x="175" y="283"/>
                </a:lnTo>
                <a:lnTo>
                  <a:pt x="156" y="283"/>
                </a:lnTo>
                <a:lnTo>
                  <a:pt x="146" y="283"/>
                </a:lnTo>
                <a:lnTo>
                  <a:pt x="136" y="293"/>
                </a:lnTo>
                <a:lnTo>
                  <a:pt x="136" y="303"/>
                </a:lnTo>
                <a:lnTo>
                  <a:pt x="136" y="313"/>
                </a:lnTo>
                <a:lnTo>
                  <a:pt x="126" y="322"/>
                </a:lnTo>
                <a:lnTo>
                  <a:pt x="117" y="33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en-US" sz="1100">
              <a:latin typeface="Polo" pitchFamily="2" charset="0"/>
              <a:cs typeface="+mn-cs"/>
            </a:endParaRPr>
          </a:p>
        </p:txBody>
      </p:sp>
      <p:sp>
        <p:nvSpPr>
          <p:cNvPr id="18439" name="Rectangle 211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592513" y="5248275"/>
            <a:ext cx="1071562" cy="207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/>
            <a:endParaRPr lang="en-US" sz="1100"/>
          </a:p>
        </p:txBody>
      </p:sp>
      <p:sp>
        <p:nvSpPr>
          <p:cNvPr id="18440" name="Rectangle 17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592513" y="5248275"/>
            <a:ext cx="1071562" cy="207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/>
            <a:endParaRPr lang="en-US" sz="1100"/>
          </a:p>
        </p:txBody>
      </p:sp>
      <p:sp>
        <p:nvSpPr>
          <p:cNvPr id="18441" name="Freeform 243"/>
          <p:cNvSpPr>
            <a:spLocks noChangeAspect="1"/>
          </p:cNvSpPr>
          <p:nvPr>
            <p:custDataLst>
              <p:tags r:id="rId7"/>
            </p:custDataLst>
          </p:nvPr>
        </p:nvSpPr>
        <p:spPr bwMode="auto">
          <a:xfrm>
            <a:off x="7415213" y="3200400"/>
            <a:ext cx="12700" cy="14288"/>
          </a:xfrm>
          <a:custGeom>
            <a:avLst/>
            <a:gdLst>
              <a:gd name="T0" fmla="*/ 0 w 20"/>
              <a:gd name="T1" fmla="*/ 0 h 20"/>
              <a:gd name="T2" fmla="*/ 6350 w 20"/>
              <a:gd name="T3" fmla="*/ 0 h 20"/>
              <a:gd name="T4" fmla="*/ 12700 w 20"/>
              <a:gd name="T5" fmla="*/ 0 h 20"/>
              <a:gd name="T6" fmla="*/ 12700 w 20"/>
              <a:gd name="T7" fmla="*/ 14287 h 20"/>
              <a:gd name="T8" fmla="*/ 12700 w 20"/>
              <a:gd name="T9" fmla="*/ 14287 h 20"/>
              <a:gd name="T10" fmla="*/ 0 w 20"/>
              <a:gd name="T11" fmla="*/ 14287 h 20"/>
              <a:gd name="T12" fmla="*/ 0 w 20"/>
              <a:gd name="T13" fmla="*/ 7144 h 20"/>
              <a:gd name="T14" fmla="*/ 0 w 20"/>
              <a:gd name="T15" fmla="*/ 0 h 2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0"/>
              <a:gd name="T25" fmla="*/ 0 h 20"/>
              <a:gd name="T26" fmla="*/ 20 w 20"/>
              <a:gd name="T27" fmla="*/ 20 h 2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0" h="20">
                <a:moveTo>
                  <a:pt x="0" y="0"/>
                </a:moveTo>
                <a:lnTo>
                  <a:pt x="10" y="0"/>
                </a:lnTo>
                <a:lnTo>
                  <a:pt x="20" y="0"/>
                </a:lnTo>
                <a:lnTo>
                  <a:pt x="20" y="20"/>
                </a:lnTo>
                <a:lnTo>
                  <a:pt x="0" y="20"/>
                </a:lnTo>
                <a:lnTo>
                  <a:pt x="0" y="10"/>
                </a:lnTo>
                <a:lnTo>
                  <a:pt x="0" y="0"/>
                </a:lnTo>
                <a:close/>
              </a:path>
            </a:pathLst>
          </a:custGeom>
          <a:solidFill>
            <a:srgbClr val="CCECFF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grpSp>
        <p:nvGrpSpPr>
          <p:cNvPr id="18442" name="Group 240"/>
          <p:cNvGrpSpPr>
            <a:grpSpLocks noChangeAspect="1"/>
          </p:cNvGrpSpPr>
          <p:nvPr>
            <p:custDataLst>
              <p:tags r:id="rId8"/>
            </p:custDataLst>
          </p:nvPr>
        </p:nvGrpSpPr>
        <p:grpSpPr bwMode="auto">
          <a:xfrm>
            <a:off x="7415213" y="3200400"/>
            <a:ext cx="12700" cy="14288"/>
            <a:chOff x="8613" y="156"/>
            <a:chExt cx="20" cy="20"/>
          </a:xfrm>
        </p:grpSpPr>
        <p:sp>
          <p:nvSpPr>
            <p:cNvPr id="18810" name="Freeform 242"/>
            <p:cNvSpPr>
              <a:spLocks noChangeAspect="1"/>
            </p:cNvSpPr>
            <p:nvPr/>
          </p:nvSpPr>
          <p:spPr bwMode="auto">
            <a:xfrm>
              <a:off x="8613" y="156"/>
              <a:ext cx="20" cy="20"/>
            </a:xfrm>
            <a:custGeom>
              <a:avLst/>
              <a:gdLst>
                <a:gd name="T0" fmla="*/ 0 w 20"/>
                <a:gd name="T1" fmla="*/ 0 h 20"/>
                <a:gd name="T2" fmla="*/ 10 w 20"/>
                <a:gd name="T3" fmla="*/ 0 h 20"/>
                <a:gd name="T4" fmla="*/ 20 w 20"/>
                <a:gd name="T5" fmla="*/ 0 h 20"/>
                <a:gd name="T6" fmla="*/ 20 w 20"/>
                <a:gd name="T7" fmla="*/ 20 h 20"/>
                <a:gd name="T8" fmla="*/ 20 w 20"/>
                <a:gd name="T9" fmla="*/ 20 h 20"/>
                <a:gd name="T10" fmla="*/ 0 w 20"/>
                <a:gd name="T11" fmla="*/ 20 h 20"/>
                <a:gd name="T12" fmla="*/ 0 w 20"/>
                <a:gd name="T13" fmla="*/ 10 h 20"/>
                <a:gd name="T14" fmla="*/ 0 w 20"/>
                <a:gd name="T15" fmla="*/ 0 h 2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0"/>
                <a:gd name="T25" fmla="*/ 0 h 20"/>
                <a:gd name="T26" fmla="*/ 20 w 20"/>
                <a:gd name="T27" fmla="*/ 20 h 2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0" h="20">
                  <a:moveTo>
                    <a:pt x="0" y="0"/>
                  </a:moveTo>
                  <a:lnTo>
                    <a:pt x="10" y="0"/>
                  </a:lnTo>
                  <a:lnTo>
                    <a:pt x="20" y="0"/>
                  </a:lnTo>
                  <a:lnTo>
                    <a:pt x="20" y="20"/>
                  </a:lnTo>
                  <a:lnTo>
                    <a:pt x="0" y="20"/>
                  </a:lnTo>
                  <a:lnTo>
                    <a:pt x="0" y="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EC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8811" name="Freeform 241"/>
            <p:cNvSpPr>
              <a:spLocks noChangeAspect="1"/>
            </p:cNvSpPr>
            <p:nvPr/>
          </p:nvSpPr>
          <p:spPr bwMode="auto">
            <a:xfrm>
              <a:off x="8613" y="156"/>
              <a:ext cx="20" cy="20"/>
            </a:xfrm>
            <a:custGeom>
              <a:avLst/>
              <a:gdLst>
                <a:gd name="T0" fmla="*/ 0 w 20"/>
                <a:gd name="T1" fmla="*/ 0 h 20"/>
                <a:gd name="T2" fmla="*/ 10 w 20"/>
                <a:gd name="T3" fmla="*/ 0 h 20"/>
                <a:gd name="T4" fmla="*/ 20 w 20"/>
                <a:gd name="T5" fmla="*/ 0 h 20"/>
                <a:gd name="T6" fmla="*/ 20 w 20"/>
                <a:gd name="T7" fmla="*/ 20 h 20"/>
                <a:gd name="T8" fmla="*/ 20 w 20"/>
                <a:gd name="T9" fmla="*/ 20 h 20"/>
                <a:gd name="T10" fmla="*/ 0 w 20"/>
                <a:gd name="T11" fmla="*/ 20 h 20"/>
                <a:gd name="T12" fmla="*/ 0 w 20"/>
                <a:gd name="T13" fmla="*/ 10 h 20"/>
                <a:gd name="T14" fmla="*/ 0 w 20"/>
                <a:gd name="T15" fmla="*/ 0 h 2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0"/>
                <a:gd name="T25" fmla="*/ 0 h 20"/>
                <a:gd name="T26" fmla="*/ 20 w 20"/>
                <a:gd name="T27" fmla="*/ 20 h 2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0" h="20">
                  <a:moveTo>
                    <a:pt x="0" y="0"/>
                  </a:moveTo>
                  <a:lnTo>
                    <a:pt x="10" y="0"/>
                  </a:lnTo>
                  <a:lnTo>
                    <a:pt x="20" y="0"/>
                  </a:lnTo>
                  <a:lnTo>
                    <a:pt x="20" y="20"/>
                  </a:lnTo>
                  <a:lnTo>
                    <a:pt x="0" y="20"/>
                  </a:lnTo>
                  <a:lnTo>
                    <a:pt x="0" y="10"/>
                  </a:ln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18443" name="Rectangle 216"/>
          <p:cNvSpPr>
            <a:spLocks noChangeAspect="1" noChangeArrowheads="1"/>
          </p:cNvSpPr>
          <p:nvPr>
            <p:custDataLst>
              <p:tags r:id="rId9"/>
            </p:custDataLst>
          </p:nvPr>
        </p:nvSpPr>
        <p:spPr bwMode="auto">
          <a:xfrm>
            <a:off x="2568575" y="3076575"/>
            <a:ext cx="12255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/>
            <a:endParaRPr lang="en-US" sz="1100"/>
          </a:p>
        </p:txBody>
      </p:sp>
      <p:sp>
        <p:nvSpPr>
          <p:cNvPr id="18444" name="Freeform 48"/>
          <p:cNvSpPr>
            <a:spLocks noChangeAspect="1"/>
          </p:cNvSpPr>
          <p:nvPr>
            <p:custDataLst>
              <p:tags r:id="rId10"/>
            </p:custDataLst>
          </p:nvPr>
        </p:nvSpPr>
        <p:spPr bwMode="auto">
          <a:xfrm>
            <a:off x="7415213" y="3200400"/>
            <a:ext cx="12700" cy="14288"/>
          </a:xfrm>
          <a:custGeom>
            <a:avLst/>
            <a:gdLst>
              <a:gd name="T0" fmla="*/ 0 w 20"/>
              <a:gd name="T1" fmla="*/ 0 h 20"/>
              <a:gd name="T2" fmla="*/ 6350 w 20"/>
              <a:gd name="T3" fmla="*/ 0 h 20"/>
              <a:gd name="T4" fmla="*/ 12700 w 20"/>
              <a:gd name="T5" fmla="*/ 0 h 20"/>
              <a:gd name="T6" fmla="*/ 12700 w 20"/>
              <a:gd name="T7" fmla="*/ 14287 h 20"/>
              <a:gd name="T8" fmla="*/ 12700 w 20"/>
              <a:gd name="T9" fmla="*/ 14287 h 20"/>
              <a:gd name="T10" fmla="*/ 0 w 20"/>
              <a:gd name="T11" fmla="*/ 14287 h 20"/>
              <a:gd name="T12" fmla="*/ 0 w 20"/>
              <a:gd name="T13" fmla="*/ 7144 h 20"/>
              <a:gd name="T14" fmla="*/ 0 w 20"/>
              <a:gd name="T15" fmla="*/ 0 h 2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0"/>
              <a:gd name="T25" fmla="*/ 0 h 20"/>
              <a:gd name="T26" fmla="*/ 20 w 20"/>
              <a:gd name="T27" fmla="*/ 20 h 2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0" h="20">
                <a:moveTo>
                  <a:pt x="0" y="0"/>
                </a:moveTo>
                <a:lnTo>
                  <a:pt x="10" y="0"/>
                </a:lnTo>
                <a:lnTo>
                  <a:pt x="20" y="0"/>
                </a:lnTo>
                <a:lnTo>
                  <a:pt x="20" y="20"/>
                </a:lnTo>
                <a:lnTo>
                  <a:pt x="0" y="20"/>
                </a:lnTo>
                <a:lnTo>
                  <a:pt x="0" y="10"/>
                </a:lnTo>
                <a:lnTo>
                  <a:pt x="0" y="0"/>
                </a:lnTo>
                <a:close/>
              </a:path>
            </a:pathLst>
          </a:custGeom>
          <a:solidFill>
            <a:srgbClr val="CCECFF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grpSp>
        <p:nvGrpSpPr>
          <p:cNvPr id="18445" name="Group 45"/>
          <p:cNvGrpSpPr>
            <a:grpSpLocks noChangeAspect="1"/>
          </p:cNvGrpSpPr>
          <p:nvPr>
            <p:custDataLst>
              <p:tags r:id="rId11"/>
            </p:custDataLst>
          </p:nvPr>
        </p:nvGrpSpPr>
        <p:grpSpPr bwMode="auto">
          <a:xfrm>
            <a:off x="7415213" y="3200400"/>
            <a:ext cx="12700" cy="14288"/>
            <a:chOff x="8613" y="156"/>
            <a:chExt cx="20" cy="20"/>
          </a:xfrm>
        </p:grpSpPr>
        <p:sp>
          <p:nvSpPr>
            <p:cNvPr id="18808" name="Freeform 47"/>
            <p:cNvSpPr>
              <a:spLocks noChangeAspect="1"/>
            </p:cNvSpPr>
            <p:nvPr/>
          </p:nvSpPr>
          <p:spPr bwMode="auto">
            <a:xfrm>
              <a:off x="8613" y="156"/>
              <a:ext cx="20" cy="20"/>
            </a:xfrm>
            <a:custGeom>
              <a:avLst/>
              <a:gdLst>
                <a:gd name="T0" fmla="*/ 0 w 20"/>
                <a:gd name="T1" fmla="*/ 0 h 20"/>
                <a:gd name="T2" fmla="*/ 10 w 20"/>
                <a:gd name="T3" fmla="*/ 0 h 20"/>
                <a:gd name="T4" fmla="*/ 20 w 20"/>
                <a:gd name="T5" fmla="*/ 0 h 20"/>
                <a:gd name="T6" fmla="*/ 20 w 20"/>
                <a:gd name="T7" fmla="*/ 20 h 20"/>
                <a:gd name="T8" fmla="*/ 20 w 20"/>
                <a:gd name="T9" fmla="*/ 20 h 20"/>
                <a:gd name="T10" fmla="*/ 0 w 20"/>
                <a:gd name="T11" fmla="*/ 20 h 20"/>
                <a:gd name="T12" fmla="*/ 0 w 20"/>
                <a:gd name="T13" fmla="*/ 10 h 20"/>
                <a:gd name="T14" fmla="*/ 0 w 20"/>
                <a:gd name="T15" fmla="*/ 0 h 2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0"/>
                <a:gd name="T25" fmla="*/ 0 h 20"/>
                <a:gd name="T26" fmla="*/ 20 w 20"/>
                <a:gd name="T27" fmla="*/ 20 h 2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0" h="20">
                  <a:moveTo>
                    <a:pt x="0" y="0"/>
                  </a:moveTo>
                  <a:lnTo>
                    <a:pt x="10" y="0"/>
                  </a:lnTo>
                  <a:lnTo>
                    <a:pt x="20" y="0"/>
                  </a:lnTo>
                  <a:lnTo>
                    <a:pt x="20" y="20"/>
                  </a:lnTo>
                  <a:lnTo>
                    <a:pt x="0" y="20"/>
                  </a:lnTo>
                  <a:lnTo>
                    <a:pt x="0" y="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EC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8809" name="Freeform 46"/>
            <p:cNvSpPr>
              <a:spLocks noChangeAspect="1"/>
            </p:cNvSpPr>
            <p:nvPr/>
          </p:nvSpPr>
          <p:spPr bwMode="auto">
            <a:xfrm>
              <a:off x="8613" y="156"/>
              <a:ext cx="20" cy="20"/>
            </a:xfrm>
            <a:custGeom>
              <a:avLst/>
              <a:gdLst>
                <a:gd name="T0" fmla="*/ 0 w 20"/>
                <a:gd name="T1" fmla="*/ 0 h 20"/>
                <a:gd name="T2" fmla="*/ 10 w 20"/>
                <a:gd name="T3" fmla="*/ 0 h 20"/>
                <a:gd name="T4" fmla="*/ 20 w 20"/>
                <a:gd name="T5" fmla="*/ 0 h 20"/>
                <a:gd name="T6" fmla="*/ 20 w 20"/>
                <a:gd name="T7" fmla="*/ 20 h 20"/>
                <a:gd name="T8" fmla="*/ 20 w 20"/>
                <a:gd name="T9" fmla="*/ 20 h 20"/>
                <a:gd name="T10" fmla="*/ 0 w 20"/>
                <a:gd name="T11" fmla="*/ 20 h 20"/>
                <a:gd name="T12" fmla="*/ 0 w 20"/>
                <a:gd name="T13" fmla="*/ 10 h 20"/>
                <a:gd name="T14" fmla="*/ 0 w 20"/>
                <a:gd name="T15" fmla="*/ 0 h 2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0"/>
                <a:gd name="T25" fmla="*/ 0 h 20"/>
                <a:gd name="T26" fmla="*/ 20 w 20"/>
                <a:gd name="T27" fmla="*/ 20 h 2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0" h="20">
                  <a:moveTo>
                    <a:pt x="0" y="0"/>
                  </a:moveTo>
                  <a:lnTo>
                    <a:pt x="10" y="0"/>
                  </a:lnTo>
                  <a:lnTo>
                    <a:pt x="20" y="0"/>
                  </a:lnTo>
                  <a:lnTo>
                    <a:pt x="20" y="20"/>
                  </a:lnTo>
                  <a:lnTo>
                    <a:pt x="0" y="20"/>
                  </a:lnTo>
                  <a:lnTo>
                    <a:pt x="0" y="10"/>
                  </a:ln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18446" name="Rectangle 21"/>
          <p:cNvSpPr>
            <a:spLocks noChangeAspect="1" noChangeArrowheads="1"/>
          </p:cNvSpPr>
          <p:nvPr>
            <p:custDataLst>
              <p:tags r:id="rId12"/>
            </p:custDataLst>
          </p:nvPr>
        </p:nvSpPr>
        <p:spPr bwMode="auto">
          <a:xfrm>
            <a:off x="2568575" y="3076575"/>
            <a:ext cx="12255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/>
            <a:endParaRPr lang="en-US" sz="1100"/>
          </a:p>
        </p:txBody>
      </p:sp>
      <p:cxnSp>
        <p:nvCxnSpPr>
          <p:cNvPr id="18447" name="AutoShape 22"/>
          <p:cNvCxnSpPr>
            <a:cxnSpLocks noChangeAspect="1" noChangeShapeType="1"/>
          </p:cNvCxnSpPr>
          <p:nvPr>
            <p:custDataLst>
              <p:tags r:id="rId13"/>
            </p:custDataLst>
          </p:nvPr>
        </p:nvCxnSpPr>
        <p:spPr bwMode="gray">
          <a:xfrm flipV="1">
            <a:off x="3660775" y="3686175"/>
            <a:ext cx="822325" cy="661988"/>
          </a:xfrm>
          <a:prstGeom prst="straightConnector1">
            <a:avLst/>
          </a:prstGeom>
          <a:noFill/>
          <a:ln w="12700">
            <a:solidFill>
              <a:schemeClr val="tx1"/>
            </a:solidFill>
            <a:round/>
            <a:headEnd/>
            <a:tailEnd type="none" w="med" len="lg"/>
          </a:ln>
        </p:spPr>
      </p:cxnSp>
      <p:sp>
        <p:nvSpPr>
          <p:cNvPr id="18448" name="Freeform 397"/>
          <p:cNvSpPr>
            <a:spLocks noChangeAspect="1"/>
          </p:cNvSpPr>
          <p:nvPr>
            <p:custDataLst>
              <p:tags r:id="rId14"/>
            </p:custDataLst>
          </p:nvPr>
        </p:nvSpPr>
        <p:spPr bwMode="auto">
          <a:xfrm>
            <a:off x="2487613" y="4335463"/>
            <a:ext cx="333375" cy="279400"/>
          </a:xfrm>
          <a:custGeom>
            <a:avLst/>
            <a:gdLst>
              <a:gd name="T0" fmla="*/ 124093 w 497"/>
              <a:gd name="T1" fmla="*/ 24269 h 449"/>
              <a:gd name="T2" fmla="*/ 136838 w 497"/>
              <a:gd name="T3" fmla="*/ 12445 h 449"/>
              <a:gd name="T4" fmla="*/ 143546 w 497"/>
              <a:gd name="T5" fmla="*/ 6223 h 449"/>
              <a:gd name="T6" fmla="*/ 162998 w 497"/>
              <a:gd name="T7" fmla="*/ 0 h 449"/>
              <a:gd name="T8" fmla="*/ 189158 w 497"/>
              <a:gd name="T9" fmla="*/ 6223 h 449"/>
              <a:gd name="T10" fmla="*/ 228734 w 497"/>
              <a:gd name="T11" fmla="*/ 36714 h 449"/>
              <a:gd name="T12" fmla="*/ 235442 w 497"/>
              <a:gd name="T13" fmla="*/ 54760 h 449"/>
              <a:gd name="T14" fmla="*/ 248187 w 497"/>
              <a:gd name="T15" fmla="*/ 67205 h 449"/>
              <a:gd name="T16" fmla="*/ 254894 w 497"/>
              <a:gd name="T17" fmla="*/ 72806 h 449"/>
              <a:gd name="T18" fmla="*/ 261602 w 497"/>
              <a:gd name="T19" fmla="*/ 85251 h 449"/>
              <a:gd name="T20" fmla="*/ 293799 w 497"/>
              <a:gd name="T21" fmla="*/ 97697 h 449"/>
              <a:gd name="T22" fmla="*/ 281055 w 497"/>
              <a:gd name="T23" fmla="*/ 133788 h 449"/>
              <a:gd name="T24" fmla="*/ 267639 w 497"/>
              <a:gd name="T25" fmla="*/ 151834 h 449"/>
              <a:gd name="T26" fmla="*/ 287762 w 497"/>
              <a:gd name="T27" fmla="*/ 158057 h 449"/>
              <a:gd name="T28" fmla="*/ 293799 w 497"/>
              <a:gd name="T29" fmla="*/ 170502 h 449"/>
              <a:gd name="T30" fmla="*/ 300507 w 497"/>
              <a:gd name="T31" fmla="*/ 188548 h 449"/>
              <a:gd name="T32" fmla="*/ 313923 w 497"/>
              <a:gd name="T33" fmla="*/ 182326 h 449"/>
              <a:gd name="T34" fmla="*/ 313923 w 497"/>
              <a:gd name="T35" fmla="*/ 206594 h 449"/>
              <a:gd name="T36" fmla="*/ 326667 w 497"/>
              <a:gd name="T37" fmla="*/ 212817 h 449"/>
              <a:gd name="T38" fmla="*/ 333375 w 497"/>
              <a:gd name="T39" fmla="*/ 224640 h 449"/>
              <a:gd name="T40" fmla="*/ 319960 w 497"/>
              <a:gd name="T41" fmla="*/ 237086 h 449"/>
              <a:gd name="T42" fmla="*/ 287762 w 497"/>
              <a:gd name="T43" fmla="*/ 237086 h 449"/>
              <a:gd name="T44" fmla="*/ 254894 w 497"/>
              <a:gd name="T45" fmla="*/ 255131 h 449"/>
              <a:gd name="T46" fmla="*/ 254894 w 497"/>
              <a:gd name="T47" fmla="*/ 273177 h 449"/>
              <a:gd name="T48" fmla="*/ 215319 w 497"/>
              <a:gd name="T49" fmla="*/ 279400 h 449"/>
              <a:gd name="T50" fmla="*/ 189158 w 497"/>
              <a:gd name="T51" fmla="*/ 261354 h 449"/>
              <a:gd name="T52" fmla="*/ 162998 w 497"/>
              <a:gd name="T53" fmla="*/ 248909 h 449"/>
              <a:gd name="T54" fmla="*/ 150254 w 497"/>
              <a:gd name="T55" fmla="*/ 248909 h 449"/>
              <a:gd name="T56" fmla="*/ 136838 w 497"/>
              <a:gd name="T57" fmla="*/ 243308 h 449"/>
              <a:gd name="T58" fmla="*/ 130801 w 497"/>
              <a:gd name="T59" fmla="*/ 273177 h 449"/>
              <a:gd name="T60" fmla="*/ 110678 w 497"/>
              <a:gd name="T61" fmla="*/ 248909 h 449"/>
              <a:gd name="T62" fmla="*/ 97933 w 497"/>
              <a:gd name="T63" fmla="*/ 243308 h 449"/>
              <a:gd name="T64" fmla="*/ 84518 w 497"/>
              <a:gd name="T65" fmla="*/ 230863 h 449"/>
              <a:gd name="T66" fmla="*/ 78481 w 497"/>
              <a:gd name="T67" fmla="*/ 248909 h 449"/>
              <a:gd name="T68" fmla="*/ 58357 w 497"/>
              <a:gd name="T69" fmla="*/ 237086 h 449"/>
              <a:gd name="T70" fmla="*/ 38905 w 497"/>
              <a:gd name="T71" fmla="*/ 237086 h 449"/>
              <a:gd name="T72" fmla="*/ 32197 w 497"/>
              <a:gd name="T73" fmla="*/ 243308 h 449"/>
              <a:gd name="T74" fmla="*/ 12745 w 497"/>
              <a:gd name="T75" fmla="*/ 212817 h 449"/>
              <a:gd name="T76" fmla="*/ 12745 w 497"/>
              <a:gd name="T77" fmla="*/ 194771 h 449"/>
              <a:gd name="T78" fmla="*/ 26160 w 497"/>
              <a:gd name="T79" fmla="*/ 176103 h 449"/>
              <a:gd name="T80" fmla="*/ 12745 w 497"/>
              <a:gd name="T81" fmla="*/ 158057 h 449"/>
              <a:gd name="T82" fmla="*/ 38905 w 497"/>
              <a:gd name="T83" fmla="*/ 140011 h 449"/>
              <a:gd name="T84" fmla="*/ 71773 w 497"/>
              <a:gd name="T85" fmla="*/ 140011 h 449"/>
              <a:gd name="T86" fmla="*/ 84518 w 497"/>
              <a:gd name="T87" fmla="*/ 109520 h 449"/>
              <a:gd name="T88" fmla="*/ 91225 w 497"/>
              <a:gd name="T89" fmla="*/ 85251 h 449"/>
              <a:gd name="T90" fmla="*/ 110678 w 497"/>
              <a:gd name="T91" fmla="*/ 79029 h 449"/>
              <a:gd name="T92" fmla="*/ 110678 w 497"/>
              <a:gd name="T93" fmla="*/ 30491 h 449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497"/>
              <a:gd name="T142" fmla="*/ 0 h 449"/>
              <a:gd name="T143" fmla="*/ 497 w 497"/>
              <a:gd name="T144" fmla="*/ 449 h 449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497" h="449">
                <a:moveTo>
                  <a:pt x="165" y="49"/>
                </a:moveTo>
                <a:lnTo>
                  <a:pt x="185" y="39"/>
                </a:lnTo>
                <a:lnTo>
                  <a:pt x="195" y="39"/>
                </a:lnTo>
                <a:lnTo>
                  <a:pt x="204" y="20"/>
                </a:lnTo>
                <a:lnTo>
                  <a:pt x="214" y="20"/>
                </a:lnTo>
                <a:lnTo>
                  <a:pt x="214" y="10"/>
                </a:lnTo>
                <a:lnTo>
                  <a:pt x="214" y="0"/>
                </a:lnTo>
                <a:lnTo>
                  <a:pt x="243" y="0"/>
                </a:lnTo>
                <a:lnTo>
                  <a:pt x="273" y="10"/>
                </a:lnTo>
                <a:lnTo>
                  <a:pt x="282" y="10"/>
                </a:lnTo>
                <a:lnTo>
                  <a:pt x="312" y="49"/>
                </a:lnTo>
                <a:lnTo>
                  <a:pt x="341" y="59"/>
                </a:lnTo>
                <a:lnTo>
                  <a:pt x="351" y="69"/>
                </a:lnTo>
                <a:lnTo>
                  <a:pt x="351" y="88"/>
                </a:lnTo>
                <a:lnTo>
                  <a:pt x="360" y="108"/>
                </a:lnTo>
                <a:lnTo>
                  <a:pt x="370" y="108"/>
                </a:lnTo>
                <a:lnTo>
                  <a:pt x="390" y="108"/>
                </a:lnTo>
                <a:lnTo>
                  <a:pt x="380" y="117"/>
                </a:lnTo>
                <a:lnTo>
                  <a:pt x="380" y="127"/>
                </a:lnTo>
                <a:lnTo>
                  <a:pt x="390" y="137"/>
                </a:lnTo>
                <a:lnTo>
                  <a:pt x="409" y="127"/>
                </a:lnTo>
                <a:lnTo>
                  <a:pt x="438" y="157"/>
                </a:lnTo>
                <a:lnTo>
                  <a:pt x="448" y="176"/>
                </a:lnTo>
                <a:lnTo>
                  <a:pt x="419" y="215"/>
                </a:lnTo>
                <a:lnTo>
                  <a:pt x="390" y="235"/>
                </a:lnTo>
                <a:lnTo>
                  <a:pt x="399" y="244"/>
                </a:lnTo>
                <a:lnTo>
                  <a:pt x="419" y="264"/>
                </a:lnTo>
                <a:lnTo>
                  <a:pt x="429" y="254"/>
                </a:lnTo>
                <a:lnTo>
                  <a:pt x="448" y="264"/>
                </a:lnTo>
                <a:lnTo>
                  <a:pt x="438" y="274"/>
                </a:lnTo>
                <a:lnTo>
                  <a:pt x="429" y="283"/>
                </a:lnTo>
                <a:lnTo>
                  <a:pt x="448" y="303"/>
                </a:lnTo>
                <a:lnTo>
                  <a:pt x="458" y="293"/>
                </a:lnTo>
                <a:lnTo>
                  <a:pt x="468" y="293"/>
                </a:lnTo>
                <a:lnTo>
                  <a:pt x="477" y="303"/>
                </a:lnTo>
                <a:lnTo>
                  <a:pt x="468" y="332"/>
                </a:lnTo>
                <a:lnTo>
                  <a:pt x="487" y="332"/>
                </a:lnTo>
                <a:lnTo>
                  <a:pt x="487" y="342"/>
                </a:lnTo>
                <a:lnTo>
                  <a:pt x="487" y="352"/>
                </a:lnTo>
                <a:lnTo>
                  <a:pt x="497" y="361"/>
                </a:lnTo>
                <a:lnTo>
                  <a:pt x="487" y="371"/>
                </a:lnTo>
                <a:lnTo>
                  <a:pt x="477" y="381"/>
                </a:lnTo>
                <a:lnTo>
                  <a:pt x="458" y="381"/>
                </a:lnTo>
                <a:lnTo>
                  <a:pt x="429" y="381"/>
                </a:lnTo>
                <a:lnTo>
                  <a:pt x="399" y="391"/>
                </a:lnTo>
                <a:lnTo>
                  <a:pt x="380" y="410"/>
                </a:lnTo>
                <a:lnTo>
                  <a:pt x="380" y="420"/>
                </a:lnTo>
                <a:lnTo>
                  <a:pt x="380" y="439"/>
                </a:lnTo>
                <a:lnTo>
                  <a:pt x="360" y="449"/>
                </a:lnTo>
                <a:lnTo>
                  <a:pt x="321" y="449"/>
                </a:lnTo>
                <a:lnTo>
                  <a:pt x="312" y="439"/>
                </a:lnTo>
                <a:lnTo>
                  <a:pt x="282" y="420"/>
                </a:lnTo>
                <a:lnTo>
                  <a:pt x="263" y="420"/>
                </a:lnTo>
                <a:lnTo>
                  <a:pt x="243" y="400"/>
                </a:lnTo>
                <a:lnTo>
                  <a:pt x="224" y="400"/>
                </a:lnTo>
                <a:lnTo>
                  <a:pt x="214" y="400"/>
                </a:lnTo>
                <a:lnTo>
                  <a:pt x="204" y="391"/>
                </a:lnTo>
                <a:lnTo>
                  <a:pt x="195" y="391"/>
                </a:lnTo>
                <a:lnTo>
                  <a:pt x="195" y="439"/>
                </a:lnTo>
                <a:lnTo>
                  <a:pt x="175" y="420"/>
                </a:lnTo>
                <a:lnTo>
                  <a:pt x="165" y="400"/>
                </a:lnTo>
                <a:lnTo>
                  <a:pt x="156" y="400"/>
                </a:lnTo>
                <a:lnTo>
                  <a:pt x="146" y="391"/>
                </a:lnTo>
                <a:lnTo>
                  <a:pt x="146" y="371"/>
                </a:lnTo>
                <a:lnTo>
                  <a:pt x="126" y="371"/>
                </a:lnTo>
                <a:lnTo>
                  <a:pt x="126" y="391"/>
                </a:lnTo>
                <a:lnTo>
                  <a:pt x="117" y="400"/>
                </a:lnTo>
                <a:lnTo>
                  <a:pt x="107" y="381"/>
                </a:lnTo>
                <a:lnTo>
                  <a:pt x="87" y="381"/>
                </a:lnTo>
                <a:lnTo>
                  <a:pt x="58" y="371"/>
                </a:lnTo>
                <a:lnTo>
                  <a:pt x="58" y="381"/>
                </a:lnTo>
                <a:lnTo>
                  <a:pt x="48" y="400"/>
                </a:lnTo>
                <a:lnTo>
                  <a:pt x="48" y="391"/>
                </a:lnTo>
                <a:lnTo>
                  <a:pt x="29" y="361"/>
                </a:lnTo>
                <a:lnTo>
                  <a:pt x="19" y="342"/>
                </a:lnTo>
                <a:lnTo>
                  <a:pt x="0" y="342"/>
                </a:lnTo>
                <a:lnTo>
                  <a:pt x="19" y="313"/>
                </a:lnTo>
                <a:lnTo>
                  <a:pt x="19" y="293"/>
                </a:lnTo>
                <a:lnTo>
                  <a:pt x="39" y="283"/>
                </a:lnTo>
                <a:lnTo>
                  <a:pt x="19" y="264"/>
                </a:lnTo>
                <a:lnTo>
                  <a:pt x="19" y="254"/>
                </a:lnTo>
                <a:lnTo>
                  <a:pt x="39" y="235"/>
                </a:lnTo>
                <a:lnTo>
                  <a:pt x="58" y="225"/>
                </a:lnTo>
                <a:lnTo>
                  <a:pt x="87" y="235"/>
                </a:lnTo>
                <a:lnTo>
                  <a:pt x="107" y="225"/>
                </a:lnTo>
                <a:lnTo>
                  <a:pt x="117" y="196"/>
                </a:lnTo>
                <a:lnTo>
                  <a:pt x="126" y="176"/>
                </a:lnTo>
                <a:lnTo>
                  <a:pt x="126" y="166"/>
                </a:lnTo>
                <a:lnTo>
                  <a:pt x="136" y="137"/>
                </a:lnTo>
                <a:lnTo>
                  <a:pt x="156" y="137"/>
                </a:lnTo>
                <a:lnTo>
                  <a:pt x="165" y="127"/>
                </a:lnTo>
                <a:lnTo>
                  <a:pt x="175" y="59"/>
                </a:lnTo>
                <a:lnTo>
                  <a:pt x="165" y="49"/>
                </a:lnTo>
                <a:close/>
              </a:path>
            </a:pathLst>
          </a:custGeom>
          <a:solidFill>
            <a:srgbClr val="99C7BC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49" name="Freeform 396"/>
          <p:cNvSpPr>
            <a:spLocks noChangeAspect="1"/>
          </p:cNvSpPr>
          <p:nvPr>
            <p:custDataLst>
              <p:tags r:id="rId15"/>
            </p:custDataLst>
          </p:nvPr>
        </p:nvSpPr>
        <p:spPr bwMode="auto">
          <a:xfrm>
            <a:off x="2300288" y="4348163"/>
            <a:ext cx="304800" cy="290512"/>
          </a:xfrm>
          <a:custGeom>
            <a:avLst/>
            <a:gdLst>
              <a:gd name="T0" fmla="*/ 214292 w 458"/>
              <a:gd name="T1" fmla="*/ 242094 h 468"/>
              <a:gd name="T2" fmla="*/ 233591 w 458"/>
              <a:gd name="T3" fmla="*/ 242094 h 468"/>
              <a:gd name="T4" fmla="*/ 246236 w 458"/>
              <a:gd name="T5" fmla="*/ 254509 h 468"/>
              <a:gd name="T6" fmla="*/ 214292 w 458"/>
              <a:gd name="T7" fmla="*/ 272511 h 468"/>
              <a:gd name="T8" fmla="*/ 188337 w 458"/>
              <a:gd name="T9" fmla="*/ 272511 h 468"/>
              <a:gd name="T10" fmla="*/ 181682 w 458"/>
              <a:gd name="T11" fmla="*/ 284305 h 468"/>
              <a:gd name="T12" fmla="*/ 162383 w 458"/>
              <a:gd name="T13" fmla="*/ 290513 h 468"/>
              <a:gd name="T14" fmla="*/ 135762 w 458"/>
              <a:gd name="T15" fmla="*/ 278719 h 468"/>
              <a:gd name="T16" fmla="*/ 129773 w 458"/>
              <a:gd name="T17" fmla="*/ 254509 h 468"/>
              <a:gd name="T18" fmla="*/ 116463 w 458"/>
              <a:gd name="T19" fmla="*/ 235887 h 468"/>
              <a:gd name="T20" fmla="*/ 109808 w 458"/>
              <a:gd name="T21" fmla="*/ 211677 h 468"/>
              <a:gd name="T22" fmla="*/ 103818 w 458"/>
              <a:gd name="T23" fmla="*/ 224092 h 468"/>
              <a:gd name="T24" fmla="*/ 77864 w 458"/>
              <a:gd name="T25" fmla="*/ 217885 h 468"/>
              <a:gd name="T26" fmla="*/ 57899 w 458"/>
              <a:gd name="T27" fmla="*/ 224092 h 468"/>
              <a:gd name="T28" fmla="*/ 38599 w 458"/>
              <a:gd name="T29" fmla="*/ 193675 h 468"/>
              <a:gd name="T30" fmla="*/ 51909 w 458"/>
              <a:gd name="T31" fmla="*/ 181881 h 468"/>
              <a:gd name="T32" fmla="*/ 31944 w 458"/>
              <a:gd name="T33" fmla="*/ 163258 h 468"/>
              <a:gd name="T34" fmla="*/ 31944 w 458"/>
              <a:gd name="T35" fmla="*/ 151464 h 468"/>
              <a:gd name="T36" fmla="*/ 45254 w 458"/>
              <a:gd name="T37" fmla="*/ 133462 h 468"/>
              <a:gd name="T38" fmla="*/ 31944 w 458"/>
              <a:gd name="T39" fmla="*/ 96838 h 468"/>
              <a:gd name="T40" fmla="*/ 12645 w 458"/>
              <a:gd name="T41" fmla="*/ 103045 h 468"/>
              <a:gd name="T42" fmla="*/ 0 w 458"/>
              <a:gd name="T43" fmla="*/ 90630 h 468"/>
              <a:gd name="T44" fmla="*/ 12645 w 458"/>
              <a:gd name="T45" fmla="*/ 72628 h 468"/>
              <a:gd name="T46" fmla="*/ 38599 w 458"/>
              <a:gd name="T47" fmla="*/ 85043 h 468"/>
              <a:gd name="T48" fmla="*/ 45254 w 458"/>
              <a:gd name="T49" fmla="*/ 78836 h 468"/>
              <a:gd name="T50" fmla="*/ 45254 w 458"/>
              <a:gd name="T51" fmla="*/ 60213 h 468"/>
              <a:gd name="T52" fmla="*/ 31944 w 458"/>
              <a:gd name="T53" fmla="*/ 54626 h 468"/>
              <a:gd name="T54" fmla="*/ 19300 w 458"/>
              <a:gd name="T55" fmla="*/ 42211 h 468"/>
              <a:gd name="T56" fmla="*/ 25955 w 458"/>
              <a:gd name="T57" fmla="*/ 42211 h 468"/>
              <a:gd name="T58" fmla="*/ 38599 w 458"/>
              <a:gd name="T59" fmla="*/ 30417 h 468"/>
              <a:gd name="T60" fmla="*/ 51909 w 458"/>
              <a:gd name="T61" fmla="*/ 24209 h 468"/>
              <a:gd name="T62" fmla="*/ 71209 w 458"/>
              <a:gd name="T63" fmla="*/ 36004 h 468"/>
              <a:gd name="T64" fmla="*/ 90508 w 458"/>
              <a:gd name="T65" fmla="*/ 48419 h 468"/>
              <a:gd name="T66" fmla="*/ 116463 w 458"/>
              <a:gd name="T67" fmla="*/ 66421 h 468"/>
              <a:gd name="T68" fmla="*/ 135762 w 458"/>
              <a:gd name="T69" fmla="*/ 60213 h 468"/>
              <a:gd name="T70" fmla="*/ 149072 w 458"/>
              <a:gd name="T71" fmla="*/ 48419 h 468"/>
              <a:gd name="T72" fmla="*/ 149072 w 458"/>
              <a:gd name="T73" fmla="*/ 30417 h 468"/>
              <a:gd name="T74" fmla="*/ 168372 w 458"/>
              <a:gd name="T75" fmla="*/ 24209 h 468"/>
              <a:gd name="T76" fmla="*/ 188337 w 458"/>
              <a:gd name="T77" fmla="*/ 30417 h 468"/>
              <a:gd name="T78" fmla="*/ 181682 w 458"/>
              <a:gd name="T79" fmla="*/ 18002 h 468"/>
              <a:gd name="T80" fmla="*/ 207637 w 458"/>
              <a:gd name="T81" fmla="*/ 18002 h 468"/>
              <a:gd name="T82" fmla="*/ 214292 w 458"/>
              <a:gd name="T83" fmla="*/ 0 h 468"/>
              <a:gd name="T84" fmla="*/ 252891 w 458"/>
              <a:gd name="T85" fmla="*/ 24209 h 468"/>
              <a:gd name="T86" fmla="*/ 278845 w 458"/>
              <a:gd name="T87" fmla="*/ 11794 h 468"/>
              <a:gd name="T88" fmla="*/ 292155 w 458"/>
              <a:gd name="T89" fmla="*/ 24209 h 468"/>
              <a:gd name="T90" fmla="*/ 304800 w 458"/>
              <a:gd name="T91" fmla="*/ 30417 h 468"/>
              <a:gd name="T92" fmla="*/ 298145 w 458"/>
              <a:gd name="T93" fmla="*/ 72628 h 468"/>
              <a:gd name="T94" fmla="*/ 272190 w 458"/>
              <a:gd name="T95" fmla="*/ 90630 h 468"/>
              <a:gd name="T96" fmla="*/ 272190 w 458"/>
              <a:gd name="T97" fmla="*/ 109253 h 468"/>
              <a:gd name="T98" fmla="*/ 252891 w 458"/>
              <a:gd name="T99" fmla="*/ 133462 h 468"/>
              <a:gd name="T100" fmla="*/ 214292 w 458"/>
              <a:gd name="T101" fmla="*/ 133462 h 468"/>
              <a:gd name="T102" fmla="*/ 207637 w 458"/>
              <a:gd name="T103" fmla="*/ 151464 h 468"/>
              <a:gd name="T104" fmla="*/ 207637 w 458"/>
              <a:gd name="T105" fmla="*/ 169466 h 468"/>
              <a:gd name="T106" fmla="*/ 194327 w 458"/>
              <a:gd name="T107" fmla="*/ 199883 h 468"/>
              <a:gd name="T108" fmla="*/ 207637 w 458"/>
              <a:gd name="T109" fmla="*/ 211677 h 468"/>
              <a:gd name="T110" fmla="*/ 220281 w 458"/>
              <a:gd name="T111" fmla="*/ 230300 h 46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458"/>
              <a:gd name="T169" fmla="*/ 0 h 468"/>
              <a:gd name="T170" fmla="*/ 458 w 458"/>
              <a:gd name="T171" fmla="*/ 468 h 468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458" h="468">
                <a:moveTo>
                  <a:pt x="331" y="371"/>
                </a:moveTo>
                <a:lnTo>
                  <a:pt x="322" y="390"/>
                </a:lnTo>
                <a:lnTo>
                  <a:pt x="331" y="400"/>
                </a:lnTo>
                <a:lnTo>
                  <a:pt x="351" y="390"/>
                </a:lnTo>
                <a:lnTo>
                  <a:pt x="361" y="400"/>
                </a:lnTo>
                <a:lnTo>
                  <a:pt x="370" y="410"/>
                </a:lnTo>
                <a:lnTo>
                  <a:pt x="351" y="419"/>
                </a:lnTo>
                <a:lnTo>
                  <a:pt x="322" y="439"/>
                </a:lnTo>
                <a:lnTo>
                  <a:pt x="302" y="449"/>
                </a:lnTo>
                <a:lnTo>
                  <a:pt x="283" y="439"/>
                </a:lnTo>
                <a:lnTo>
                  <a:pt x="263" y="449"/>
                </a:lnTo>
                <a:lnTo>
                  <a:pt x="273" y="458"/>
                </a:lnTo>
                <a:lnTo>
                  <a:pt x="253" y="468"/>
                </a:lnTo>
                <a:lnTo>
                  <a:pt x="244" y="468"/>
                </a:lnTo>
                <a:lnTo>
                  <a:pt x="244" y="458"/>
                </a:lnTo>
                <a:lnTo>
                  <a:pt x="204" y="449"/>
                </a:lnTo>
                <a:lnTo>
                  <a:pt x="204" y="439"/>
                </a:lnTo>
                <a:lnTo>
                  <a:pt x="195" y="410"/>
                </a:lnTo>
                <a:lnTo>
                  <a:pt x="195" y="390"/>
                </a:lnTo>
                <a:lnTo>
                  <a:pt x="175" y="380"/>
                </a:lnTo>
                <a:lnTo>
                  <a:pt x="175" y="361"/>
                </a:lnTo>
                <a:lnTo>
                  <a:pt x="165" y="341"/>
                </a:lnTo>
                <a:lnTo>
                  <a:pt x="165" y="351"/>
                </a:lnTo>
                <a:lnTo>
                  <a:pt x="156" y="361"/>
                </a:lnTo>
                <a:lnTo>
                  <a:pt x="146" y="361"/>
                </a:lnTo>
                <a:lnTo>
                  <a:pt x="117" y="351"/>
                </a:lnTo>
                <a:lnTo>
                  <a:pt x="107" y="351"/>
                </a:lnTo>
                <a:lnTo>
                  <a:pt x="87" y="361"/>
                </a:lnTo>
                <a:lnTo>
                  <a:pt x="58" y="332"/>
                </a:lnTo>
                <a:lnTo>
                  <a:pt x="58" y="312"/>
                </a:lnTo>
                <a:lnTo>
                  <a:pt x="68" y="312"/>
                </a:lnTo>
                <a:lnTo>
                  <a:pt x="78" y="293"/>
                </a:lnTo>
                <a:lnTo>
                  <a:pt x="68" y="283"/>
                </a:lnTo>
                <a:lnTo>
                  <a:pt x="48" y="263"/>
                </a:lnTo>
                <a:lnTo>
                  <a:pt x="48" y="244"/>
                </a:lnTo>
                <a:lnTo>
                  <a:pt x="58" y="215"/>
                </a:lnTo>
                <a:lnTo>
                  <a:pt x="68" y="215"/>
                </a:lnTo>
                <a:lnTo>
                  <a:pt x="68" y="185"/>
                </a:lnTo>
                <a:lnTo>
                  <a:pt x="48" y="156"/>
                </a:lnTo>
                <a:lnTo>
                  <a:pt x="39" y="156"/>
                </a:lnTo>
                <a:lnTo>
                  <a:pt x="19" y="166"/>
                </a:lnTo>
                <a:lnTo>
                  <a:pt x="9" y="156"/>
                </a:lnTo>
                <a:lnTo>
                  <a:pt x="0" y="146"/>
                </a:lnTo>
                <a:lnTo>
                  <a:pt x="19" y="137"/>
                </a:lnTo>
                <a:lnTo>
                  <a:pt x="19" y="117"/>
                </a:lnTo>
                <a:lnTo>
                  <a:pt x="39" y="127"/>
                </a:lnTo>
                <a:lnTo>
                  <a:pt x="58" y="137"/>
                </a:lnTo>
                <a:lnTo>
                  <a:pt x="68" y="146"/>
                </a:lnTo>
                <a:lnTo>
                  <a:pt x="68" y="127"/>
                </a:lnTo>
                <a:lnTo>
                  <a:pt x="78" y="117"/>
                </a:lnTo>
                <a:lnTo>
                  <a:pt x="68" y="97"/>
                </a:lnTo>
                <a:lnTo>
                  <a:pt x="48" y="88"/>
                </a:lnTo>
                <a:lnTo>
                  <a:pt x="39" y="88"/>
                </a:lnTo>
                <a:lnTo>
                  <a:pt x="29" y="68"/>
                </a:lnTo>
                <a:lnTo>
                  <a:pt x="9" y="68"/>
                </a:lnTo>
                <a:lnTo>
                  <a:pt x="39" y="68"/>
                </a:lnTo>
                <a:lnTo>
                  <a:pt x="39" y="49"/>
                </a:lnTo>
                <a:lnTo>
                  <a:pt x="58" y="49"/>
                </a:lnTo>
                <a:lnTo>
                  <a:pt x="68" y="39"/>
                </a:lnTo>
                <a:lnTo>
                  <a:pt x="78" y="39"/>
                </a:lnTo>
                <a:lnTo>
                  <a:pt x="97" y="58"/>
                </a:lnTo>
                <a:lnTo>
                  <a:pt x="107" y="58"/>
                </a:lnTo>
                <a:lnTo>
                  <a:pt x="126" y="58"/>
                </a:lnTo>
                <a:lnTo>
                  <a:pt x="136" y="78"/>
                </a:lnTo>
                <a:lnTo>
                  <a:pt x="156" y="97"/>
                </a:lnTo>
                <a:lnTo>
                  <a:pt x="175" y="107"/>
                </a:lnTo>
                <a:lnTo>
                  <a:pt x="185" y="97"/>
                </a:lnTo>
                <a:lnTo>
                  <a:pt x="204" y="97"/>
                </a:lnTo>
                <a:lnTo>
                  <a:pt x="204" y="78"/>
                </a:lnTo>
                <a:lnTo>
                  <a:pt x="224" y="78"/>
                </a:lnTo>
                <a:lnTo>
                  <a:pt x="224" y="68"/>
                </a:lnTo>
                <a:lnTo>
                  <a:pt x="224" y="49"/>
                </a:lnTo>
                <a:lnTo>
                  <a:pt x="234" y="29"/>
                </a:lnTo>
                <a:lnTo>
                  <a:pt x="253" y="39"/>
                </a:lnTo>
                <a:lnTo>
                  <a:pt x="273" y="58"/>
                </a:lnTo>
                <a:lnTo>
                  <a:pt x="283" y="49"/>
                </a:lnTo>
                <a:lnTo>
                  <a:pt x="273" y="39"/>
                </a:lnTo>
                <a:lnTo>
                  <a:pt x="273" y="29"/>
                </a:lnTo>
                <a:lnTo>
                  <a:pt x="292" y="29"/>
                </a:lnTo>
                <a:lnTo>
                  <a:pt x="312" y="29"/>
                </a:lnTo>
                <a:lnTo>
                  <a:pt x="322" y="19"/>
                </a:lnTo>
                <a:lnTo>
                  <a:pt x="322" y="0"/>
                </a:lnTo>
                <a:lnTo>
                  <a:pt x="361" y="19"/>
                </a:lnTo>
                <a:lnTo>
                  <a:pt x="380" y="39"/>
                </a:lnTo>
                <a:lnTo>
                  <a:pt x="390" y="39"/>
                </a:lnTo>
                <a:lnTo>
                  <a:pt x="419" y="19"/>
                </a:lnTo>
                <a:lnTo>
                  <a:pt x="429" y="19"/>
                </a:lnTo>
                <a:lnTo>
                  <a:pt x="439" y="39"/>
                </a:lnTo>
                <a:lnTo>
                  <a:pt x="458" y="29"/>
                </a:lnTo>
                <a:lnTo>
                  <a:pt x="458" y="49"/>
                </a:lnTo>
                <a:lnTo>
                  <a:pt x="458" y="107"/>
                </a:lnTo>
                <a:lnTo>
                  <a:pt x="448" y="117"/>
                </a:lnTo>
                <a:lnTo>
                  <a:pt x="429" y="117"/>
                </a:lnTo>
                <a:lnTo>
                  <a:pt x="409" y="146"/>
                </a:lnTo>
                <a:lnTo>
                  <a:pt x="419" y="156"/>
                </a:lnTo>
                <a:lnTo>
                  <a:pt x="409" y="176"/>
                </a:lnTo>
                <a:lnTo>
                  <a:pt x="390" y="205"/>
                </a:lnTo>
                <a:lnTo>
                  <a:pt x="380" y="215"/>
                </a:lnTo>
                <a:lnTo>
                  <a:pt x="341" y="205"/>
                </a:lnTo>
                <a:lnTo>
                  <a:pt x="322" y="215"/>
                </a:lnTo>
                <a:lnTo>
                  <a:pt x="302" y="234"/>
                </a:lnTo>
                <a:lnTo>
                  <a:pt x="312" y="244"/>
                </a:lnTo>
                <a:lnTo>
                  <a:pt x="322" y="263"/>
                </a:lnTo>
                <a:lnTo>
                  <a:pt x="312" y="273"/>
                </a:lnTo>
                <a:lnTo>
                  <a:pt x="302" y="293"/>
                </a:lnTo>
                <a:lnTo>
                  <a:pt x="292" y="322"/>
                </a:lnTo>
                <a:lnTo>
                  <a:pt x="302" y="322"/>
                </a:lnTo>
                <a:lnTo>
                  <a:pt x="312" y="341"/>
                </a:lnTo>
                <a:lnTo>
                  <a:pt x="331" y="371"/>
                </a:lnTo>
                <a:close/>
              </a:path>
            </a:pathLst>
          </a:custGeom>
          <a:solidFill>
            <a:srgbClr val="99C7BC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50" name="Freeform 392"/>
          <p:cNvSpPr>
            <a:spLocks noChangeAspect="1"/>
          </p:cNvSpPr>
          <p:nvPr>
            <p:custDataLst>
              <p:tags r:id="rId16"/>
            </p:custDataLst>
          </p:nvPr>
        </p:nvSpPr>
        <p:spPr bwMode="auto">
          <a:xfrm>
            <a:off x="4195763" y="5064125"/>
            <a:ext cx="415925" cy="279400"/>
          </a:xfrm>
          <a:custGeom>
            <a:avLst/>
            <a:gdLst>
              <a:gd name="T0" fmla="*/ 325275 w 624"/>
              <a:gd name="T1" fmla="*/ 224640 h 449"/>
              <a:gd name="T2" fmla="*/ 344605 w 624"/>
              <a:gd name="T3" fmla="*/ 212817 h 449"/>
              <a:gd name="T4" fmla="*/ 351270 w 624"/>
              <a:gd name="T5" fmla="*/ 200372 h 449"/>
              <a:gd name="T6" fmla="*/ 370600 w 624"/>
              <a:gd name="T7" fmla="*/ 194149 h 449"/>
              <a:gd name="T8" fmla="*/ 389930 w 624"/>
              <a:gd name="T9" fmla="*/ 194149 h 449"/>
              <a:gd name="T10" fmla="*/ 389930 w 624"/>
              <a:gd name="T11" fmla="*/ 176103 h 449"/>
              <a:gd name="T12" fmla="*/ 415925 w 624"/>
              <a:gd name="T13" fmla="*/ 176103 h 449"/>
              <a:gd name="T14" fmla="*/ 403261 w 624"/>
              <a:gd name="T15" fmla="*/ 164280 h 449"/>
              <a:gd name="T16" fmla="*/ 409926 w 624"/>
              <a:gd name="T17" fmla="*/ 140011 h 449"/>
              <a:gd name="T18" fmla="*/ 396595 w 624"/>
              <a:gd name="T19" fmla="*/ 127566 h 449"/>
              <a:gd name="T20" fmla="*/ 409926 w 624"/>
              <a:gd name="T21" fmla="*/ 121343 h 449"/>
              <a:gd name="T22" fmla="*/ 415925 w 624"/>
              <a:gd name="T23" fmla="*/ 109520 h 449"/>
              <a:gd name="T24" fmla="*/ 403261 w 624"/>
              <a:gd name="T25" fmla="*/ 103297 h 449"/>
              <a:gd name="T26" fmla="*/ 389930 w 624"/>
              <a:gd name="T27" fmla="*/ 79029 h 449"/>
              <a:gd name="T28" fmla="*/ 377265 w 624"/>
              <a:gd name="T29" fmla="*/ 67205 h 449"/>
              <a:gd name="T30" fmla="*/ 363934 w 624"/>
              <a:gd name="T31" fmla="*/ 48537 h 449"/>
              <a:gd name="T32" fmla="*/ 351270 w 624"/>
              <a:gd name="T33" fmla="*/ 36714 h 449"/>
              <a:gd name="T34" fmla="*/ 331940 w 624"/>
              <a:gd name="T35" fmla="*/ 30491 h 449"/>
              <a:gd name="T36" fmla="*/ 318609 w 624"/>
              <a:gd name="T37" fmla="*/ 42937 h 449"/>
              <a:gd name="T38" fmla="*/ 299279 w 624"/>
              <a:gd name="T39" fmla="*/ 36714 h 449"/>
              <a:gd name="T40" fmla="*/ 273284 w 624"/>
              <a:gd name="T41" fmla="*/ 36714 h 449"/>
              <a:gd name="T42" fmla="*/ 259953 w 624"/>
              <a:gd name="T43" fmla="*/ 42937 h 449"/>
              <a:gd name="T44" fmla="*/ 253954 w 624"/>
              <a:gd name="T45" fmla="*/ 36714 h 449"/>
              <a:gd name="T46" fmla="*/ 233958 w 624"/>
              <a:gd name="T47" fmla="*/ 42937 h 449"/>
              <a:gd name="T48" fmla="*/ 227959 w 624"/>
              <a:gd name="T49" fmla="*/ 54760 h 449"/>
              <a:gd name="T50" fmla="*/ 221293 w 624"/>
              <a:gd name="T51" fmla="*/ 60983 h 449"/>
              <a:gd name="T52" fmla="*/ 201964 w 624"/>
              <a:gd name="T53" fmla="*/ 48537 h 449"/>
              <a:gd name="T54" fmla="*/ 195298 w 624"/>
              <a:gd name="T55" fmla="*/ 30491 h 449"/>
              <a:gd name="T56" fmla="*/ 162637 w 624"/>
              <a:gd name="T57" fmla="*/ 0 h 449"/>
              <a:gd name="T58" fmla="*/ 136642 w 624"/>
              <a:gd name="T59" fmla="*/ 6223 h 449"/>
              <a:gd name="T60" fmla="*/ 91317 w 624"/>
              <a:gd name="T61" fmla="*/ 12445 h 449"/>
              <a:gd name="T62" fmla="*/ 77986 w 624"/>
              <a:gd name="T63" fmla="*/ 18046 h 449"/>
              <a:gd name="T64" fmla="*/ 45325 w 624"/>
              <a:gd name="T65" fmla="*/ 12445 h 449"/>
              <a:gd name="T66" fmla="*/ 13331 w 624"/>
              <a:gd name="T67" fmla="*/ 0 h 449"/>
              <a:gd name="T68" fmla="*/ 13331 w 624"/>
              <a:gd name="T69" fmla="*/ 12445 h 449"/>
              <a:gd name="T70" fmla="*/ 0 w 624"/>
              <a:gd name="T71" fmla="*/ 12445 h 449"/>
              <a:gd name="T72" fmla="*/ 13331 w 624"/>
              <a:gd name="T73" fmla="*/ 48537 h 449"/>
              <a:gd name="T74" fmla="*/ 19330 w 624"/>
              <a:gd name="T75" fmla="*/ 97074 h 449"/>
              <a:gd name="T76" fmla="*/ 32661 w 624"/>
              <a:gd name="T77" fmla="*/ 176103 h 449"/>
              <a:gd name="T78" fmla="*/ 45325 w 624"/>
              <a:gd name="T79" fmla="*/ 212817 h 449"/>
              <a:gd name="T80" fmla="*/ 51991 w 624"/>
              <a:gd name="T81" fmla="*/ 224640 h 449"/>
              <a:gd name="T82" fmla="*/ 65322 w 624"/>
              <a:gd name="T83" fmla="*/ 212817 h 449"/>
              <a:gd name="T84" fmla="*/ 71320 w 624"/>
              <a:gd name="T85" fmla="*/ 206594 h 449"/>
              <a:gd name="T86" fmla="*/ 84651 w 624"/>
              <a:gd name="T87" fmla="*/ 194149 h 449"/>
              <a:gd name="T88" fmla="*/ 97316 w 624"/>
              <a:gd name="T89" fmla="*/ 194149 h 449"/>
              <a:gd name="T90" fmla="*/ 97316 w 624"/>
              <a:gd name="T91" fmla="*/ 212817 h 449"/>
              <a:gd name="T92" fmla="*/ 103981 w 624"/>
              <a:gd name="T93" fmla="*/ 224640 h 449"/>
              <a:gd name="T94" fmla="*/ 110647 w 624"/>
              <a:gd name="T95" fmla="*/ 230863 h 449"/>
              <a:gd name="T96" fmla="*/ 117312 w 624"/>
              <a:gd name="T97" fmla="*/ 242686 h 449"/>
              <a:gd name="T98" fmla="*/ 136642 w 624"/>
              <a:gd name="T99" fmla="*/ 242686 h 449"/>
              <a:gd name="T100" fmla="*/ 162637 w 624"/>
              <a:gd name="T101" fmla="*/ 255131 h 449"/>
              <a:gd name="T102" fmla="*/ 175968 w 624"/>
              <a:gd name="T103" fmla="*/ 248909 h 449"/>
              <a:gd name="T104" fmla="*/ 201964 w 624"/>
              <a:gd name="T105" fmla="*/ 242686 h 449"/>
              <a:gd name="T106" fmla="*/ 227959 w 624"/>
              <a:gd name="T107" fmla="*/ 248909 h 449"/>
              <a:gd name="T108" fmla="*/ 233958 w 624"/>
              <a:gd name="T109" fmla="*/ 273177 h 449"/>
              <a:gd name="T110" fmla="*/ 240623 w 624"/>
              <a:gd name="T111" fmla="*/ 279400 h 449"/>
              <a:gd name="T112" fmla="*/ 253954 w 624"/>
              <a:gd name="T113" fmla="*/ 273177 h 449"/>
              <a:gd name="T114" fmla="*/ 253954 w 624"/>
              <a:gd name="T115" fmla="*/ 261354 h 449"/>
              <a:gd name="T116" fmla="*/ 240623 w 624"/>
              <a:gd name="T117" fmla="*/ 242686 h 449"/>
              <a:gd name="T118" fmla="*/ 259953 w 624"/>
              <a:gd name="T119" fmla="*/ 237086 h 449"/>
              <a:gd name="T120" fmla="*/ 299279 w 624"/>
              <a:gd name="T121" fmla="*/ 230863 h 449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624"/>
              <a:gd name="T184" fmla="*/ 0 h 449"/>
              <a:gd name="T185" fmla="*/ 624 w 624"/>
              <a:gd name="T186" fmla="*/ 449 h 449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624" h="449">
                <a:moveTo>
                  <a:pt x="468" y="361"/>
                </a:moveTo>
                <a:lnTo>
                  <a:pt x="488" y="361"/>
                </a:lnTo>
                <a:lnTo>
                  <a:pt x="498" y="361"/>
                </a:lnTo>
                <a:lnTo>
                  <a:pt x="517" y="342"/>
                </a:lnTo>
                <a:lnTo>
                  <a:pt x="517" y="322"/>
                </a:lnTo>
                <a:lnTo>
                  <a:pt x="527" y="322"/>
                </a:lnTo>
                <a:lnTo>
                  <a:pt x="546" y="322"/>
                </a:lnTo>
                <a:lnTo>
                  <a:pt x="556" y="312"/>
                </a:lnTo>
                <a:lnTo>
                  <a:pt x="566" y="312"/>
                </a:lnTo>
                <a:lnTo>
                  <a:pt x="585" y="312"/>
                </a:lnTo>
                <a:lnTo>
                  <a:pt x="585" y="303"/>
                </a:lnTo>
                <a:lnTo>
                  <a:pt x="585" y="283"/>
                </a:lnTo>
                <a:lnTo>
                  <a:pt x="595" y="283"/>
                </a:lnTo>
                <a:lnTo>
                  <a:pt x="624" y="283"/>
                </a:lnTo>
                <a:lnTo>
                  <a:pt x="615" y="273"/>
                </a:lnTo>
                <a:lnTo>
                  <a:pt x="605" y="264"/>
                </a:lnTo>
                <a:lnTo>
                  <a:pt x="605" y="244"/>
                </a:lnTo>
                <a:lnTo>
                  <a:pt x="615" y="225"/>
                </a:lnTo>
                <a:lnTo>
                  <a:pt x="605" y="215"/>
                </a:lnTo>
                <a:lnTo>
                  <a:pt x="595" y="205"/>
                </a:lnTo>
                <a:lnTo>
                  <a:pt x="605" y="195"/>
                </a:lnTo>
                <a:lnTo>
                  <a:pt x="615" y="195"/>
                </a:lnTo>
                <a:lnTo>
                  <a:pt x="624" y="195"/>
                </a:lnTo>
                <a:lnTo>
                  <a:pt x="624" y="176"/>
                </a:lnTo>
                <a:lnTo>
                  <a:pt x="624" y="166"/>
                </a:lnTo>
                <a:lnTo>
                  <a:pt x="605" y="166"/>
                </a:lnTo>
                <a:lnTo>
                  <a:pt x="595" y="147"/>
                </a:lnTo>
                <a:lnTo>
                  <a:pt x="585" y="127"/>
                </a:lnTo>
                <a:lnTo>
                  <a:pt x="585" y="117"/>
                </a:lnTo>
                <a:lnTo>
                  <a:pt x="566" y="108"/>
                </a:lnTo>
                <a:lnTo>
                  <a:pt x="556" y="88"/>
                </a:lnTo>
                <a:lnTo>
                  <a:pt x="546" y="78"/>
                </a:lnTo>
                <a:lnTo>
                  <a:pt x="537" y="78"/>
                </a:lnTo>
                <a:lnTo>
                  <a:pt x="527" y="59"/>
                </a:lnTo>
                <a:lnTo>
                  <a:pt x="517" y="49"/>
                </a:lnTo>
                <a:lnTo>
                  <a:pt x="498" y="49"/>
                </a:lnTo>
                <a:lnTo>
                  <a:pt x="488" y="59"/>
                </a:lnTo>
                <a:lnTo>
                  <a:pt x="478" y="69"/>
                </a:lnTo>
                <a:lnTo>
                  <a:pt x="468" y="69"/>
                </a:lnTo>
                <a:lnTo>
                  <a:pt x="449" y="59"/>
                </a:lnTo>
                <a:lnTo>
                  <a:pt x="429" y="59"/>
                </a:lnTo>
                <a:lnTo>
                  <a:pt x="410" y="59"/>
                </a:lnTo>
                <a:lnTo>
                  <a:pt x="410" y="78"/>
                </a:lnTo>
                <a:lnTo>
                  <a:pt x="390" y="69"/>
                </a:lnTo>
                <a:lnTo>
                  <a:pt x="390" y="59"/>
                </a:lnTo>
                <a:lnTo>
                  <a:pt x="381" y="59"/>
                </a:lnTo>
                <a:lnTo>
                  <a:pt x="371" y="69"/>
                </a:lnTo>
                <a:lnTo>
                  <a:pt x="351" y="69"/>
                </a:lnTo>
                <a:lnTo>
                  <a:pt x="351" y="78"/>
                </a:lnTo>
                <a:lnTo>
                  <a:pt x="342" y="88"/>
                </a:lnTo>
                <a:lnTo>
                  <a:pt x="332" y="88"/>
                </a:lnTo>
                <a:lnTo>
                  <a:pt x="332" y="98"/>
                </a:lnTo>
                <a:lnTo>
                  <a:pt x="322" y="98"/>
                </a:lnTo>
                <a:lnTo>
                  <a:pt x="303" y="78"/>
                </a:lnTo>
                <a:lnTo>
                  <a:pt x="283" y="78"/>
                </a:lnTo>
                <a:lnTo>
                  <a:pt x="293" y="49"/>
                </a:lnTo>
                <a:lnTo>
                  <a:pt x="254" y="20"/>
                </a:lnTo>
                <a:lnTo>
                  <a:pt x="244" y="0"/>
                </a:lnTo>
                <a:lnTo>
                  <a:pt x="215" y="0"/>
                </a:lnTo>
                <a:lnTo>
                  <a:pt x="205" y="10"/>
                </a:lnTo>
                <a:lnTo>
                  <a:pt x="156" y="20"/>
                </a:lnTo>
                <a:lnTo>
                  <a:pt x="137" y="20"/>
                </a:lnTo>
                <a:lnTo>
                  <a:pt x="117" y="29"/>
                </a:lnTo>
                <a:lnTo>
                  <a:pt x="107" y="20"/>
                </a:lnTo>
                <a:lnTo>
                  <a:pt x="68" y="20"/>
                </a:lnTo>
                <a:lnTo>
                  <a:pt x="39" y="20"/>
                </a:lnTo>
                <a:lnTo>
                  <a:pt x="20" y="0"/>
                </a:lnTo>
                <a:lnTo>
                  <a:pt x="20" y="10"/>
                </a:lnTo>
                <a:lnTo>
                  <a:pt x="20" y="20"/>
                </a:lnTo>
                <a:lnTo>
                  <a:pt x="0" y="20"/>
                </a:lnTo>
                <a:lnTo>
                  <a:pt x="10" y="49"/>
                </a:lnTo>
                <a:lnTo>
                  <a:pt x="20" y="78"/>
                </a:lnTo>
                <a:lnTo>
                  <a:pt x="20" y="108"/>
                </a:lnTo>
                <a:lnTo>
                  <a:pt x="29" y="156"/>
                </a:lnTo>
                <a:lnTo>
                  <a:pt x="49" y="215"/>
                </a:lnTo>
                <a:lnTo>
                  <a:pt x="49" y="283"/>
                </a:lnTo>
                <a:lnTo>
                  <a:pt x="68" y="322"/>
                </a:lnTo>
                <a:lnTo>
                  <a:pt x="68" y="342"/>
                </a:lnTo>
                <a:lnTo>
                  <a:pt x="68" y="361"/>
                </a:lnTo>
                <a:lnTo>
                  <a:pt x="78" y="361"/>
                </a:lnTo>
                <a:lnTo>
                  <a:pt x="78" y="351"/>
                </a:lnTo>
                <a:lnTo>
                  <a:pt x="98" y="342"/>
                </a:lnTo>
                <a:lnTo>
                  <a:pt x="107" y="342"/>
                </a:lnTo>
                <a:lnTo>
                  <a:pt x="107" y="332"/>
                </a:lnTo>
                <a:lnTo>
                  <a:pt x="117" y="322"/>
                </a:lnTo>
                <a:lnTo>
                  <a:pt x="127" y="312"/>
                </a:lnTo>
                <a:lnTo>
                  <a:pt x="137" y="312"/>
                </a:lnTo>
                <a:lnTo>
                  <a:pt x="146" y="312"/>
                </a:lnTo>
                <a:lnTo>
                  <a:pt x="156" y="322"/>
                </a:lnTo>
                <a:lnTo>
                  <a:pt x="146" y="342"/>
                </a:lnTo>
                <a:lnTo>
                  <a:pt x="146" y="361"/>
                </a:lnTo>
                <a:lnTo>
                  <a:pt x="156" y="361"/>
                </a:lnTo>
                <a:lnTo>
                  <a:pt x="166" y="361"/>
                </a:lnTo>
                <a:lnTo>
                  <a:pt x="166" y="371"/>
                </a:lnTo>
                <a:lnTo>
                  <a:pt x="166" y="381"/>
                </a:lnTo>
                <a:lnTo>
                  <a:pt x="176" y="390"/>
                </a:lnTo>
                <a:lnTo>
                  <a:pt x="195" y="390"/>
                </a:lnTo>
                <a:lnTo>
                  <a:pt x="205" y="390"/>
                </a:lnTo>
                <a:lnTo>
                  <a:pt x="224" y="400"/>
                </a:lnTo>
                <a:lnTo>
                  <a:pt x="244" y="410"/>
                </a:lnTo>
                <a:lnTo>
                  <a:pt x="254" y="410"/>
                </a:lnTo>
                <a:lnTo>
                  <a:pt x="264" y="400"/>
                </a:lnTo>
                <a:lnTo>
                  <a:pt x="283" y="390"/>
                </a:lnTo>
                <a:lnTo>
                  <a:pt x="303" y="390"/>
                </a:lnTo>
                <a:lnTo>
                  <a:pt x="322" y="400"/>
                </a:lnTo>
                <a:lnTo>
                  <a:pt x="342" y="400"/>
                </a:lnTo>
                <a:lnTo>
                  <a:pt x="342" y="420"/>
                </a:lnTo>
                <a:lnTo>
                  <a:pt x="351" y="439"/>
                </a:lnTo>
                <a:lnTo>
                  <a:pt x="351" y="449"/>
                </a:lnTo>
                <a:lnTo>
                  <a:pt x="361" y="449"/>
                </a:lnTo>
                <a:lnTo>
                  <a:pt x="371" y="439"/>
                </a:lnTo>
                <a:lnTo>
                  <a:pt x="381" y="439"/>
                </a:lnTo>
                <a:lnTo>
                  <a:pt x="381" y="420"/>
                </a:lnTo>
                <a:lnTo>
                  <a:pt x="361" y="410"/>
                </a:lnTo>
                <a:lnTo>
                  <a:pt x="361" y="390"/>
                </a:lnTo>
                <a:lnTo>
                  <a:pt x="361" y="381"/>
                </a:lnTo>
                <a:lnTo>
                  <a:pt x="390" y="381"/>
                </a:lnTo>
                <a:lnTo>
                  <a:pt x="420" y="371"/>
                </a:lnTo>
                <a:lnTo>
                  <a:pt x="449" y="371"/>
                </a:lnTo>
                <a:lnTo>
                  <a:pt x="468" y="361"/>
                </a:lnTo>
                <a:close/>
              </a:path>
            </a:pathLst>
          </a:custGeom>
          <a:solidFill>
            <a:srgbClr val="C0C0C0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51" name="Freeform 391"/>
          <p:cNvSpPr>
            <a:spLocks noChangeAspect="1"/>
          </p:cNvSpPr>
          <p:nvPr>
            <p:custDataLst>
              <p:tags r:id="rId17"/>
            </p:custDataLst>
          </p:nvPr>
        </p:nvSpPr>
        <p:spPr bwMode="auto">
          <a:xfrm>
            <a:off x="4122738" y="4795838"/>
            <a:ext cx="431800" cy="328612"/>
          </a:xfrm>
          <a:custGeom>
            <a:avLst/>
            <a:gdLst>
              <a:gd name="T0" fmla="*/ 85153 w 644"/>
              <a:gd name="T1" fmla="*/ 279976 h 527"/>
              <a:gd name="T2" fmla="*/ 97893 w 644"/>
              <a:gd name="T3" fmla="*/ 273740 h 527"/>
              <a:gd name="T4" fmla="*/ 150191 w 644"/>
              <a:gd name="T5" fmla="*/ 285588 h 527"/>
              <a:gd name="T6" fmla="*/ 176341 w 644"/>
              <a:gd name="T7" fmla="*/ 273740 h 527"/>
              <a:gd name="T8" fmla="*/ 228639 w 644"/>
              <a:gd name="T9" fmla="*/ 267505 h 527"/>
              <a:gd name="T10" fmla="*/ 261494 w 644"/>
              <a:gd name="T11" fmla="*/ 316142 h 527"/>
              <a:gd name="T12" fmla="*/ 294348 w 644"/>
              <a:gd name="T13" fmla="*/ 328613 h 527"/>
              <a:gd name="T14" fmla="*/ 307088 w 644"/>
              <a:gd name="T15" fmla="*/ 316142 h 527"/>
              <a:gd name="T16" fmla="*/ 327202 w 644"/>
              <a:gd name="T17" fmla="*/ 304294 h 527"/>
              <a:gd name="T18" fmla="*/ 346647 w 644"/>
              <a:gd name="T19" fmla="*/ 316142 h 527"/>
              <a:gd name="T20" fmla="*/ 372796 w 644"/>
              <a:gd name="T21" fmla="*/ 304294 h 527"/>
              <a:gd name="T22" fmla="*/ 398946 w 644"/>
              <a:gd name="T23" fmla="*/ 304294 h 527"/>
              <a:gd name="T24" fmla="*/ 411685 w 644"/>
              <a:gd name="T25" fmla="*/ 285588 h 527"/>
              <a:gd name="T26" fmla="*/ 425095 w 644"/>
              <a:gd name="T27" fmla="*/ 273740 h 527"/>
              <a:gd name="T28" fmla="*/ 418390 w 644"/>
              <a:gd name="T29" fmla="*/ 255657 h 527"/>
              <a:gd name="T30" fmla="*/ 431800 w 644"/>
              <a:gd name="T31" fmla="*/ 231339 h 527"/>
              <a:gd name="T32" fmla="*/ 431800 w 644"/>
              <a:gd name="T33" fmla="*/ 218867 h 527"/>
              <a:gd name="T34" fmla="*/ 425095 w 644"/>
              <a:gd name="T35" fmla="*/ 200784 h 527"/>
              <a:gd name="T36" fmla="*/ 411685 w 644"/>
              <a:gd name="T37" fmla="*/ 182701 h 527"/>
              <a:gd name="T38" fmla="*/ 385536 w 644"/>
              <a:gd name="T39" fmla="*/ 194549 h 527"/>
              <a:gd name="T40" fmla="*/ 372796 w 644"/>
              <a:gd name="T41" fmla="*/ 188313 h 527"/>
              <a:gd name="T42" fmla="*/ 372796 w 644"/>
              <a:gd name="T43" fmla="*/ 152147 h 527"/>
              <a:gd name="T44" fmla="*/ 372796 w 644"/>
              <a:gd name="T45" fmla="*/ 139676 h 527"/>
              <a:gd name="T46" fmla="*/ 359386 w 644"/>
              <a:gd name="T47" fmla="*/ 145912 h 527"/>
              <a:gd name="T48" fmla="*/ 320497 w 644"/>
              <a:gd name="T49" fmla="*/ 139676 h 527"/>
              <a:gd name="T50" fmla="*/ 301053 w 644"/>
              <a:gd name="T51" fmla="*/ 115357 h 527"/>
              <a:gd name="T52" fmla="*/ 274904 w 644"/>
              <a:gd name="T53" fmla="*/ 109746 h 527"/>
              <a:gd name="T54" fmla="*/ 248754 w 644"/>
              <a:gd name="T55" fmla="*/ 91039 h 527"/>
              <a:gd name="T56" fmla="*/ 202490 w 644"/>
              <a:gd name="T57" fmla="*/ 48637 h 527"/>
              <a:gd name="T58" fmla="*/ 163601 w 644"/>
              <a:gd name="T59" fmla="*/ 30554 h 527"/>
              <a:gd name="T60" fmla="*/ 124042 w 644"/>
              <a:gd name="T61" fmla="*/ 11848 h 527"/>
              <a:gd name="T62" fmla="*/ 97893 w 644"/>
              <a:gd name="T63" fmla="*/ 24319 h 527"/>
              <a:gd name="T64" fmla="*/ 85153 w 644"/>
              <a:gd name="T65" fmla="*/ 48637 h 527"/>
              <a:gd name="T66" fmla="*/ 85153 w 644"/>
              <a:gd name="T67" fmla="*/ 72956 h 527"/>
              <a:gd name="T68" fmla="*/ 71743 w 644"/>
              <a:gd name="T69" fmla="*/ 79191 h 527"/>
              <a:gd name="T70" fmla="*/ 38889 w 644"/>
              <a:gd name="T71" fmla="*/ 79191 h 527"/>
              <a:gd name="T72" fmla="*/ 26149 w 644"/>
              <a:gd name="T73" fmla="*/ 97274 h 527"/>
              <a:gd name="T74" fmla="*/ 12739 w 644"/>
              <a:gd name="T75" fmla="*/ 109746 h 527"/>
              <a:gd name="T76" fmla="*/ 12739 w 644"/>
              <a:gd name="T77" fmla="*/ 145912 h 527"/>
              <a:gd name="T78" fmla="*/ 19444 w 644"/>
              <a:gd name="T79" fmla="*/ 170230 h 527"/>
              <a:gd name="T80" fmla="*/ 6705 w 644"/>
              <a:gd name="T81" fmla="*/ 182701 h 527"/>
              <a:gd name="T82" fmla="*/ 0 w 644"/>
              <a:gd name="T83" fmla="*/ 207020 h 527"/>
              <a:gd name="T84" fmla="*/ 26149 w 644"/>
              <a:gd name="T85" fmla="*/ 200784 h 527"/>
              <a:gd name="T86" fmla="*/ 59004 w 644"/>
              <a:gd name="T87" fmla="*/ 200784 h 527"/>
              <a:gd name="T88" fmla="*/ 59004 w 644"/>
              <a:gd name="T89" fmla="*/ 212632 h 527"/>
              <a:gd name="T90" fmla="*/ 32854 w 644"/>
              <a:gd name="T91" fmla="*/ 218867 h 527"/>
              <a:gd name="T92" fmla="*/ 59004 w 644"/>
              <a:gd name="T93" fmla="*/ 261269 h 527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644"/>
              <a:gd name="T142" fmla="*/ 0 h 527"/>
              <a:gd name="T143" fmla="*/ 644 w 644"/>
              <a:gd name="T144" fmla="*/ 527 h 527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644" h="527">
                <a:moveTo>
                  <a:pt x="107" y="449"/>
                </a:moveTo>
                <a:lnTo>
                  <a:pt x="127" y="449"/>
                </a:lnTo>
                <a:lnTo>
                  <a:pt x="127" y="439"/>
                </a:lnTo>
                <a:lnTo>
                  <a:pt x="127" y="429"/>
                </a:lnTo>
                <a:lnTo>
                  <a:pt x="146" y="439"/>
                </a:lnTo>
                <a:lnTo>
                  <a:pt x="175" y="449"/>
                </a:lnTo>
                <a:lnTo>
                  <a:pt x="214" y="449"/>
                </a:lnTo>
                <a:lnTo>
                  <a:pt x="224" y="458"/>
                </a:lnTo>
                <a:lnTo>
                  <a:pt x="244" y="449"/>
                </a:lnTo>
                <a:lnTo>
                  <a:pt x="244" y="439"/>
                </a:lnTo>
                <a:lnTo>
                  <a:pt x="263" y="439"/>
                </a:lnTo>
                <a:lnTo>
                  <a:pt x="312" y="439"/>
                </a:lnTo>
                <a:lnTo>
                  <a:pt x="322" y="429"/>
                </a:lnTo>
                <a:lnTo>
                  <a:pt x="341" y="429"/>
                </a:lnTo>
                <a:lnTo>
                  <a:pt x="361" y="449"/>
                </a:lnTo>
                <a:lnTo>
                  <a:pt x="400" y="478"/>
                </a:lnTo>
                <a:lnTo>
                  <a:pt x="390" y="507"/>
                </a:lnTo>
                <a:lnTo>
                  <a:pt x="410" y="507"/>
                </a:lnTo>
                <a:lnTo>
                  <a:pt x="429" y="527"/>
                </a:lnTo>
                <a:lnTo>
                  <a:pt x="439" y="527"/>
                </a:lnTo>
                <a:lnTo>
                  <a:pt x="439" y="517"/>
                </a:lnTo>
                <a:lnTo>
                  <a:pt x="449" y="517"/>
                </a:lnTo>
                <a:lnTo>
                  <a:pt x="458" y="507"/>
                </a:lnTo>
                <a:lnTo>
                  <a:pt x="458" y="498"/>
                </a:lnTo>
                <a:lnTo>
                  <a:pt x="478" y="498"/>
                </a:lnTo>
                <a:lnTo>
                  <a:pt x="488" y="488"/>
                </a:lnTo>
                <a:lnTo>
                  <a:pt x="497" y="488"/>
                </a:lnTo>
                <a:lnTo>
                  <a:pt x="497" y="498"/>
                </a:lnTo>
                <a:lnTo>
                  <a:pt x="517" y="507"/>
                </a:lnTo>
                <a:lnTo>
                  <a:pt x="517" y="488"/>
                </a:lnTo>
                <a:lnTo>
                  <a:pt x="536" y="488"/>
                </a:lnTo>
                <a:lnTo>
                  <a:pt x="556" y="488"/>
                </a:lnTo>
                <a:lnTo>
                  <a:pt x="575" y="498"/>
                </a:lnTo>
                <a:lnTo>
                  <a:pt x="585" y="498"/>
                </a:lnTo>
                <a:lnTo>
                  <a:pt x="595" y="488"/>
                </a:lnTo>
                <a:lnTo>
                  <a:pt x="605" y="478"/>
                </a:lnTo>
                <a:lnTo>
                  <a:pt x="624" y="478"/>
                </a:lnTo>
                <a:lnTo>
                  <a:pt x="614" y="458"/>
                </a:lnTo>
                <a:lnTo>
                  <a:pt x="624" y="449"/>
                </a:lnTo>
                <a:lnTo>
                  <a:pt x="624" y="439"/>
                </a:lnTo>
                <a:lnTo>
                  <a:pt x="634" y="439"/>
                </a:lnTo>
                <a:lnTo>
                  <a:pt x="634" y="429"/>
                </a:lnTo>
                <a:lnTo>
                  <a:pt x="624" y="419"/>
                </a:lnTo>
                <a:lnTo>
                  <a:pt x="624" y="410"/>
                </a:lnTo>
                <a:lnTo>
                  <a:pt x="634" y="400"/>
                </a:lnTo>
                <a:lnTo>
                  <a:pt x="634" y="380"/>
                </a:lnTo>
                <a:lnTo>
                  <a:pt x="644" y="371"/>
                </a:lnTo>
                <a:lnTo>
                  <a:pt x="634" y="361"/>
                </a:lnTo>
                <a:lnTo>
                  <a:pt x="624" y="351"/>
                </a:lnTo>
                <a:lnTo>
                  <a:pt x="644" y="351"/>
                </a:lnTo>
                <a:lnTo>
                  <a:pt x="644" y="341"/>
                </a:lnTo>
                <a:lnTo>
                  <a:pt x="644" y="332"/>
                </a:lnTo>
                <a:lnTo>
                  <a:pt x="634" y="322"/>
                </a:lnTo>
                <a:lnTo>
                  <a:pt x="634" y="312"/>
                </a:lnTo>
                <a:lnTo>
                  <a:pt x="624" y="293"/>
                </a:lnTo>
                <a:lnTo>
                  <a:pt x="614" y="293"/>
                </a:lnTo>
                <a:lnTo>
                  <a:pt x="595" y="293"/>
                </a:lnTo>
                <a:lnTo>
                  <a:pt x="575" y="302"/>
                </a:lnTo>
                <a:lnTo>
                  <a:pt x="575" y="312"/>
                </a:lnTo>
                <a:lnTo>
                  <a:pt x="566" y="312"/>
                </a:lnTo>
                <a:lnTo>
                  <a:pt x="556" y="312"/>
                </a:lnTo>
                <a:lnTo>
                  <a:pt x="556" y="302"/>
                </a:lnTo>
                <a:lnTo>
                  <a:pt x="556" y="293"/>
                </a:lnTo>
                <a:lnTo>
                  <a:pt x="556" y="263"/>
                </a:lnTo>
                <a:lnTo>
                  <a:pt x="556" y="244"/>
                </a:lnTo>
                <a:lnTo>
                  <a:pt x="566" y="234"/>
                </a:lnTo>
                <a:lnTo>
                  <a:pt x="556" y="224"/>
                </a:lnTo>
                <a:lnTo>
                  <a:pt x="546" y="215"/>
                </a:lnTo>
                <a:lnTo>
                  <a:pt x="536" y="224"/>
                </a:lnTo>
                <a:lnTo>
                  <a:pt x="536" y="234"/>
                </a:lnTo>
                <a:lnTo>
                  <a:pt x="517" y="234"/>
                </a:lnTo>
                <a:lnTo>
                  <a:pt x="497" y="224"/>
                </a:lnTo>
                <a:lnTo>
                  <a:pt x="478" y="224"/>
                </a:lnTo>
                <a:lnTo>
                  <a:pt x="468" y="224"/>
                </a:lnTo>
                <a:lnTo>
                  <a:pt x="458" y="215"/>
                </a:lnTo>
                <a:lnTo>
                  <a:pt x="449" y="185"/>
                </a:lnTo>
                <a:lnTo>
                  <a:pt x="439" y="176"/>
                </a:lnTo>
                <a:lnTo>
                  <a:pt x="429" y="176"/>
                </a:lnTo>
                <a:lnTo>
                  <a:pt x="410" y="176"/>
                </a:lnTo>
                <a:lnTo>
                  <a:pt x="390" y="176"/>
                </a:lnTo>
                <a:lnTo>
                  <a:pt x="380" y="166"/>
                </a:lnTo>
                <a:lnTo>
                  <a:pt x="371" y="146"/>
                </a:lnTo>
                <a:lnTo>
                  <a:pt x="351" y="117"/>
                </a:lnTo>
                <a:lnTo>
                  <a:pt x="322" y="88"/>
                </a:lnTo>
                <a:lnTo>
                  <a:pt x="302" y="78"/>
                </a:lnTo>
                <a:lnTo>
                  <a:pt x="292" y="68"/>
                </a:lnTo>
                <a:lnTo>
                  <a:pt x="283" y="58"/>
                </a:lnTo>
                <a:lnTo>
                  <a:pt x="244" y="49"/>
                </a:lnTo>
                <a:lnTo>
                  <a:pt x="224" y="39"/>
                </a:lnTo>
                <a:lnTo>
                  <a:pt x="205" y="29"/>
                </a:lnTo>
                <a:lnTo>
                  <a:pt x="185" y="19"/>
                </a:lnTo>
                <a:lnTo>
                  <a:pt x="166" y="19"/>
                </a:lnTo>
                <a:lnTo>
                  <a:pt x="146" y="0"/>
                </a:lnTo>
                <a:lnTo>
                  <a:pt x="146" y="39"/>
                </a:lnTo>
                <a:lnTo>
                  <a:pt x="146" y="58"/>
                </a:lnTo>
                <a:lnTo>
                  <a:pt x="146" y="68"/>
                </a:lnTo>
                <a:lnTo>
                  <a:pt x="127" y="78"/>
                </a:lnTo>
                <a:lnTo>
                  <a:pt x="117" y="78"/>
                </a:lnTo>
                <a:lnTo>
                  <a:pt x="107" y="97"/>
                </a:lnTo>
                <a:lnTo>
                  <a:pt x="127" y="117"/>
                </a:lnTo>
                <a:lnTo>
                  <a:pt x="127" y="127"/>
                </a:lnTo>
                <a:lnTo>
                  <a:pt x="117" y="127"/>
                </a:lnTo>
                <a:lnTo>
                  <a:pt x="107" y="127"/>
                </a:lnTo>
                <a:lnTo>
                  <a:pt x="88" y="117"/>
                </a:lnTo>
                <a:lnTo>
                  <a:pt x="88" y="127"/>
                </a:lnTo>
                <a:lnTo>
                  <a:pt x="58" y="127"/>
                </a:lnTo>
                <a:lnTo>
                  <a:pt x="49" y="137"/>
                </a:lnTo>
                <a:lnTo>
                  <a:pt x="49" y="156"/>
                </a:lnTo>
                <a:lnTo>
                  <a:pt x="39" y="156"/>
                </a:lnTo>
                <a:lnTo>
                  <a:pt x="29" y="156"/>
                </a:lnTo>
                <a:lnTo>
                  <a:pt x="29" y="176"/>
                </a:lnTo>
                <a:lnTo>
                  <a:pt x="19" y="176"/>
                </a:lnTo>
                <a:lnTo>
                  <a:pt x="10" y="195"/>
                </a:lnTo>
                <a:lnTo>
                  <a:pt x="10" y="215"/>
                </a:lnTo>
                <a:lnTo>
                  <a:pt x="19" y="234"/>
                </a:lnTo>
                <a:lnTo>
                  <a:pt x="29" y="244"/>
                </a:lnTo>
                <a:lnTo>
                  <a:pt x="29" y="263"/>
                </a:lnTo>
                <a:lnTo>
                  <a:pt x="29" y="273"/>
                </a:lnTo>
                <a:lnTo>
                  <a:pt x="19" y="273"/>
                </a:lnTo>
                <a:lnTo>
                  <a:pt x="10" y="293"/>
                </a:lnTo>
                <a:lnTo>
                  <a:pt x="10" y="312"/>
                </a:lnTo>
                <a:lnTo>
                  <a:pt x="0" y="322"/>
                </a:lnTo>
                <a:lnTo>
                  <a:pt x="0" y="332"/>
                </a:lnTo>
                <a:lnTo>
                  <a:pt x="10" y="332"/>
                </a:lnTo>
                <a:lnTo>
                  <a:pt x="29" y="332"/>
                </a:lnTo>
                <a:lnTo>
                  <a:pt x="39" y="322"/>
                </a:lnTo>
                <a:lnTo>
                  <a:pt x="49" y="322"/>
                </a:lnTo>
                <a:lnTo>
                  <a:pt x="68" y="332"/>
                </a:lnTo>
                <a:lnTo>
                  <a:pt x="88" y="322"/>
                </a:lnTo>
                <a:lnTo>
                  <a:pt x="97" y="322"/>
                </a:lnTo>
                <a:lnTo>
                  <a:pt x="97" y="332"/>
                </a:lnTo>
                <a:lnTo>
                  <a:pt x="88" y="341"/>
                </a:lnTo>
                <a:lnTo>
                  <a:pt x="78" y="351"/>
                </a:lnTo>
                <a:lnTo>
                  <a:pt x="58" y="351"/>
                </a:lnTo>
                <a:lnTo>
                  <a:pt x="49" y="351"/>
                </a:lnTo>
                <a:lnTo>
                  <a:pt x="58" y="371"/>
                </a:lnTo>
                <a:lnTo>
                  <a:pt x="68" y="390"/>
                </a:lnTo>
                <a:lnTo>
                  <a:pt x="88" y="419"/>
                </a:lnTo>
                <a:lnTo>
                  <a:pt x="97" y="439"/>
                </a:lnTo>
                <a:lnTo>
                  <a:pt x="107" y="449"/>
                </a:lnTo>
                <a:close/>
              </a:path>
            </a:pathLst>
          </a:custGeom>
          <a:solidFill>
            <a:srgbClr val="C0C0C0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52" name="Freeform 390"/>
          <p:cNvSpPr>
            <a:spLocks noChangeAspect="1"/>
          </p:cNvSpPr>
          <p:nvPr>
            <p:custDataLst>
              <p:tags r:id="rId18"/>
            </p:custDataLst>
          </p:nvPr>
        </p:nvSpPr>
        <p:spPr bwMode="auto">
          <a:xfrm>
            <a:off x="3017838" y="3959225"/>
            <a:ext cx="317500" cy="180975"/>
          </a:xfrm>
          <a:custGeom>
            <a:avLst/>
            <a:gdLst>
              <a:gd name="T0" fmla="*/ 304215 w 478"/>
              <a:gd name="T1" fmla="*/ 114885 h 293"/>
              <a:gd name="T2" fmla="*/ 284953 w 478"/>
              <a:gd name="T3" fmla="*/ 108709 h 293"/>
              <a:gd name="T4" fmla="*/ 265690 w 478"/>
              <a:gd name="T5" fmla="*/ 114885 h 293"/>
              <a:gd name="T6" fmla="*/ 239786 w 478"/>
              <a:gd name="T7" fmla="*/ 114885 h 293"/>
              <a:gd name="T8" fmla="*/ 226501 w 478"/>
              <a:gd name="T9" fmla="*/ 96973 h 293"/>
              <a:gd name="T10" fmla="*/ 207239 w 478"/>
              <a:gd name="T11" fmla="*/ 66707 h 293"/>
              <a:gd name="T12" fmla="*/ 200596 w 478"/>
              <a:gd name="T13" fmla="*/ 48795 h 293"/>
              <a:gd name="T14" fmla="*/ 187312 w 478"/>
              <a:gd name="T15" fmla="*/ 30265 h 293"/>
              <a:gd name="T16" fmla="*/ 174691 w 478"/>
              <a:gd name="T17" fmla="*/ 18530 h 293"/>
              <a:gd name="T18" fmla="*/ 161407 w 478"/>
              <a:gd name="T19" fmla="*/ 6177 h 293"/>
              <a:gd name="T20" fmla="*/ 155429 w 478"/>
              <a:gd name="T21" fmla="*/ 12353 h 293"/>
              <a:gd name="T22" fmla="*/ 116240 w 478"/>
              <a:gd name="T23" fmla="*/ 0 h 293"/>
              <a:gd name="T24" fmla="*/ 96977 w 478"/>
              <a:gd name="T25" fmla="*/ 12353 h 293"/>
              <a:gd name="T26" fmla="*/ 77714 w 478"/>
              <a:gd name="T27" fmla="*/ 18530 h 293"/>
              <a:gd name="T28" fmla="*/ 51810 w 478"/>
              <a:gd name="T29" fmla="*/ 24706 h 293"/>
              <a:gd name="T30" fmla="*/ 38525 w 478"/>
              <a:gd name="T31" fmla="*/ 36442 h 293"/>
              <a:gd name="T32" fmla="*/ 25905 w 478"/>
              <a:gd name="T33" fmla="*/ 36442 h 293"/>
              <a:gd name="T34" fmla="*/ 12620 w 478"/>
              <a:gd name="T35" fmla="*/ 54354 h 293"/>
              <a:gd name="T36" fmla="*/ 0 w 478"/>
              <a:gd name="T37" fmla="*/ 54354 h 293"/>
              <a:gd name="T38" fmla="*/ 19263 w 478"/>
              <a:gd name="T39" fmla="*/ 72884 h 293"/>
              <a:gd name="T40" fmla="*/ 31883 w 478"/>
              <a:gd name="T41" fmla="*/ 84620 h 293"/>
              <a:gd name="T42" fmla="*/ 51810 w 478"/>
              <a:gd name="T43" fmla="*/ 78443 h 293"/>
              <a:gd name="T44" fmla="*/ 57788 w 478"/>
              <a:gd name="T45" fmla="*/ 96973 h 293"/>
              <a:gd name="T46" fmla="*/ 77714 w 478"/>
              <a:gd name="T47" fmla="*/ 102532 h 293"/>
              <a:gd name="T48" fmla="*/ 71072 w 478"/>
              <a:gd name="T49" fmla="*/ 114885 h 293"/>
              <a:gd name="T50" fmla="*/ 77714 w 478"/>
              <a:gd name="T51" fmla="*/ 132797 h 293"/>
              <a:gd name="T52" fmla="*/ 90335 w 478"/>
              <a:gd name="T53" fmla="*/ 132797 h 293"/>
              <a:gd name="T54" fmla="*/ 96977 w 478"/>
              <a:gd name="T55" fmla="*/ 156886 h 293"/>
              <a:gd name="T56" fmla="*/ 142144 w 478"/>
              <a:gd name="T57" fmla="*/ 156886 h 293"/>
              <a:gd name="T58" fmla="*/ 161407 w 478"/>
              <a:gd name="T59" fmla="*/ 150710 h 293"/>
              <a:gd name="T60" fmla="*/ 174691 w 478"/>
              <a:gd name="T61" fmla="*/ 163063 h 293"/>
              <a:gd name="T62" fmla="*/ 200596 w 478"/>
              <a:gd name="T63" fmla="*/ 174798 h 293"/>
              <a:gd name="T64" fmla="*/ 219859 w 478"/>
              <a:gd name="T65" fmla="*/ 174798 h 293"/>
              <a:gd name="T66" fmla="*/ 239786 w 478"/>
              <a:gd name="T67" fmla="*/ 163063 h 293"/>
              <a:gd name="T68" fmla="*/ 271668 w 478"/>
              <a:gd name="T69" fmla="*/ 169239 h 293"/>
              <a:gd name="T70" fmla="*/ 304215 w 478"/>
              <a:gd name="T71" fmla="*/ 156886 h 293"/>
              <a:gd name="T72" fmla="*/ 310858 w 478"/>
              <a:gd name="T73" fmla="*/ 138974 h 293"/>
              <a:gd name="T74" fmla="*/ 317500 w 478"/>
              <a:gd name="T75" fmla="*/ 126621 h 29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478"/>
              <a:gd name="T115" fmla="*/ 0 h 293"/>
              <a:gd name="T116" fmla="*/ 478 w 478"/>
              <a:gd name="T117" fmla="*/ 293 h 293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478" h="293">
                <a:moveTo>
                  <a:pt x="478" y="205"/>
                </a:moveTo>
                <a:lnTo>
                  <a:pt x="458" y="186"/>
                </a:lnTo>
                <a:lnTo>
                  <a:pt x="448" y="176"/>
                </a:lnTo>
                <a:lnTo>
                  <a:pt x="429" y="176"/>
                </a:lnTo>
                <a:lnTo>
                  <a:pt x="419" y="196"/>
                </a:lnTo>
                <a:lnTo>
                  <a:pt x="400" y="186"/>
                </a:lnTo>
                <a:lnTo>
                  <a:pt x="380" y="196"/>
                </a:lnTo>
                <a:lnTo>
                  <a:pt x="361" y="186"/>
                </a:lnTo>
                <a:lnTo>
                  <a:pt x="361" y="166"/>
                </a:lnTo>
                <a:lnTo>
                  <a:pt x="341" y="157"/>
                </a:lnTo>
                <a:lnTo>
                  <a:pt x="331" y="137"/>
                </a:lnTo>
                <a:lnTo>
                  <a:pt x="312" y="108"/>
                </a:lnTo>
                <a:lnTo>
                  <a:pt x="302" y="98"/>
                </a:lnTo>
                <a:lnTo>
                  <a:pt x="302" y="79"/>
                </a:lnTo>
                <a:lnTo>
                  <a:pt x="292" y="59"/>
                </a:lnTo>
                <a:lnTo>
                  <a:pt x="282" y="49"/>
                </a:lnTo>
                <a:lnTo>
                  <a:pt x="263" y="49"/>
                </a:lnTo>
                <a:lnTo>
                  <a:pt x="263" y="30"/>
                </a:lnTo>
                <a:lnTo>
                  <a:pt x="253" y="30"/>
                </a:lnTo>
                <a:lnTo>
                  <a:pt x="243" y="10"/>
                </a:lnTo>
                <a:lnTo>
                  <a:pt x="234" y="0"/>
                </a:lnTo>
                <a:lnTo>
                  <a:pt x="234" y="20"/>
                </a:lnTo>
                <a:lnTo>
                  <a:pt x="214" y="30"/>
                </a:lnTo>
                <a:lnTo>
                  <a:pt x="175" y="0"/>
                </a:lnTo>
                <a:lnTo>
                  <a:pt x="156" y="10"/>
                </a:lnTo>
                <a:lnTo>
                  <a:pt x="146" y="20"/>
                </a:lnTo>
                <a:lnTo>
                  <a:pt x="126" y="20"/>
                </a:lnTo>
                <a:lnTo>
                  <a:pt x="117" y="30"/>
                </a:lnTo>
                <a:lnTo>
                  <a:pt x="97" y="40"/>
                </a:lnTo>
                <a:lnTo>
                  <a:pt x="78" y="40"/>
                </a:lnTo>
                <a:lnTo>
                  <a:pt x="68" y="49"/>
                </a:lnTo>
                <a:lnTo>
                  <a:pt x="58" y="59"/>
                </a:lnTo>
                <a:lnTo>
                  <a:pt x="48" y="59"/>
                </a:lnTo>
                <a:lnTo>
                  <a:pt x="39" y="59"/>
                </a:lnTo>
                <a:lnTo>
                  <a:pt x="29" y="79"/>
                </a:lnTo>
                <a:lnTo>
                  <a:pt x="19" y="88"/>
                </a:lnTo>
                <a:lnTo>
                  <a:pt x="9" y="88"/>
                </a:lnTo>
                <a:lnTo>
                  <a:pt x="0" y="88"/>
                </a:lnTo>
                <a:lnTo>
                  <a:pt x="0" y="98"/>
                </a:lnTo>
                <a:lnTo>
                  <a:pt x="29" y="118"/>
                </a:lnTo>
                <a:lnTo>
                  <a:pt x="39" y="137"/>
                </a:lnTo>
                <a:lnTo>
                  <a:pt x="48" y="137"/>
                </a:lnTo>
                <a:lnTo>
                  <a:pt x="58" y="127"/>
                </a:lnTo>
                <a:lnTo>
                  <a:pt x="78" y="127"/>
                </a:lnTo>
                <a:lnTo>
                  <a:pt x="78" y="137"/>
                </a:lnTo>
                <a:lnTo>
                  <a:pt x="87" y="157"/>
                </a:lnTo>
                <a:lnTo>
                  <a:pt x="107" y="166"/>
                </a:lnTo>
                <a:lnTo>
                  <a:pt x="117" y="166"/>
                </a:lnTo>
                <a:lnTo>
                  <a:pt x="117" y="186"/>
                </a:lnTo>
                <a:lnTo>
                  <a:pt x="107" y="186"/>
                </a:lnTo>
                <a:lnTo>
                  <a:pt x="97" y="196"/>
                </a:lnTo>
                <a:lnTo>
                  <a:pt x="117" y="215"/>
                </a:lnTo>
                <a:lnTo>
                  <a:pt x="126" y="225"/>
                </a:lnTo>
                <a:lnTo>
                  <a:pt x="136" y="215"/>
                </a:lnTo>
                <a:lnTo>
                  <a:pt x="136" y="244"/>
                </a:lnTo>
                <a:lnTo>
                  <a:pt x="146" y="254"/>
                </a:lnTo>
                <a:lnTo>
                  <a:pt x="165" y="254"/>
                </a:lnTo>
                <a:lnTo>
                  <a:pt x="214" y="254"/>
                </a:lnTo>
                <a:lnTo>
                  <a:pt x="234" y="244"/>
                </a:lnTo>
                <a:lnTo>
                  <a:pt x="243" y="244"/>
                </a:lnTo>
                <a:lnTo>
                  <a:pt x="263" y="244"/>
                </a:lnTo>
                <a:lnTo>
                  <a:pt x="263" y="264"/>
                </a:lnTo>
                <a:lnTo>
                  <a:pt x="282" y="274"/>
                </a:lnTo>
                <a:lnTo>
                  <a:pt x="302" y="283"/>
                </a:lnTo>
                <a:lnTo>
                  <a:pt x="312" y="293"/>
                </a:lnTo>
                <a:lnTo>
                  <a:pt x="331" y="283"/>
                </a:lnTo>
                <a:lnTo>
                  <a:pt x="341" y="274"/>
                </a:lnTo>
                <a:lnTo>
                  <a:pt x="361" y="264"/>
                </a:lnTo>
                <a:lnTo>
                  <a:pt x="380" y="274"/>
                </a:lnTo>
                <a:lnTo>
                  <a:pt x="409" y="274"/>
                </a:lnTo>
                <a:lnTo>
                  <a:pt x="439" y="274"/>
                </a:lnTo>
                <a:lnTo>
                  <a:pt x="458" y="254"/>
                </a:lnTo>
                <a:lnTo>
                  <a:pt x="458" y="235"/>
                </a:lnTo>
                <a:lnTo>
                  <a:pt x="468" y="225"/>
                </a:lnTo>
                <a:lnTo>
                  <a:pt x="478" y="215"/>
                </a:lnTo>
                <a:lnTo>
                  <a:pt x="478" y="205"/>
                </a:lnTo>
                <a:close/>
              </a:path>
            </a:pathLst>
          </a:custGeom>
          <a:solidFill>
            <a:srgbClr val="CCECFF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53" name="Freeform 389"/>
          <p:cNvSpPr>
            <a:spLocks noChangeAspect="1"/>
          </p:cNvSpPr>
          <p:nvPr>
            <p:custDataLst>
              <p:tags r:id="rId19"/>
            </p:custDataLst>
          </p:nvPr>
        </p:nvSpPr>
        <p:spPr bwMode="auto">
          <a:xfrm>
            <a:off x="3017838" y="3959225"/>
            <a:ext cx="317500" cy="180975"/>
          </a:xfrm>
          <a:custGeom>
            <a:avLst/>
            <a:gdLst>
              <a:gd name="T0" fmla="*/ 304215 w 478"/>
              <a:gd name="T1" fmla="*/ 114885 h 293"/>
              <a:gd name="T2" fmla="*/ 291595 w 478"/>
              <a:gd name="T3" fmla="*/ 108709 h 293"/>
              <a:gd name="T4" fmla="*/ 265690 w 478"/>
              <a:gd name="T5" fmla="*/ 114885 h 293"/>
              <a:gd name="T6" fmla="*/ 239786 w 478"/>
              <a:gd name="T7" fmla="*/ 114885 h 293"/>
              <a:gd name="T8" fmla="*/ 226501 w 478"/>
              <a:gd name="T9" fmla="*/ 96973 h 293"/>
              <a:gd name="T10" fmla="*/ 207239 w 478"/>
              <a:gd name="T11" fmla="*/ 66707 h 293"/>
              <a:gd name="T12" fmla="*/ 200596 w 478"/>
              <a:gd name="T13" fmla="*/ 48795 h 293"/>
              <a:gd name="T14" fmla="*/ 187312 w 478"/>
              <a:gd name="T15" fmla="*/ 30265 h 293"/>
              <a:gd name="T16" fmla="*/ 174691 w 478"/>
              <a:gd name="T17" fmla="*/ 18530 h 293"/>
              <a:gd name="T18" fmla="*/ 161407 w 478"/>
              <a:gd name="T19" fmla="*/ 6177 h 293"/>
              <a:gd name="T20" fmla="*/ 155429 w 478"/>
              <a:gd name="T21" fmla="*/ 12353 h 293"/>
              <a:gd name="T22" fmla="*/ 116240 w 478"/>
              <a:gd name="T23" fmla="*/ 0 h 293"/>
              <a:gd name="T24" fmla="*/ 96977 w 478"/>
              <a:gd name="T25" fmla="*/ 12353 h 293"/>
              <a:gd name="T26" fmla="*/ 77714 w 478"/>
              <a:gd name="T27" fmla="*/ 18530 h 293"/>
              <a:gd name="T28" fmla="*/ 51810 w 478"/>
              <a:gd name="T29" fmla="*/ 24706 h 293"/>
              <a:gd name="T30" fmla="*/ 38525 w 478"/>
              <a:gd name="T31" fmla="*/ 36442 h 293"/>
              <a:gd name="T32" fmla="*/ 25905 w 478"/>
              <a:gd name="T33" fmla="*/ 36442 h 293"/>
              <a:gd name="T34" fmla="*/ 12620 w 478"/>
              <a:gd name="T35" fmla="*/ 54354 h 293"/>
              <a:gd name="T36" fmla="*/ 0 w 478"/>
              <a:gd name="T37" fmla="*/ 54354 h 293"/>
              <a:gd name="T38" fmla="*/ 19263 w 478"/>
              <a:gd name="T39" fmla="*/ 72884 h 293"/>
              <a:gd name="T40" fmla="*/ 31883 w 478"/>
              <a:gd name="T41" fmla="*/ 84620 h 293"/>
              <a:gd name="T42" fmla="*/ 51810 w 478"/>
              <a:gd name="T43" fmla="*/ 78443 h 293"/>
              <a:gd name="T44" fmla="*/ 57788 w 478"/>
              <a:gd name="T45" fmla="*/ 96973 h 293"/>
              <a:gd name="T46" fmla="*/ 77714 w 478"/>
              <a:gd name="T47" fmla="*/ 102532 h 293"/>
              <a:gd name="T48" fmla="*/ 71072 w 478"/>
              <a:gd name="T49" fmla="*/ 114885 h 293"/>
              <a:gd name="T50" fmla="*/ 77714 w 478"/>
              <a:gd name="T51" fmla="*/ 132797 h 293"/>
              <a:gd name="T52" fmla="*/ 90335 w 478"/>
              <a:gd name="T53" fmla="*/ 132797 h 293"/>
              <a:gd name="T54" fmla="*/ 96977 w 478"/>
              <a:gd name="T55" fmla="*/ 156886 h 293"/>
              <a:gd name="T56" fmla="*/ 142144 w 478"/>
              <a:gd name="T57" fmla="*/ 163063 h 293"/>
              <a:gd name="T58" fmla="*/ 155429 w 478"/>
              <a:gd name="T59" fmla="*/ 150710 h 293"/>
              <a:gd name="T60" fmla="*/ 174691 w 478"/>
              <a:gd name="T61" fmla="*/ 163063 h 293"/>
              <a:gd name="T62" fmla="*/ 200596 w 478"/>
              <a:gd name="T63" fmla="*/ 174798 h 293"/>
              <a:gd name="T64" fmla="*/ 219859 w 478"/>
              <a:gd name="T65" fmla="*/ 174798 h 293"/>
              <a:gd name="T66" fmla="*/ 239786 w 478"/>
              <a:gd name="T67" fmla="*/ 163063 h 293"/>
              <a:gd name="T68" fmla="*/ 271668 w 478"/>
              <a:gd name="T69" fmla="*/ 174798 h 293"/>
              <a:gd name="T70" fmla="*/ 304215 w 478"/>
              <a:gd name="T71" fmla="*/ 163063 h 293"/>
              <a:gd name="T72" fmla="*/ 310858 w 478"/>
              <a:gd name="T73" fmla="*/ 138974 h 293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478"/>
              <a:gd name="T112" fmla="*/ 0 h 293"/>
              <a:gd name="T113" fmla="*/ 478 w 478"/>
              <a:gd name="T114" fmla="*/ 293 h 293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478" h="293">
                <a:moveTo>
                  <a:pt x="478" y="205"/>
                </a:moveTo>
                <a:lnTo>
                  <a:pt x="458" y="186"/>
                </a:lnTo>
                <a:lnTo>
                  <a:pt x="448" y="176"/>
                </a:lnTo>
                <a:lnTo>
                  <a:pt x="439" y="176"/>
                </a:lnTo>
                <a:lnTo>
                  <a:pt x="419" y="196"/>
                </a:lnTo>
                <a:lnTo>
                  <a:pt x="400" y="186"/>
                </a:lnTo>
                <a:lnTo>
                  <a:pt x="380" y="196"/>
                </a:lnTo>
                <a:lnTo>
                  <a:pt x="361" y="186"/>
                </a:lnTo>
                <a:lnTo>
                  <a:pt x="361" y="166"/>
                </a:lnTo>
                <a:lnTo>
                  <a:pt x="341" y="157"/>
                </a:lnTo>
                <a:lnTo>
                  <a:pt x="331" y="137"/>
                </a:lnTo>
                <a:lnTo>
                  <a:pt x="312" y="108"/>
                </a:lnTo>
                <a:lnTo>
                  <a:pt x="302" y="98"/>
                </a:lnTo>
                <a:lnTo>
                  <a:pt x="302" y="79"/>
                </a:lnTo>
                <a:lnTo>
                  <a:pt x="292" y="59"/>
                </a:lnTo>
                <a:lnTo>
                  <a:pt x="282" y="49"/>
                </a:lnTo>
                <a:lnTo>
                  <a:pt x="263" y="49"/>
                </a:lnTo>
                <a:lnTo>
                  <a:pt x="263" y="30"/>
                </a:lnTo>
                <a:lnTo>
                  <a:pt x="253" y="30"/>
                </a:lnTo>
                <a:lnTo>
                  <a:pt x="243" y="10"/>
                </a:lnTo>
                <a:lnTo>
                  <a:pt x="234" y="0"/>
                </a:lnTo>
                <a:lnTo>
                  <a:pt x="234" y="20"/>
                </a:lnTo>
                <a:lnTo>
                  <a:pt x="214" y="30"/>
                </a:lnTo>
                <a:lnTo>
                  <a:pt x="175" y="0"/>
                </a:lnTo>
                <a:lnTo>
                  <a:pt x="156" y="10"/>
                </a:lnTo>
                <a:lnTo>
                  <a:pt x="146" y="20"/>
                </a:lnTo>
                <a:lnTo>
                  <a:pt x="136" y="20"/>
                </a:lnTo>
                <a:lnTo>
                  <a:pt x="117" y="30"/>
                </a:lnTo>
                <a:lnTo>
                  <a:pt x="97" y="40"/>
                </a:lnTo>
                <a:lnTo>
                  <a:pt x="78" y="40"/>
                </a:lnTo>
                <a:lnTo>
                  <a:pt x="68" y="49"/>
                </a:lnTo>
                <a:lnTo>
                  <a:pt x="58" y="59"/>
                </a:lnTo>
                <a:lnTo>
                  <a:pt x="48" y="59"/>
                </a:lnTo>
                <a:lnTo>
                  <a:pt x="39" y="59"/>
                </a:lnTo>
                <a:lnTo>
                  <a:pt x="29" y="79"/>
                </a:lnTo>
                <a:lnTo>
                  <a:pt x="19" y="88"/>
                </a:lnTo>
                <a:lnTo>
                  <a:pt x="9" y="88"/>
                </a:lnTo>
                <a:lnTo>
                  <a:pt x="0" y="88"/>
                </a:lnTo>
                <a:lnTo>
                  <a:pt x="0" y="98"/>
                </a:lnTo>
                <a:lnTo>
                  <a:pt x="29" y="118"/>
                </a:lnTo>
                <a:lnTo>
                  <a:pt x="39" y="137"/>
                </a:lnTo>
                <a:lnTo>
                  <a:pt x="48" y="137"/>
                </a:lnTo>
                <a:lnTo>
                  <a:pt x="58" y="127"/>
                </a:lnTo>
                <a:lnTo>
                  <a:pt x="78" y="127"/>
                </a:lnTo>
                <a:lnTo>
                  <a:pt x="78" y="137"/>
                </a:lnTo>
                <a:lnTo>
                  <a:pt x="87" y="157"/>
                </a:lnTo>
                <a:lnTo>
                  <a:pt x="107" y="166"/>
                </a:lnTo>
                <a:lnTo>
                  <a:pt x="117" y="166"/>
                </a:lnTo>
                <a:lnTo>
                  <a:pt x="117" y="186"/>
                </a:lnTo>
                <a:lnTo>
                  <a:pt x="107" y="186"/>
                </a:lnTo>
                <a:lnTo>
                  <a:pt x="97" y="205"/>
                </a:lnTo>
                <a:lnTo>
                  <a:pt x="117" y="215"/>
                </a:lnTo>
                <a:lnTo>
                  <a:pt x="126" y="225"/>
                </a:lnTo>
                <a:lnTo>
                  <a:pt x="136" y="215"/>
                </a:lnTo>
                <a:lnTo>
                  <a:pt x="136" y="244"/>
                </a:lnTo>
                <a:lnTo>
                  <a:pt x="146" y="254"/>
                </a:lnTo>
                <a:lnTo>
                  <a:pt x="165" y="264"/>
                </a:lnTo>
                <a:lnTo>
                  <a:pt x="214" y="264"/>
                </a:lnTo>
                <a:lnTo>
                  <a:pt x="234" y="244"/>
                </a:lnTo>
                <a:lnTo>
                  <a:pt x="263" y="244"/>
                </a:lnTo>
                <a:lnTo>
                  <a:pt x="263" y="264"/>
                </a:lnTo>
                <a:lnTo>
                  <a:pt x="282" y="274"/>
                </a:lnTo>
                <a:lnTo>
                  <a:pt x="302" y="283"/>
                </a:lnTo>
                <a:lnTo>
                  <a:pt x="312" y="293"/>
                </a:lnTo>
                <a:lnTo>
                  <a:pt x="331" y="283"/>
                </a:lnTo>
                <a:lnTo>
                  <a:pt x="341" y="283"/>
                </a:lnTo>
                <a:lnTo>
                  <a:pt x="361" y="264"/>
                </a:lnTo>
                <a:lnTo>
                  <a:pt x="380" y="274"/>
                </a:lnTo>
                <a:lnTo>
                  <a:pt x="409" y="283"/>
                </a:lnTo>
                <a:lnTo>
                  <a:pt x="439" y="283"/>
                </a:lnTo>
                <a:lnTo>
                  <a:pt x="458" y="264"/>
                </a:lnTo>
                <a:lnTo>
                  <a:pt x="458" y="235"/>
                </a:lnTo>
                <a:lnTo>
                  <a:pt x="468" y="225"/>
                </a:lnTo>
                <a:lnTo>
                  <a:pt x="478" y="215"/>
                </a:lnTo>
              </a:path>
            </a:pathLst>
          </a:custGeom>
          <a:noFill/>
          <a:ln w="6350" cap="rnd">
            <a:solidFill>
              <a:srgbClr val="4C7445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54" name="Freeform 388"/>
          <p:cNvSpPr>
            <a:spLocks noChangeAspect="1"/>
          </p:cNvSpPr>
          <p:nvPr>
            <p:custDataLst>
              <p:tags r:id="rId20"/>
            </p:custDataLst>
          </p:nvPr>
        </p:nvSpPr>
        <p:spPr bwMode="auto">
          <a:xfrm>
            <a:off x="3171825" y="4014788"/>
            <a:ext cx="377825" cy="369887"/>
          </a:xfrm>
          <a:custGeom>
            <a:avLst/>
            <a:gdLst>
              <a:gd name="T0" fmla="*/ 130400 w 565"/>
              <a:gd name="T1" fmla="*/ 340048 h 595"/>
              <a:gd name="T2" fmla="*/ 149793 w 565"/>
              <a:gd name="T3" fmla="*/ 303370 h 595"/>
              <a:gd name="T4" fmla="*/ 201952 w 565"/>
              <a:gd name="T5" fmla="*/ 297154 h 595"/>
              <a:gd name="T6" fmla="*/ 215327 w 565"/>
              <a:gd name="T7" fmla="*/ 261097 h 595"/>
              <a:gd name="T8" fmla="*/ 254112 w 565"/>
              <a:gd name="T9" fmla="*/ 254881 h 595"/>
              <a:gd name="T10" fmla="*/ 293567 w 565"/>
              <a:gd name="T11" fmla="*/ 291559 h 595"/>
              <a:gd name="T12" fmla="*/ 312959 w 565"/>
              <a:gd name="T13" fmla="*/ 272909 h 595"/>
              <a:gd name="T14" fmla="*/ 325665 w 565"/>
              <a:gd name="T15" fmla="*/ 254881 h 595"/>
              <a:gd name="T16" fmla="*/ 351745 w 565"/>
              <a:gd name="T17" fmla="*/ 218824 h 595"/>
              <a:gd name="T18" fmla="*/ 377825 w 565"/>
              <a:gd name="T19" fmla="*/ 200175 h 595"/>
              <a:gd name="T20" fmla="*/ 351745 w 565"/>
              <a:gd name="T21" fmla="*/ 175930 h 595"/>
              <a:gd name="T22" fmla="*/ 332352 w 565"/>
              <a:gd name="T23" fmla="*/ 157902 h 595"/>
              <a:gd name="T24" fmla="*/ 306272 w 565"/>
              <a:gd name="T25" fmla="*/ 139874 h 595"/>
              <a:gd name="T26" fmla="*/ 247425 w 565"/>
              <a:gd name="T27" fmla="*/ 133657 h 595"/>
              <a:gd name="T28" fmla="*/ 215327 w 565"/>
              <a:gd name="T29" fmla="*/ 151685 h 595"/>
              <a:gd name="T30" fmla="*/ 215327 w 565"/>
              <a:gd name="T31" fmla="*/ 127440 h 595"/>
              <a:gd name="T32" fmla="*/ 215327 w 565"/>
              <a:gd name="T33" fmla="*/ 103196 h 595"/>
              <a:gd name="T34" fmla="*/ 241407 w 565"/>
              <a:gd name="T35" fmla="*/ 72734 h 595"/>
              <a:gd name="T36" fmla="*/ 247425 w 565"/>
              <a:gd name="T37" fmla="*/ 67139 h 595"/>
              <a:gd name="T38" fmla="*/ 247425 w 565"/>
              <a:gd name="T39" fmla="*/ 30461 h 595"/>
              <a:gd name="T40" fmla="*/ 234720 w 565"/>
              <a:gd name="T41" fmla="*/ 6217 h 595"/>
              <a:gd name="T42" fmla="*/ 215327 w 565"/>
              <a:gd name="T43" fmla="*/ 24245 h 595"/>
              <a:gd name="T44" fmla="*/ 182560 w 565"/>
              <a:gd name="T45" fmla="*/ 24245 h 595"/>
              <a:gd name="T46" fmla="*/ 163167 w 565"/>
              <a:gd name="T47" fmla="*/ 30461 h 595"/>
              <a:gd name="T48" fmla="*/ 175873 w 565"/>
              <a:gd name="T49" fmla="*/ 48490 h 595"/>
              <a:gd name="T50" fmla="*/ 163167 w 565"/>
              <a:gd name="T51" fmla="*/ 72734 h 595"/>
              <a:gd name="T52" fmla="*/ 149793 w 565"/>
              <a:gd name="T53" fmla="*/ 91384 h 595"/>
              <a:gd name="T54" fmla="*/ 117025 w 565"/>
              <a:gd name="T55" fmla="*/ 115629 h 595"/>
              <a:gd name="T56" fmla="*/ 71553 w 565"/>
              <a:gd name="T57" fmla="*/ 115629 h 595"/>
              <a:gd name="T58" fmla="*/ 58847 w 565"/>
              <a:gd name="T59" fmla="*/ 139874 h 595"/>
              <a:gd name="T60" fmla="*/ 71553 w 565"/>
              <a:gd name="T61" fmla="*/ 169713 h 595"/>
              <a:gd name="T62" fmla="*/ 45473 w 565"/>
              <a:gd name="T63" fmla="*/ 175930 h 595"/>
              <a:gd name="T64" fmla="*/ 19393 w 565"/>
              <a:gd name="T65" fmla="*/ 175930 h 595"/>
              <a:gd name="T66" fmla="*/ 0 w 565"/>
              <a:gd name="T67" fmla="*/ 194580 h 595"/>
              <a:gd name="T68" fmla="*/ 6018 w 565"/>
              <a:gd name="T69" fmla="*/ 212608 h 595"/>
              <a:gd name="T70" fmla="*/ 32098 w 565"/>
              <a:gd name="T71" fmla="*/ 218824 h 595"/>
              <a:gd name="T72" fmla="*/ 71553 w 565"/>
              <a:gd name="T73" fmla="*/ 230636 h 595"/>
              <a:gd name="T74" fmla="*/ 90945 w 565"/>
              <a:gd name="T75" fmla="*/ 243069 h 595"/>
              <a:gd name="T76" fmla="*/ 90945 w 565"/>
              <a:gd name="T77" fmla="*/ 267314 h 595"/>
              <a:gd name="T78" fmla="*/ 84927 w 565"/>
              <a:gd name="T79" fmla="*/ 297154 h 595"/>
              <a:gd name="T80" fmla="*/ 90945 w 565"/>
              <a:gd name="T81" fmla="*/ 327615 h 595"/>
              <a:gd name="T82" fmla="*/ 97633 w 565"/>
              <a:gd name="T83" fmla="*/ 364293 h 595"/>
              <a:gd name="T84" fmla="*/ 111007 w 565"/>
              <a:gd name="T85" fmla="*/ 358076 h 59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565"/>
              <a:gd name="T130" fmla="*/ 0 h 595"/>
              <a:gd name="T131" fmla="*/ 565 w 565"/>
              <a:gd name="T132" fmla="*/ 595 h 595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565" h="595">
                <a:moveTo>
                  <a:pt x="166" y="547"/>
                </a:moveTo>
                <a:lnTo>
                  <a:pt x="185" y="537"/>
                </a:lnTo>
                <a:lnTo>
                  <a:pt x="195" y="547"/>
                </a:lnTo>
                <a:lnTo>
                  <a:pt x="214" y="537"/>
                </a:lnTo>
                <a:lnTo>
                  <a:pt x="214" y="508"/>
                </a:lnTo>
                <a:lnTo>
                  <a:pt x="224" y="488"/>
                </a:lnTo>
                <a:lnTo>
                  <a:pt x="244" y="469"/>
                </a:lnTo>
                <a:lnTo>
                  <a:pt x="273" y="488"/>
                </a:lnTo>
                <a:lnTo>
                  <a:pt x="302" y="478"/>
                </a:lnTo>
                <a:lnTo>
                  <a:pt x="312" y="449"/>
                </a:lnTo>
                <a:lnTo>
                  <a:pt x="331" y="439"/>
                </a:lnTo>
                <a:lnTo>
                  <a:pt x="322" y="420"/>
                </a:lnTo>
                <a:lnTo>
                  <a:pt x="341" y="410"/>
                </a:lnTo>
                <a:lnTo>
                  <a:pt x="361" y="410"/>
                </a:lnTo>
                <a:lnTo>
                  <a:pt x="380" y="410"/>
                </a:lnTo>
                <a:lnTo>
                  <a:pt x="400" y="430"/>
                </a:lnTo>
                <a:lnTo>
                  <a:pt x="419" y="439"/>
                </a:lnTo>
                <a:lnTo>
                  <a:pt x="439" y="469"/>
                </a:lnTo>
                <a:lnTo>
                  <a:pt x="458" y="469"/>
                </a:lnTo>
                <a:lnTo>
                  <a:pt x="468" y="469"/>
                </a:lnTo>
                <a:lnTo>
                  <a:pt x="468" y="439"/>
                </a:lnTo>
                <a:lnTo>
                  <a:pt x="478" y="420"/>
                </a:lnTo>
                <a:lnTo>
                  <a:pt x="497" y="410"/>
                </a:lnTo>
                <a:lnTo>
                  <a:pt x="487" y="410"/>
                </a:lnTo>
                <a:lnTo>
                  <a:pt x="487" y="391"/>
                </a:lnTo>
                <a:lnTo>
                  <a:pt x="487" y="381"/>
                </a:lnTo>
                <a:lnTo>
                  <a:pt x="526" y="352"/>
                </a:lnTo>
                <a:lnTo>
                  <a:pt x="536" y="361"/>
                </a:lnTo>
                <a:lnTo>
                  <a:pt x="565" y="342"/>
                </a:lnTo>
                <a:lnTo>
                  <a:pt x="565" y="322"/>
                </a:lnTo>
                <a:lnTo>
                  <a:pt x="565" y="303"/>
                </a:lnTo>
                <a:lnTo>
                  <a:pt x="556" y="303"/>
                </a:lnTo>
                <a:lnTo>
                  <a:pt x="526" y="283"/>
                </a:lnTo>
                <a:lnTo>
                  <a:pt x="517" y="273"/>
                </a:lnTo>
                <a:lnTo>
                  <a:pt x="507" y="244"/>
                </a:lnTo>
                <a:lnTo>
                  <a:pt x="497" y="254"/>
                </a:lnTo>
                <a:lnTo>
                  <a:pt x="468" y="264"/>
                </a:lnTo>
                <a:lnTo>
                  <a:pt x="468" y="244"/>
                </a:lnTo>
                <a:lnTo>
                  <a:pt x="458" y="225"/>
                </a:lnTo>
                <a:lnTo>
                  <a:pt x="429" y="234"/>
                </a:lnTo>
                <a:lnTo>
                  <a:pt x="400" y="225"/>
                </a:lnTo>
                <a:lnTo>
                  <a:pt x="370" y="215"/>
                </a:lnTo>
                <a:lnTo>
                  <a:pt x="341" y="234"/>
                </a:lnTo>
                <a:lnTo>
                  <a:pt x="331" y="254"/>
                </a:lnTo>
                <a:lnTo>
                  <a:pt x="322" y="244"/>
                </a:lnTo>
                <a:lnTo>
                  <a:pt x="322" y="234"/>
                </a:lnTo>
                <a:lnTo>
                  <a:pt x="331" y="225"/>
                </a:lnTo>
                <a:lnTo>
                  <a:pt x="322" y="205"/>
                </a:lnTo>
                <a:lnTo>
                  <a:pt x="341" y="186"/>
                </a:lnTo>
                <a:lnTo>
                  <a:pt x="322" y="166"/>
                </a:lnTo>
                <a:lnTo>
                  <a:pt x="322" y="156"/>
                </a:lnTo>
                <a:lnTo>
                  <a:pt x="331" y="147"/>
                </a:lnTo>
                <a:lnTo>
                  <a:pt x="361" y="117"/>
                </a:lnTo>
                <a:lnTo>
                  <a:pt x="361" y="127"/>
                </a:lnTo>
                <a:lnTo>
                  <a:pt x="370" y="117"/>
                </a:lnTo>
                <a:lnTo>
                  <a:pt x="370" y="108"/>
                </a:lnTo>
                <a:lnTo>
                  <a:pt x="380" y="88"/>
                </a:lnTo>
                <a:lnTo>
                  <a:pt x="400" y="59"/>
                </a:lnTo>
                <a:lnTo>
                  <a:pt x="370" y="49"/>
                </a:lnTo>
                <a:lnTo>
                  <a:pt x="400" y="30"/>
                </a:lnTo>
                <a:lnTo>
                  <a:pt x="370" y="0"/>
                </a:lnTo>
                <a:lnTo>
                  <a:pt x="351" y="10"/>
                </a:lnTo>
                <a:lnTo>
                  <a:pt x="341" y="30"/>
                </a:lnTo>
                <a:lnTo>
                  <a:pt x="331" y="39"/>
                </a:lnTo>
                <a:lnTo>
                  <a:pt x="322" y="39"/>
                </a:lnTo>
                <a:lnTo>
                  <a:pt x="302" y="39"/>
                </a:lnTo>
                <a:lnTo>
                  <a:pt x="283" y="49"/>
                </a:lnTo>
                <a:lnTo>
                  <a:pt x="273" y="39"/>
                </a:lnTo>
                <a:lnTo>
                  <a:pt x="263" y="30"/>
                </a:lnTo>
                <a:lnTo>
                  <a:pt x="253" y="39"/>
                </a:lnTo>
                <a:lnTo>
                  <a:pt x="244" y="49"/>
                </a:lnTo>
                <a:lnTo>
                  <a:pt x="263" y="59"/>
                </a:lnTo>
                <a:lnTo>
                  <a:pt x="273" y="69"/>
                </a:lnTo>
                <a:lnTo>
                  <a:pt x="263" y="78"/>
                </a:lnTo>
                <a:lnTo>
                  <a:pt x="263" y="98"/>
                </a:lnTo>
                <a:lnTo>
                  <a:pt x="253" y="108"/>
                </a:lnTo>
                <a:lnTo>
                  <a:pt x="244" y="117"/>
                </a:lnTo>
                <a:lnTo>
                  <a:pt x="244" y="127"/>
                </a:lnTo>
                <a:lnTo>
                  <a:pt x="234" y="127"/>
                </a:lnTo>
                <a:lnTo>
                  <a:pt x="224" y="147"/>
                </a:lnTo>
                <a:lnTo>
                  <a:pt x="224" y="166"/>
                </a:lnTo>
                <a:lnTo>
                  <a:pt x="205" y="186"/>
                </a:lnTo>
                <a:lnTo>
                  <a:pt x="175" y="186"/>
                </a:lnTo>
                <a:lnTo>
                  <a:pt x="146" y="186"/>
                </a:lnTo>
                <a:lnTo>
                  <a:pt x="127" y="176"/>
                </a:lnTo>
                <a:lnTo>
                  <a:pt x="107" y="186"/>
                </a:lnTo>
                <a:lnTo>
                  <a:pt x="97" y="195"/>
                </a:lnTo>
                <a:lnTo>
                  <a:pt x="78" y="205"/>
                </a:lnTo>
                <a:lnTo>
                  <a:pt x="88" y="225"/>
                </a:lnTo>
                <a:lnTo>
                  <a:pt x="107" y="244"/>
                </a:lnTo>
                <a:lnTo>
                  <a:pt x="117" y="254"/>
                </a:lnTo>
                <a:lnTo>
                  <a:pt x="107" y="273"/>
                </a:lnTo>
                <a:lnTo>
                  <a:pt x="97" y="283"/>
                </a:lnTo>
                <a:lnTo>
                  <a:pt x="78" y="293"/>
                </a:lnTo>
                <a:lnTo>
                  <a:pt x="68" y="283"/>
                </a:lnTo>
                <a:lnTo>
                  <a:pt x="48" y="273"/>
                </a:lnTo>
                <a:lnTo>
                  <a:pt x="39" y="273"/>
                </a:lnTo>
                <a:lnTo>
                  <a:pt x="29" y="283"/>
                </a:lnTo>
                <a:lnTo>
                  <a:pt x="29" y="293"/>
                </a:lnTo>
                <a:lnTo>
                  <a:pt x="9" y="303"/>
                </a:lnTo>
                <a:lnTo>
                  <a:pt x="0" y="313"/>
                </a:lnTo>
                <a:lnTo>
                  <a:pt x="9" y="322"/>
                </a:lnTo>
                <a:lnTo>
                  <a:pt x="9" y="332"/>
                </a:lnTo>
                <a:lnTo>
                  <a:pt x="9" y="342"/>
                </a:lnTo>
                <a:lnTo>
                  <a:pt x="9" y="352"/>
                </a:lnTo>
                <a:lnTo>
                  <a:pt x="29" y="352"/>
                </a:lnTo>
                <a:lnTo>
                  <a:pt x="48" y="352"/>
                </a:lnTo>
                <a:lnTo>
                  <a:pt x="58" y="361"/>
                </a:lnTo>
                <a:lnTo>
                  <a:pt x="88" y="361"/>
                </a:lnTo>
                <a:lnTo>
                  <a:pt x="107" y="371"/>
                </a:lnTo>
                <a:lnTo>
                  <a:pt x="107" y="391"/>
                </a:lnTo>
                <a:lnTo>
                  <a:pt x="127" y="381"/>
                </a:lnTo>
                <a:lnTo>
                  <a:pt x="136" y="391"/>
                </a:lnTo>
                <a:lnTo>
                  <a:pt x="127" y="410"/>
                </a:lnTo>
                <a:lnTo>
                  <a:pt x="146" y="420"/>
                </a:lnTo>
                <a:lnTo>
                  <a:pt x="136" y="430"/>
                </a:lnTo>
                <a:lnTo>
                  <a:pt x="136" y="439"/>
                </a:lnTo>
                <a:lnTo>
                  <a:pt x="136" y="459"/>
                </a:lnTo>
                <a:lnTo>
                  <a:pt x="127" y="478"/>
                </a:lnTo>
                <a:lnTo>
                  <a:pt x="136" y="488"/>
                </a:lnTo>
                <a:lnTo>
                  <a:pt x="136" y="527"/>
                </a:lnTo>
                <a:lnTo>
                  <a:pt x="146" y="537"/>
                </a:lnTo>
                <a:lnTo>
                  <a:pt x="136" y="556"/>
                </a:lnTo>
                <a:lnTo>
                  <a:pt x="146" y="586"/>
                </a:lnTo>
                <a:lnTo>
                  <a:pt x="146" y="595"/>
                </a:lnTo>
                <a:lnTo>
                  <a:pt x="166" y="586"/>
                </a:lnTo>
                <a:lnTo>
                  <a:pt x="166" y="576"/>
                </a:lnTo>
                <a:lnTo>
                  <a:pt x="175" y="556"/>
                </a:lnTo>
                <a:lnTo>
                  <a:pt x="166" y="547"/>
                </a:lnTo>
                <a:close/>
              </a:path>
            </a:pathLst>
          </a:custGeom>
          <a:solidFill>
            <a:srgbClr val="DEC2B3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grpSp>
        <p:nvGrpSpPr>
          <p:cNvPr id="18455" name="Group 384"/>
          <p:cNvGrpSpPr>
            <a:grpSpLocks noChangeAspect="1"/>
          </p:cNvGrpSpPr>
          <p:nvPr>
            <p:custDataLst>
              <p:tags r:id="rId21"/>
            </p:custDataLst>
          </p:nvPr>
        </p:nvGrpSpPr>
        <p:grpSpPr bwMode="auto">
          <a:xfrm>
            <a:off x="2565400" y="3784600"/>
            <a:ext cx="222250" cy="155575"/>
            <a:chOff x="1366" y="1503"/>
            <a:chExt cx="331" cy="253"/>
          </a:xfrm>
        </p:grpSpPr>
        <p:sp>
          <p:nvSpPr>
            <p:cNvPr id="18806" name="Freeform 386"/>
            <p:cNvSpPr>
              <a:spLocks noChangeAspect="1"/>
            </p:cNvSpPr>
            <p:nvPr/>
          </p:nvSpPr>
          <p:spPr bwMode="auto">
            <a:xfrm>
              <a:off x="1366" y="1503"/>
              <a:ext cx="331" cy="253"/>
            </a:xfrm>
            <a:custGeom>
              <a:avLst/>
              <a:gdLst>
                <a:gd name="T0" fmla="*/ 146 w 331"/>
                <a:gd name="T1" fmla="*/ 214 h 253"/>
                <a:gd name="T2" fmla="*/ 117 w 331"/>
                <a:gd name="T3" fmla="*/ 224 h 253"/>
                <a:gd name="T4" fmla="*/ 97 w 331"/>
                <a:gd name="T5" fmla="*/ 234 h 253"/>
                <a:gd name="T6" fmla="*/ 87 w 331"/>
                <a:gd name="T7" fmla="*/ 234 h 253"/>
                <a:gd name="T8" fmla="*/ 78 w 331"/>
                <a:gd name="T9" fmla="*/ 234 h 253"/>
                <a:gd name="T10" fmla="*/ 48 w 331"/>
                <a:gd name="T11" fmla="*/ 234 h 253"/>
                <a:gd name="T12" fmla="*/ 19 w 331"/>
                <a:gd name="T13" fmla="*/ 234 h 253"/>
                <a:gd name="T14" fmla="*/ 9 w 331"/>
                <a:gd name="T15" fmla="*/ 234 h 253"/>
                <a:gd name="T16" fmla="*/ 0 w 331"/>
                <a:gd name="T17" fmla="*/ 214 h 253"/>
                <a:gd name="T18" fmla="*/ 9 w 331"/>
                <a:gd name="T19" fmla="*/ 195 h 253"/>
                <a:gd name="T20" fmla="*/ 9 w 331"/>
                <a:gd name="T21" fmla="*/ 195 h 253"/>
                <a:gd name="T22" fmla="*/ 0 w 331"/>
                <a:gd name="T23" fmla="*/ 175 h 253"/>
                <a:gd name="T24" fmla="*/ 0 w 331"/>
                <a:gd name="T25" fmla="*/ 156 h 253"/>
                <a:gd name="T26" fmla="*/ 19 w 331"/>
                <a:gd name="T27" fmla="*/ 156 h 253"/>
                <a:gd name="T28" fmla="*/ 29 w 331"/>
                <a:gd name="T29" fmla="*/ 136 h 253"/>
                <a:gd name="T30" fmla="*/ 29 w 331"/>
                <a:gd name="T31" fmla="*/ 117 h 253"/>
                <a:gd name="T32" fmla="*/ 29 w 331"/>
                <a:gd name="T33" fmla="*/ 97 h 253"/>
                <a:gd name="T34" fmla="*/ 39 w 331"/>
                <a:gd name="T35" fmla="*/ 97 h 253"/>
                <a:gd name="T36" fmla="*/ 48 w 331"/>
                <a:gd name="T37" fmla="*/ 78 h 253"/>
                <a:gd name="T38" fmla="*/ 68 w 331"/>
                <a:gd name="T39" fmla="*/ 68 h 253"/>
                <a:gd name="T40" fmla="*/ 68 w 331"/>
                <a:gd name="T41" fmla="*/ 48 h 253"/>
                <a:gd name="T42" fmla="*/ 68 w 331"/>
                <a:gd name="T43" fmla="*/ 39 h 253"/>
                <a:gd name="T44" fmla="*/ 87 w 331"/>
                <a:gd name="T45" fmla="*/ 39 h 253"/>
                <a:gd name="T46" fmla="*/ 97 w 331"/>
                <a:gd name="T47" fmla="*/ 39 h 253"/>
                <a:gd name="T48" fmla="*/ 107 w 331"/>
                <a:gd name="T49" fmla="*/ 29 h 253"/>
                <a:gd name="T50" fmla="*/ 107 w 331"/>
                <a:gd name="T51" fmla="*/ 19 h 253"/>
                <a:gd name="T52" fmla="*/ 117 w 331"/>
                <a:gd name="T53" fmla="*/ 9 h 253"/>
                <a:gd name="T54" fmla="*/ 136 w 331"/>
                <a:gd name="T55" fmla="*/ 9 h 253"/>
                <a:gd name="T56" fmla="*/ 146 w 331"/>
                <a:gd name="T57" fmla="*/ 0 h 253"/>
                <a:gd name="T58" fmla="*/ 156 w 331"/>
                <a:gd name="T59" fmla="*/ 0 h 253"/>
                <a:gd name="T60" fmla="*/ 165 w 331"/>
                <a:gd name="T61" fmla="*/ 9 h 253"/>
                <a:gd name="T62" fmla="*/ 165 w 331"/>
                <a:gd name="T63" fmla="*/ 29 h 253"/>
                <a:gd name="T64" fmla="*/ 175 w 331"/>
                <a:gd name="T65" fmla="*/ 39 h 253"/>
                <a:gd name="T66" fmla="*/ 195 w 331"/>
                <a:gd name="T67" fmla="*/ 78 h 253"/>
                <a:gd name="T68" fmla="*/ 224 w 331"/>
                <a:gd name="T69" fmla="*/ 107 h 253"/>
                <a:gd name="T70" fmla="*/ 253 w 331"/>
                <a:gd name="T71" fmla="*/ 126 h 253"/>
                <a:gd name="T72" fmla="*/ 282 w 331"/>
                <a:gd name="T73" fmla="*/ 136 h 253"/>
                <a:gd name="T74" fmla="*/ 302 w 331"/>
                <a:gd name="T75" fmla="*/ 126 h 253"/>
                <a:gd name="T76" fmla="*/ 312 w 331"/>
                <a:gd name="T77" fmla="*/ 136 h 253"/>
                <a:gd name="T78" fmla="*/ 312 w 331"/>
                <a:gd name="T79" fmla="*/ 156 h 253"/>
                <a:gd name="T80" fmla="*/ 312 w 331"/>
                <a:gd name="T81" fmla="*/ 175 h 253"/>
                <a:gd name="T82" fmla="*/ 321 w 331"/>
                <a:gd name="T83" fmla="*/ 185 h 253"/>
                <a:gd name="T84" fmla="*/ 331 w 331"/>
                <a:gd name="T85" fmla="*/ 195 h 253"/>
                <a:gd name="T86" fmla="*/ 331 w 331"/>
                <a:gd name="T87" fmla="*/ 204 h 253"/>
                <a:gd name="T88" fmla="*/ 321 w 331"/>
                <a:gd name="T89" fmla="*/ 214 h 253"/>
                <a:gd name="T90" fmla="*/ 292 w 331"/>
                <a:gd name="T91" fmla="*/ 234 h 253"/>
                <a:gd name="T92" fmla="*/ 273 w 331"/>
                <a:gd name="T93" fmla="*/ 243 h 253"/>
                <a:gd name="T94" fmla="*/ 253 w 331"/>
                <a:gd name="T95" fmla="*/ 253 h 253"/>
                <a:gd name="T96" fmla="*/ 234 w 331"/>
                <a:gd name="T97" fmla="*/ 253 h 253"/>
                <a:gd name="T98" fmla="*/ 214 w 331"/>
                <a:gd name="T99" fmla="*/ 243 h 253"/>
                <a:gd name="T100" fmla="*/ 195 w 331"/>
                <a:gd name="T101" fmla="*/ 253 h 253"/>
                <a:gd name="T102" fmla="*/ 175 w 331"/>
                <a:gd name="T103" fmla="*/ 243 h 253"/>
                <a:gd name="T104" fmla="*/ 165 w 331"/>
                <a:gd name="T105" fmla="*/ 243 h 253"/>
                <a:gd name="T106" fmla="*/ 156 w 331"/>
                <a:gd name="T107" fmla="*/ 243 h 253"/>
                <a:gd name="T108" fmla="*/ 156 w 331"/>
                <a:gd name="T109" fmla="*/ 234 h 253"/>
                <a:gd name="T110" fmla="*/ 146 w 331"/>
                <a:gd name="T111" fmla="*/ 214 h 25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331"/>
                <a:gd name="T169" fmla="*/ 0 h 253"/>
                <a:gd name="T170" fmla="*/ 331 w 331"/>
                <a:gd name="T171" fmla="*/ 253 h 25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331" h="253">
                  <a:moveTo>
                    <a:pt x="146" y="214"/>
                  </a:moveTo>
                  <a:lnTo>
                    <a:pt x="117" y="224"/>
                  </a:lnTo>
                  <a:lnTo>
                    <a:pt x="97" y="234"/>
                  </a:lnTo>
                  <a:lnTo>
                    <a:pt x="87" y="234"/>
                  </a:lnTo>
                  <a:lnTo>
                    <a:pt x="78" y="234"/>
                  </a:lnTo>
                  <a:lnTo>
                    <a:pt x="48" y="234"/>
                  </a:lnTo>
                  <a:lnTo>
                    <a:pt x="19" y="234"/>
                  </a:lnTo>
                  <a:lnTo>
                    <a:pt x="9" y="234"/>
                  </a:lnTo>
                  <a:lnTo>
                    <a:pt x="0" y="214"/>
                  </a:lnTo>
                  <a:lnTo>
                    <a:pt x="9" y="195"/>
                  </a:lnTo>
                  <a:lnTo>
                    <a:pt x="0" y="175"/>
                  </a:lnTo>
                  <a:lnTo>
                    <a:pt x="0" y="156"/>
                  </a:lnTo>
                  <a:lnTo>
                    <a:pt x="19" y="156"/>
                  </a:lnTo>
                  <a:lnTo>
                    <a:pt x="29" y="136"/>
                  </a:lnTo>
                  <a:lnTo>
                    <a:pt x="29" y="117"/>
                  </a:lnTo>
                  <a:lnTo>
                    <a:pt x="29" y="97"/>
                  </a:lnTo>
                  <a:lnTo>
                    <a:pt x="39" y="97"/>
                  </a:lnTo>
                  <a:lnTo>
                    <a:pt x="48" y="78"/>
                  </a:lnTo>
                  <a:lnTo>
                    <a:pt x="68" y="68"/>
                  </a:lnTo>
                  <a:lnTo>
                    <a:pt x="68" y="48"/>
                  </a:lnTo>
                  <a:lnTo>
                    <a:pt x="68" y="39"/>
                  </a:lnTo>
                  <a:lnTo>
                    <a:pt x="87" y="39"/>
                  </a:lnTo>
                  <a:lnTo>
                    <a:pt x="97" y="39"/>
                  </a:lnTo>
                  <a:lnTo>
                    <a:pt x="107" y="29"/>
                  </a:lnTo>
                  <a:lnTo>
                    <a:pt x="107" y="19"/>
                  </a:lnTo>
                  <a:lnTo>
                    <a:pt x="117" y="9"/>
                  </a:lnTo>
                  <a:lnTo>
                    <a:pt x="136" y="9"/>
                  </a:lnTo>
                  <a:lnTo>
                    <a:pt x="146" y="0"/>
                  </a:lnTo>
                  <a:lnTo>
                    <a:pt x="156" y="0"/>
                  </a:lnTo>
                  <a:lnTo>
                    <a:pt x="165" y="9"/>
                  </a:lnTo>
                  <a:lnTo>
                    <a:pt x="165" y="29"/>
                  </a:lnTo>
                  <a:lnTo>
                    <a:pt x="175" y="39"/>
                  </a:lnTo>
                  <a:lnTo>
                    <a:pt x="195" y="78"/>
                  </a:lnTo>
                  <a:lnTo>
                    <a:pt x="224" y="107"/>
                  </a:lnTo>
                  <a:lnTo>
                    <a:pt x="253" y="126"/>
                  </a:lnTo>
                  <a:lnTo>
                    <a:pt x="282" y="136"/>
                  </a:lnTo>
                  <a:lnTo>
                    <a:pt x="302" y="126"/>
                  </a:lnTo>
                  <a:lnTo>
                    <a:pt x="312" y="136"/>
                  </a:lnTo>
                  <a:lnTo>
                    <a:pt x="312" y="156"/>
                  </a:lnTo>
                  <a:lnTo>
                    <a:pt x="312" y="175"/>
                  </a:lnTo>
                  <a:lnTo>
                    <a:pt x="321" y="185"/>
                  </a:lnTo>
                  <a:lnTo>
                    <a:pt x="331" y="195"/>
                  </a:lnTo>
                  <a:lnTo>
                    <a:pt x="331" y="204"/>
                  </a:lnTo>
                  <a:lnTo>
                    <a:pt x="321" y="214"/>
                  </a:lnTo>
                  <a:lnTo>
                    <a:pt x="292" y="234"/>
                  </a:lnTo>
                  <a:lnTo>
                    <a:pt x="273" y="243"/>
                  </a:lnTo>
                  <a:lnTo>
                    <a:pt x="253" y="253"/>
                  </a:lnTo>
                  <a:lnTo>
                    <a:pt x="234" y="253"/>
                  </a:lnTo>
                  <a:lnTo>
                    <a:pt x="214" y="243"/>
                  </a:lnTo>
                  <a:lnTo>
                    <a:pt x="195" y="253"/>
                  </a:lnTo>
                  <a:lnTo>
                    <a:pt x="175" y="243"/>
                  </a:lnTo>
                  <a:lnTo>
                    <a:pt x="165" y="243"/>
                  </a:lnTo>
                  <a:lnTo>
                    <a:pt x="156" y="243"/>
                  </a:lnTo>
                  <a:lnTo>
                    <a:pt x="156" y="234"/>
                  </a:lnTo>
                  <a:lnTo>
                    <a:pt x="146" y="214"/>
                  </a:lnTo>
                  <a:close/>
                </a:path>
              </a:pathLst>
            </a:custGeom>
            <a:solidFill>
              <a:srgbClr val="CCEC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8807" name="Freeform 385"/>
            <p:cNvSpPr>
              <a:spLocks noChangeAspect="1"/>
            </p:cNvSpPr>
            <p:nvPr/>
          </p:nvSpPr>
          <p:spPr bwMode="auto">
            <a:xfrm>
              <a:off x="1366" y="1503"/>
              <a:ext cx="331" cy="253"/>
            </a:xfrm>
            <a:custGeom>
              <a:avLst/>
              <a:gdLst>
                <a:gd name="T0" fmla="*/ 146 w 331"/>
                <a:gd name="T1" fmla="*/ 214 h 253"/>
                <a:gd name="T2" fmla="*/ 117 w 331"/>
                <a:gd name="T3" fmla="*/ 224 h 253"/>
                <a:gd name="T4" fmla="*/ 97 w 331"/>
                <a:gd name="T5" fmla="*/ 234 h 253"/>
                <a:gd name="T6" fmla="*/ 87 w 331"/>
                <a:gd name="T7" fmla="*/ 234 h 253"/>
                <a:gd name="T8" fmla="*/ 78 w 331"/>
                <a:gd name="T9" fmla="*/ 234 h 253"/>
                <a:gd name="T10" fmla="*/ 48 w 331"/>
                <a:gd name="T11" fmla="*/ 234 h 253"/>
                <a:gd name="T12" fmla="*/ 19 w 331"/>
                <a:gd name="T13" fmla="*/ 234 h 253"/>
                <a:gd name="T14" fmla="*/ 9 w 331"/>
                <a:gd name="T15" fmla="*/ 234 h 253"/>
                <a:gd name="T16" fmla="*/ 0 w 331"/>
                <a:gd name="T17" fmla="*/ 214 h 253"/>
                <a:gd name="T18" fmla="*/ 9 w 331"/>
                <a:gd name="T19" fmla="*/ 195 h 253"/>
                <a:gd name="T20" fmla="*/ 9 w 331"/>
                <a:gd name="T21" fmla="*/ 195 h 253"/>
                <a:gd name="T22" fmla="*/ 0 w 331"/>
                <a:gd name="T23" fmla="*/ 175 h 253"/>
                <a:gd name="T24" fmla="*/ 0 w 331"/>
                <a:gd name="T25" fmla="*/ 156 h 253"/>
                <a:gd name="T26" fmla="*/ 19 w 331"/>
                <a:gd name="T27" fmla="*/ 156 h 253"/>
                <a:gd name="T28" fmla="*/ 29 w 331"/>
                <a:gd name="T29" fmla="*/ 136 h 253"/>
                <a:gd name="T30" fmla="*/ 29 w 331"/>
                <a:gd name="T31" fmla="*/ 117 h 253"/>
                <a:gd name="T32" fmla="*/ 29 w 331"/>
                <a:gd name="T33" fmla="*/ 97 h 253"/>
                <a:gd name="T34" fmla="*/ 39 w 331"/>
                <a:gd name="T35" fmla="*/ 97 h 253"/>
                <a:gd name="T36" fmla="*/ 48 w 331"/>
                <a:gd name="T37" fmla="*/ 78 h 253"/>
                <a:gd name="T38" fmla="*/ 68 w 331"/>
                <a:gd name="T39" fmla="*/ 68 h 253"/>
                <a:gd name="T40" fmla="*/ 68 w 331"/>
                <a:gd name="T41" fmla="*/ 48 h 253"/>
                <a:gd name="T42" fmla="*/ 68 w 331"/>
                <a:gd name="T43" fmla="*/ 39 h 253"/>
                <a:gd name="T44" fmla="*/ 87 w 331"/>
                <a:gd name="T45" fmla="*/ 39 h 253"/>
                <a:gd name="T46" fmla="*/ 97 w 331"/>
                <a:gd name="T47" fmla="*/ 39 h 253"/>
                <a:gd name="T48" fmla="*/ 107 w 331"/>
                <a:gd name="T49" fmla="*/ 29 h 253"/>
                <a:gd name="T50" fmla="*/ 107 w 331"/>
                <a:gd name="T51" fmla="*/ 19 h 253"/>
                <a:gd name="T52" fmla="*/ 117 w 331"/>
                <a:gd name="T53" fmla="*/ 9 h 253"/>
                <a:gd name="T54" fmla="*/ 136 w 331"/>
                <a:gd name="T55" fmla="*/ 9 h 253"/>
                <a:gd name="T56" fmla="*/ 146 w 331"/>
                <a:gd name="T57" fmla="*/ 0 h 253"/>
                <a:gd name="T58" fmla="*/ 156 w 331"/>
                <a:gd name="T59" fmla="*/ 0 h 253"/>
                <a:gd name="T60" fmla="*/ 165 w 331"/>
                <a:gd name="T61" fmla="*/ 9 h 253"/>
                <a:gd name="T62" fmla="*/ 165 w 331"/>
                <a:gd name="T63" fmla="*/ 29 h 253"/>
                <a:gd name="T64" fmla="*/ 175 w 331"/>
                <a:gd name="T65" fmla="*/ 39 h 253"/>
                <a:gd name="T66" fmla="*/ 195 w 331"/>
                <a:gd name="T67" fmla="*/ 78 h 253"/>
                <a:gd name="T68" fmla="*/ 224 w 331"/>
                <a:gd name="T69" fmla="*/ 107 h 253"/>
                <a:gd name="T70" fmla="*/ 253 w 331"/>
                <a:gd name="T71" fmla="*/ 126 h 253"/>
                <a:gd name="T72" fmla="*/ 282 w 331"/>
                <a:gd name="T73" fmla="*/ 136 h 253"/>
                <a:gd name="T74" fmla="*/ 302 w 331"/>
                <a:gd name="T75" fmla="*/ 126 h 253"/>
                <a:gd name="T76" fmla="*/ 312 w 331"/>
                <a:gd name="T77" fmla="*/ 136 h 253"/>
                <a:gd name="T78" fmla="*/ 312 w 331"/>
                <a:gd name="T79" fmla="*/ 156 h 253"/>
                <a:gd name="T80" fmla="*/ 312 w 331"/>
                <a:gd name="T81" fmla="*/ 175 h 253"/>
                <a:gd name="T82" fmla="*/ 321 w 331"/>
                <a:gd name="T83" fmla="*/ 185 h 253"/>
                <a:gd name="T84" fmla="*/ 331 w 331"/>
                <a:gd name="T85" fmla="*/ 195 h 253"/>
                <a:gd name="T86" fmla="*/ 331 w 331"/>
                <a:gd name="T87" fmla="*/ 204 h 253"/>
                <a:gd name="T88" fmla="*/ 321 w 331"/>
                <a:gd name="T89" fmla="*/ 214 h 253"/>
                <a:gd name="T90" fmla="*/ 292 w 331"/>
                <a:gd name="T91" fmla="*/ 234 h 253"/>
                <a:gd name="T92" fmla="*/ 273 w 331"/>
                <a:gd name="T93" fmla="*/ 243 h 253"/>
                <a:gd name="T94" fmla="*/ 253 w 331"/>
                <a:gd name="T95" fmla="*/ 253 h 253"/>
                <a:gd name="T96" fmla="*/ 234 w 331"/>
                <a:gd name="T97" fmla="*/ 253 h 253"/>
                <a:gd name="T98" fmla="*/ 214 w 331"/>
                <a:gd name="T99" fmla="*/ 243 h 253"/>
                <a:gd name="T100" fmla="*/ 195 w 331"/>
                <a:gd name="T101" fmla="*/ 253 h 253"/>
                <a:gd name="T102" fmla="*/ 175 w 331"/>
                <a:gd name="T103" fmla="*/ 243 h 253"/>
                <a:gd name="T104" fmla="*/ 165 w 331"/>
                <a:gd name="T105" fmla="*/ 243 h 253"/>
                <a:gd name="T106" fmla="*/ 156 w 331"/>
                <a:gd name="T107" fmla="*/ 243 h 253"/>
                <a:gd name="T108" fmla="*/ 156 w 331"/>
                <a:gd name="T109" fmla="*/ 234 h 25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331"/>
                <a:gd name="T166" fmla="*/ 0 h 253"/>
                <a:gd name="T167" fmla="*/ 331 w 331"/>
                <a:gd name="T168" fmla="*/ 253 h 25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331" h="253">
                  <a:moveTo>
                    <a:pt x="146" y="214"/>
                  </a:moveTo>
                  <a:lnTo>
                    <a:pt x="117" y="224"/>
                  </a:lnTo>
                  <a:lnTo>
                    <a:pt x="97" y="234"/>
                  </a:lnTo>
                  <a:lnTo>
                    <a:pt x="87" y="234"/>
                  </a:lnTo>
                  <a:lnTo>
                    <a:pt x="78" y="234"/>
                  </a:lnTo>
                  <a:lnTo>
                    <a:pt x="48" y="234"/>
                  </a:lnTo>
                  <a:lnTo>
                    <a:pt x="19" y="234"/>
                  </a:lnTo>
                  <a:lnTo>
                    <a:pt x="9" y="234"/>
                  </a:lnTo>
                  <a:lnTo>
                    <a:pt x="0" y="214"/>
                  </a:lnTo>
                  <a:lnTo>
                    <a:pt x="9" y="195"/>
                  </a:lnTo>
                  <a:lnTo>
                    <a:pt x="0" y="175"/>
                  </a:lnTo>
                  <a:lnTo>
                    <a:pt x="0" y="156"/>
                  </a:lnTo>
                  <a:lnTo>
                    <a:pt x="19" y="156"/>
                  </a:lnTo>
                  <a:lnTo>
                    <a:pt x="29" y="136"/>
                  </a:lnTo>
                  <a:lnTo>
                    <a:pt x="29" y="117"/>
                  </a:lnTo>
                  <a:lnTo>
                    <a:pt x="29" y="97"/>
                  </a:lnTo>
                  <a:lnTo>
                    <a:pt x="39" y="97"/>
                  </a:lnTo>
                  <a:lnTo>
                    <a:pt x="48" y="78"/>
                  </a:lnTo>
                  <a:lnTo>
                    <a:pt x="68" y="68"/>
                  </a:lnTo>
                  <a:lnTo>
                    <a:pt x="68" y="48"/>
                  </a:lnTo>
                  <a:lnTo>
                    <a:pt x="68" y="39"/>
                  </a:lnTo>
                  <a:lnTo>
                    <a:pt x="87" y="39"/>
                  </a:lnTo>
                  <a:lnTo>
                    <a:pt x="97" y="39"/>
                  </a:lnTo>
                  <a:lnTo>
                    <a:pt x="107" y="29"/>
                  </a:lnTo>
                  <a:lnTo>
                    <a:pt x="107" y="19"/>
                  </a:lnTo>
                  <a:lnTo>
                    <a:pt x="117" y="9"/>
                  </a:lnTo>
                  <a:lnTo>
                    <a:pt x="136" y="9"/>
                  </a:lnTo>
                  <a:lnTo>
                    <a:pt x="146" y="0"/>
                  </a:lnTo>
                  <a:lnTo>
                    <a:pt x="156" y="0"/>
                  </a:lnTo>
                  <a:lnTo>
                    <a:pt x="165" y="9"/>
                  </a:lnTo>
                  <a:lnTo>
                    <a:pt x="165" y="29"/>
                  </a:lnTo>
                  <a:lnTo>
                    <a:pt x="175" y="39"/>
                  </a:lnTo>
                  <a:lnTo>
                    <a:pt x="195" y="78"/>
                  </a:lnTo>
                  <a:lnTo>
                    <a:pt x="224" y="107"/>
                  </a:lnTo>
                  <a:lnTo>
                    <a:pt x="253" y="126"/>
                  </a:lnTo>
                  <a:lnTo>
                    <a:pt x="282" y="136"/>
                  </a:lnTo>
                  <a:lnTo>
                    <a:pt x="302" y="126"/>
                  </a:lnTo>
                  <a:lnTo>
                    <a:pt x="312" y="136"/>
                  </a:lnTo>
                  <a:lnTo>
                    <a:pt x="312" y="156"/>
                  </a:lnTo>
                  <a:lnTo>
                    <a:pt x="312" y="175"/>
                  </a:lnTo>
                  <a:lnTo>
                    <a:pt x="321" y="185"/>
                  </a:lnTo>
                  <a:lnTo>
                    <a:pt x="331" y="195"/>
                  </a:lnTo>
                  <a:lnTo>
                    <a:pt x="331" y="204"/>
                  </a:lnTo>
                  <a:lnTo>
                    <a:pt x="321" y="214"/>
                  </a:lnTo>
                  <a:lnTo>
                    <a:pt x="292" y="234"/>
                  </a:lnTo>
                  <a:lnTo>
                    <a:pt x="273" y="243"/>
                  </a:lnTo>
                  <a:lnTo>
                    <a:pt x="253" y="253"/>
                  </a:lnTo>
                  <a:lnTo>
                    <a:pt x="234" y="253"/>
                  </a:lnTo>
                  <a:lnTo>
                    <a:pt x="214" y="243"/>
                  </a:lnTo>
                  <a:lnTo>
                    <a:pt x="195" y="253"/>
                  </a:lnTo>
                  <a:lnTo>
                    <a:pt x="175" y="243"/>
                  </a:lnTo>
                  <a:lnTo>
                    <a:pt x="165" y="243"/>
                  </a:lnTo>
                  <a:lnTo>
                    <a:pt x="156" y="243"/>
                  </a:lnTo>
                  <a:lnTo>
                    <a:pt x="156" y="234"/>
                  </a:lnTo>
                </a:path>
              </a:pathLst>
            </a:custGeom>
            <a:noFill/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18456" name="Freeform 383"/>
          <p:cNvSpPr>
            <a:spLocks noChangeAspect="1"/>
          </p:cNvSpPr>
          <p:nvPr>
            <p:custDataLst>
              <p:tags r:id="rId22"/>
            </p:custDataLst>
          </p:nvPr>
        </p:nvSpPr>
        <p:spPr bwMode="auto">
          <a:xfrm>
            <a:off x="2455863" y="3894138"/>
            <a:ext cx="168275" cy="150812"/>
          </a:xfrm>
          <a:custGeom>
            <a:avLst/>
            <a:gdLst>
              <a:gd name="T0" fmla="*/ 84470 w 253"/>
              <a:gd name="T1" fmla="*/ 150813 h 244"/>
              <a:gd name="T2" fmla="*/ 71168 w 253"/>
              <a:gd name="T3" fmla="*/ 150813 h 244"/>
              <a:gd name="T4" fmla="*/ 51879 w 253"/>
              <a:gd name="T5" fmla="*/ 139069 h 244"/>
              <a:gd name="T6" fmla="*/ 64517 w 253"/>
              <a:gd name="T7" fmla="*/ 120527 h 244"/>
              <a:gd name="T8" fmla="*/ 58530 w 253"/>
              <a:gd name="T9" fmla="*/ 102602 h 244"/>
              <a:gd name="T10" fmla="*/ 45228 w 253"/>
              <a:gd name="T11" fmla="*/ 102602 h 244"/>
              <a:gd name="T12" fmla="*/ 38577 w 253"/>
              <a:gd name="T13" fmla="*/ 90859 h 244"/>
              <a:gd name="T14" fmla="*/ 25940 w 253"/>
              <a:gd name="T15" fmla="*/ 66135 h 244"/>
              <a:gd name="T16" fmla="*/ 12637 w 253"/>
              <a:gd name="T17" fmla="*/ 66135 h 244"/>
              <a:gd name="T18" fmla="*/ 0 w 253"/>
              <a:gd name="T19" fmla="*/ 54392 h 244"/>
              <a:gd name="T20" fmla="*/ 6651 w 253"/>
              <a:gd name="T21" fmla="*/ 36467 h 244"/>
              <a:gd name="T22" fmla="*/ 19288 w 253"/>
              <a:gd name="T23" fmla="*/ 30286 h 244"/>
              <a:gd name="T24" fmla="*/ 32591 w 253"/>
              <a:gd name="T25" fmla="*/ 17924 h 244"/>
              <a:gd name="T26" fmla="*/ 38577 w 253"/>
              <a:gd name="T27" fmla="*/ 6181 h 244"/>
              <a:gd name="T28" fmla="*/ 51879 w 253"/>
              <a:gd name="T29" fmla="*/ 0 h 244"/>
              <a:gd name="T30" fmla="*/ 64517 w 253"/>
              <a:gd name="T31" fmla="*/ 6181 h 244"/>
              <a:gd name="T32" fmla="*/ 64517 w 253"/>
              <a:gd name="T33" fmla="*/ 24105 h 244"/>
              <a:gd name="T34" fmla="*/ 77819 w 253"/>
              <a:gd name="T35" fmla="*/ 36467 h 244"/>
              <a:gd name="T36" fmla="*/ 97107 w 253"/>
              <a:gd name="T37" fmla="*/ 36467 h 244"/>
              <a:gd name="T38" fmla="*/ 110410 w 253"/>
              <a:gd name="T39" fmla="*/ 24105 h 244"/>
              <a:gd name="T40" fmla="*/ 123047 w 253"/>
              <a:gd name="T41" fmla="*/ 36467 h 244"/>
              <a:gd name="T42" fmla="*/ 162289 w 253"/>
              <a:gd name="T43" fmla="*/ 36467 h 244"/>
              <a:gd name="T44" fmla="*/ 168275 w 253"/>
              <a:gd name="T45" fmla="*/ 36467 h 244"/>
              <a:gd name="T46" fmla="*/ 168275 w 253"/>
              <a:gd name="T47" fmla="*/ 54392 h 244"/>
              <a:gd name="T48" fmla="*/ 168275 w 253"/>
              <a:gd name="T49" fmla="*/ 66135 h 244"/>
              <a:gd name="T50" fmla="*/ 168275 w 253"/>
              <a:gd name="T51" fmla="*/ 84678 h 244"/>
              <a:gd name="T52" fmla="*/ 155638 w 253"/>
              <a:gd name="T53" fmla="*/ 96421 h 244"/>
              <a:gd name="T54" fmla="*/ 155638 w 253"/>
              <a:gd name="T55" fmla="*/ 114964 h 244"/>
              <a:gd name="T56" fmla="*/ 142335 w 253"/>
              <a:gd name="T57" fmla="*/ 126708 h 244"/>
              <a:gd name="T58" fmla="*/ 123047 w 253"/>
              <a:gd name="T59" fmla="*/ 120527 h 244"/>
              <a:gd name="T60" fmla="*/ 110410 w 253"/>
              <a:gd name="T61" fmla="*/ 126708 h 244"/>
              <a:gd name="T62" fmla="*/ 110410 w 253"/>
              <a:gd name="T63" fmla="*/ 139069 h 244"/>
              <a:gd name="T64" fmla="*/ 97107 w 253"/>
              <a:gd name="T65" fmla="*/ 139069 h 244"/>
              <a:gd name="T66" fmla="*/ 84470 w 253"/>
              <a:gd name="T67" fmla="*/ 144632 h 244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253"/>
              <a:gd name="T103" fmla="*/ 0 h 244"/>
              <a:gd name="T104" fmla="*/ 253 w 253"/>
              <a:gd name="T105" fmla="*/ 244 h 244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253" h="244">
                <a:moveTo>
                  <a:pt x="136" y="244"/>
                </a:moveTo>
                <a:lnTo>
                  <a:pt x="127" y="244"/>
                </a:lnTo>
                <a:lnTo>
                  <a:pt x="117" y="244"/>
                </a:lnTo>
                <a:lnTo>
                  <a:pt x="107" y="244"/>
                </a:lnTo>
                <a:lnTo>
                  <a:pt x="68" y="234"/>
                </a:lnTo>
                <a:lnTo>
                  <a:pt x="78" y="225"/>
                </a:lnTo>
                <a:lnTo>
                  <a:pt x="88" y="205"/>
                </a:lnTo>
                <a:lnTo>
                  <a:pt x="97" y="195"/>
                </a:lnTo>
                <a:lnTo>
                  <a:pt x="97" y="186"/>
                </a:lnTo>
                <a:lnTo>
                  <a:pt x="88" y="166"/>
                </a:lnTo>
                <a:lnTo>
                  <a:pt x="68" y="166"/>
                </a:lnTo>
                <a:lnTo>
                  <a:pt x="68" y="156"/>
                </a:lnTo>
                <a:lnTo>
                  <a:pt x="58" y="147"/>
                </a:lnTo>
                <a:lnTo>
                  <a:pt x="49" y="137"/>
                </a:lnTo>
                <a:lnTo>
                  <a:pt x="39" y="107"/>
                </a:lnTo>
                <a:lnTo>
                  <a:pt x="29" y="107"/>
                </a:lnTo>
                <a:lnTo>
                  <a:pt x="19" y="107"/>
                </a:lnTo>
                <a:lnTo>
                  <a:pt x="0" y="107"/>
                </a:lnTo>
                <a:lnTo>
                  <a:pt x="0" y="88"/>
                </a:lnTo>
                <a:lnTo>
                  <a:pt x="0" y="68"/>
                </a:lnTo>
                <a:lnTo>
                  <a:pt x="10" y="59"/>
                </a:lnTo>
                <a:lnTo>
                  <a:pt x="19" y="59"/>
                </a:lnTo>
                <a:lnTo>
                  <a:pt x="29" y="49"/>
                </a:lnTo>
                <a:lnTo>
                  <a:pt x="39" y="39"/>
                </a:lnTo>
                <a:lnTo>
                  <a:pt x="49" y="29"/>
                </a:lnTo>
                <a:lnTo>
                  <a:pt x="58" y="29"/>
                </a:lnTo>
                <a:lnTo>
                  <a:pt x="58" y="10"/>
                </a:lnTo>
                <a:lnTo>
                  <a:pt x="68" y="0"/>
                </a:lnTo>
                <a:lnTo>
                  <a:pt x="78" y="0"/>
                </a:lnTo>
                <a:lnTo>
                  <a:pt x="88" y="0"/>
                </a:lnTo>
                <a:lnTo>
                  <a:pt x="97" y="10"/>
                </a:lnTo>
                <a:lnTo>
                  <a:pt x="97" y="29"/>
                </a:lnTo>
                <a:lnTo>
                  <a:pt x="97" y="39"/>
                </a:lnTo>
                <a:lnTo>
                  <a:pt x="97" y="49"/>
                </a:lnTo>
                <a:lnTo>
                  <a:pt x="117" y="59"/>
                </a:lnTo>
                <a:lnTo>
                  <a:pt x="136" y="59"/>
                </a:lnTo>
                <a:lnTo>
                  <a:pt x="146" y="59"/>
                </a:lnTo>
                <a:lnTo>
                  <a:pt x="156" y="68"/>
                </a:lnTo>
                <a:lnTo>
                  <a:pt x="166" y="39"/>
                </a:lnTo>
                <a:lnTo>
                  <a:pt x="175" y="59"/>
                </a:lnTo>
                <a:lnTo>
                  <a:pt x="185" y="59"/>
                </a:lnTo>
                <a:lnTo>
                  <a:pt x="214" y="59"/>
                </a:lnTo>
                <a:lnTo>
                  <a:pt x="244" y="59"/>
                </a:lnTo>
                <a:lnTo>
                  <a:pt x="253" y="59"/>
                </a:lnTo>
                <a:lnTo>
                  <a:pt x="253" y="78"/>
                </a:lnTo>
                <a:lnTo>
                  <a:pt x="253" y="88"/>
                </a:lnTo>
                <a:lnTo>
                  <a:pt x="253" y="98"/>
                </a:lnTo>
                <a:lnTo>
                  <a:pt x="253" y="107"/>
                </a:lnTo>
                <a:lnTo>
                  <a:pt x="253" y="117"/>
                </a:lnTo>
                <a:lnTo>
                  <a:pt x="253" y="137"/>
                </a:lnTo>
                <a:lnTo>
                  <a:pt x="234" y="147"/>
                </a:lnTo>
                <a:lnTo>
                  <a:pt x="234" y="156"/>
                </a:lnTo>
                <a:lnTo>
                  <a:pt x="244" y="166"/>
                </a:lnTo>
                <a:lnTo>
                  <a:pt x="234" y="186"/>
                </a:lnTo>
                <a:lnTo>
                  <a:pt x="224" y="195"/>
                </a:lnTo>
                <a:lnTo>
                  <a:pt x="214" y="205"/>
                </a:lnTo>
                <a:lnTo>
                  <a:pt x="205" y="205"/>
                </a:lnTo>
                <a:lnTo>
                  <a:pt x="185" y="195"/>
                </a:lnTo>
                <a:lnTo>
                  <a:pt x="175" y="195"/>
                </a:lnTo>
                <a:lnTo>
                  <a:pt x="166" y="205"/>
                </a:lnTo>
                <a:lnTo>
                  <a:pt x="175" y="215"/>
                </a:lnTo>
                <a:lnTo>
                  <a:pt x="166" y="225"/>
                </a:lnTo>
                <a:lnTo>
                  <a:pt x="156" y="225"/>
                </a:lnTo>
                <a:lnTo>
                  <a:pt x="146" y="225"/>
                </a:lnTo>
                <a:lnTo>
                  <a:pt x="127" y="225"/>
                </a:lnTo>
                <a:lnTo>
                  <a:pt x="127" y="234"/>
                </a:lnTo>
                <a:lnTo>
                  <a:pt x="136" y="244"/>
                </a:lnTo>
                <a:close/>
              </a:path>
            </a:pathLst>
          </a:custGeom>
          <a:solidFill>
            <a:srgbClr val="CCECFF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57" name="Freeform 382"/>
          <p:cNvSpPr>
            <a:spLocks noChangeAspect="1"/>
          </p:cNvSpPr>
          <p:nvPr>
            <p:custDataLst>
              <p:tags r:id="rId23"/>
            </p:custDataLst>
          </p:nvPr>
        </p:nvSpPr>
        <p:spPr bwMode="auto">
          <a:xfrm>
            <a:off x="2613025" y="3916363"/>
            <a:ext cx="174625" cy="115887"/>
          </a:xfrm>
          <a:custGeom>
            <a:avLst/>
            <a:gdLst>
              <a:gd name="T0" fmla="*/ 162009 w 263"/>
              <a:gd name="T1" fmla="*/ 115888 h 186"/>
              <a:gd name="T2" fmla="*/ 148730 w 263"/>
              <a:gd name="T3" fmla="*/ 115888 h 186"/>
              <a:gd name="T4" fmla="*/ 129475 w 263"/>
              <a:gd name="T5" fmla="*/ 115888 h 186"/>
              <a:gd name="T6" fmla="*/ 110220 w 263"/>
              <a:gd name="T7" fmla="*/ 115888 h 186"/>
              <a:gd name="T8" fmla="*/ 103580 w 263"/>
              <a:gd name="T9" fmla="*/ 109657 h 186"/>
              <a:gd name="T10" fmla="*/ 90300 w 263"/>
              <a:gd name="T11" fmla="*/ 97196 h 186"/>
              <a:gd name="T12" fmla="*/ 90300 w 263"/>
              <a:gd name="T13" fmla="*/ 91589 h 186"/>
              <a:gd name="T14" fmla="*/ 84325 w 263"/>
              <a:gd name="T15" fmla="*/ 97196 h 186"/>
              <a:gd name="T16" fmla="*/ 84325 w 263"/>
              <a:gd name="T17" fmla="*/ 109657 h 186"/>
              <a:gd name="T18" fmla="*/ 71045 w 263"/>
              <a:gd name="T19" fmla="*/ 109657 h 186"/>
              <a:gd name="T20" fmla="*/ 58430 w 263"/>
              <a:gd name="T21" fmla="*/ 109657 h 186"/>
              <a:gd name="T22" fmla="*/ 51790 w 263"/>
              <a:gd name="T23" fmla="*/ 115888 h 186"/>
              <a:gd name="T24" fmla="*/ 45150 w 263"/>
              <a:gd name="T25" fmla="*/ 115888 h 186"/>
              <a:gd name="T26" fmla="*/ 38510 w 263"/>
              <a:gd name="T27" fmla="*/ 115888 h 186"/>
              <a:gd name="T28" fmla="*/ 32535 w 263"/>
              <a:gd name="T29" fmla="*/ 109657 h 186"/>
              <a:gd name="T30" fmla="*/ 6640 w 263"/>
              <a:gd name="T31" fmla="*/ 91589 h 186"/>
              <a:gd name="T32" fmla="*/ 6640 w 263"/>
              <a:gd name="T33" fmla="*/ 85358 h 186"/>
              <a:gd name="T34" fmla="*/ 0 w 263"/>
              <a:gd name="T35" fmla="*/ 72897 h 186"/>
              <a:gd name="T36" fmla="*/ 6640 w 263"/>
              <a:gd name="T37" fmla="*/ 67290 h 186"/>
              <a:gd name="T38" fmla="*/ 12615 w 263"/>
              <a:gd name="T39" fmla="*/ 61059 h 186"/>
              <a:gd name="T40" fmla="*/ 12615 w 263"/>
              <a:gd name="T41" fmla="*/ 54829 h 186"/>
              <a:gd name="T42" fmla="*/ 12615 w 263"/>
              <a:gd name="T43" fmla="*/ 42368 h 186"/>
              <a:gd name="T44" fmla="*/ 12615 w 263"/>
              <a:gd name="T45" fmla="*/ 36760 h 186"/>
              <a:gd name="T46" fmla="*/ 12615 w 263"/>
              <a:gd name="T47" fmla="*/ 30530 h 186"/>
              <a:gd name="T48" fmla="*/ 19255 w 263"/>
              <a:gd name="T49" fmla="*/ 24299 h 186"/>
              <a:gd name="T50" fmla="*/ 12615 w 263"/>
              <a:gd name="T51" fmla="*/ 12461 h 186"/>
              <a:gd name="T52" fmla="*/ 12615 w 263"/>
              <a:gd name="T53" fmla="*/ 12461 h 186"/>
              <a:gd name="T54" fmla="*/ 19255 w 263"/>
              <a:gd name="T55" fmla="*/ 12461 h 186"/>
              <a:gd name="T56" fmla="*/ 32535 w 263"/>
              <a:gd name="T57" fmla="*/ 6231 h 186"/>
              <a:gd name="T58" fmla="*/ 51790 w 263"/>
              <a:gd name="T59" fmla="*/ 0 h 186"/>
              <a:gd name="T60" fmla="*/ 58430 w 263"/>
              <a:gd name="T61" fmla="*/ 12461 h 186"/>
              <a:gd name="T62" fmla="*/ 58430 w 263"/>
              <a:gd name="T63" fmla="*/ 18069 h 186"/>
              <a:gd name="T64" fmla="*/ 71045 w 263"/>
              <a:gd name="T65" fmla="*/ 18069 h 186"/>
              <a:gd name="T66" fmla="*/ 71045 w 263"/>
              <a:gd name="T67" fmla="*/ 18069 h 186"/>
              <a:gd name="T68" fmla="*/ 84325 w 263"/>
              <a:gd name="T69" fmla="*/ 24299 h 186"/>
              <a:gd name="T70" fmla="*/ 96940 w 263"/>
              <a:gd name="T71" fmla="*/ 18069 h 186"/>
              <a:gd name="T72" fmla="*/ 110220 w 263"/>
              <a:gd name="T73" fmla="*/ 24299 h 186"/>
              <a:gd name="T74" fmla="*/ 129475 w 263"/>
              <a:gd name="T75" fmla="*/ 24299 h 186"/>
              <a:gd name="T76" fmla="*/ 136115 w 263"/>
              <a:gd name="T77" fmla="*/ 18069 h 186"/>
              <a:gd name="T78" fmla="*/ 142090 w 263"/>
              <a:gd name="T79" fmla="*/ 30530 h 186"/>
              <a:gd name="T80" fmla="*/ 142090 w 263"/>
              <a:gd name="T81" fmla="*/ 42368 h 186"/>
              <a:gd name="T82" fmla="*/ 155370 w 263"/>
              <a:gd name="T83" fmla="*/ 54829 h 186"/>
              <a:gd name="T84" fmla="*/ 162009 w 263"/>
              <a:gd name="T85" fmla="*/ 54829 h 186"/>
              <a:gd name="T86" fmla="*/ 167985 w 263"/>
              <a:gd name="T87" fmla="*/ 54829 h 186"/>
              <a:gd name="T88" fmla="*/ 174625 w 263"/>
              <a:gd name="T89" fmla="*/ 72897 h 186"/>
              <a:gd name="T90" fmla="*/ 174625 w 263"/>
              <a:gd name="T91" fmla="*/ 91589 h 186"/>
              <a:gd name="T92" fmla="*/ 162009 w 263"/>
              <a:gd name="T93" fmla="*/ 97196 h 186"/>
              <a:gd name="T94" fmla="*/ 155370 w 263"/>
              <a:gd name="T95" fmla="*/ 109657 h 186"/>
              <a:gd name="T96" fmla="*/ 162009 w 263"/>
              <a:gd name="T97" fmla="*/ 115888 h 18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263"/>
              <a:gd name="T148" fmla="*/ 0 h 186"/>
              <a:gd name="T149" fmla="*/ 263 w 263"/>
              <a:gd name="T150" fmla="*/ 186 h 18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263" h="186">
                <a:moveTo>
                  <a:pt x="244" y="186"/>
                </a:moveTo>
                <a:lnTo>
                  <a:pt x="224" y="186"/>
                </a:lnTo>
                <a:lnTo>
                  <a:pt x="195" y="186"/>
                </a:lnTo>
                <a:lnTo>
                  <a:pt x="166" y="186"/>
                </a:lnTo>
                <a:lnTo>
                  <a:pt x="156" y="176"/>
                </a:lnTo>
                <a:lnTo>
                  <a:pt x="136" y="156"/>
                </a:lnTo>
                <a:lnTo>
                  <a:pt x="136" y="147"/>
                </a:lnTo>
                <a:lnTo>
                  <a:pt x="127" y="156"/>
                </a:lnTo>
                <a:lnTo>
                  <a:pt x="127" y="176"/>
                </a:lnTo>
                <a:lnTo>
                  <a:pt x="107" y="176"/>
                </a:lnTo>
                <a:lnTo>
                  <a:pt x="88" y="176"/>
                </a:lnTo>
                <a:lnTo>
                  <a:pt x="78" y="186"/>
                </a:lnTo>
                <a:lnTo>
                  <a:pt x="68" y="186"/>
                </a:lnTo>
                <a:lnTo>
                  <a:pt x="58" y="186"/>
                </a:lnTo>
                <a:lnTo>
                  <a:pt x="49" y="176"/>
                </a:lnTo>
                <a:lnTo>
                  <a:pt x="10" y="147"/>
                </a:lnTo>
                <a:lnTo>
                  <a:pt x="10" y="137"/>
                </a:lnTo>
                <a:lnTo>
                  <a:pt x="0" y="117"/>
                </a:lnTo>
                <a:lnTo>
                  <a:pt x="10" y="108"/>
                </a:lnTo>
                <a:lnTo>
                  <a:pt x="19" y="98"/>
                </a:lnTo>
                <a:lnTo>
                  <a:pt x="19" y="88"/>
                </a:lnTo>
                <a:lnTo>
                  <a:pt x="19" y="68"/>
                </a:lnTo>
                <a:lnTo>
                  <a:pt x="19" y="59"/>
                </a:lnTo>
                <a:lnTo>
                  <a:pt x="19" y="49"/>
                </a:lnTo>
                <a:lnTo>
                  <a:pt x="29" y="39"/>
                </a:lnTo>
                <a:lnTo>
                  <a:pt x="19" y="20"/>
                </a:lnTo>
                <a:lnTo>
                  <a:pt x="29" y="20"/>
                </a:lnTo>
                <a:lnTo>
                  <a:pt x="49" y="10"/>
                </a:lnTo>
                <a:lnTo>
                  <a:pt x="78" y="0"/>
                </a:lnTo>
                <a:lnTo>
                  <a:pt x="88" y="20"/>
                </a:lnTo>
                <a:lnTo>
                  <a:pt x="88" y="29"/>
                </a:lnTo>
                <a:lnTo>
                  <a:pt x="107" y="29"/>
                </a:lnTo>
                <a:lnTo>
                  <a:pt x="127" y="39"/>
                </a:lnTo>
                <a:lnTo>
                  <a:pt x="146" y="29"/>
                </a:lnTo>
                <a:lnTo>
                  <a:pt x="166" y="39"/>
                </a:lnTo>
                <a:lnTo>
                  <a:pt x="195" y="39"/>
                </a:lnTo>
                <a:lnTo>
                  <a:pt x="205" y="29"/>
                </a:lnTo>
                <a:lnTo>
                  <a:pt x="214" y="49"/>
                </a:lnTo>
                <a:lnTo>
                  <a:pt x="214" y="68"/>
                </a:lnTo>
                <a:lnTo>
                  <a:pt x="234" y="88"/>
                </a:lnTo>
                <a:lnTo>
                  <a:pt x="244" y="88"/>
                </a:lnTo>
                <a:lnTo>
                  <a:pt x="253" y="88"/>
                </a:lnTo>
                <a:lnTo>
                  <a:pt x="263" y="117"/>
                </a:lnTo>
                <a:lnTo>
                  <a:pt x="263" y="147"/>
                </a:lnTo>
                <a:lnTo>
                  <a:pt x="244" y="156"/>
                </a:lnTo>
                <a:lnTo>
                  <a:pt x="234" y="176"/>
                </a:lnTo>
                <a:lnTo>
                  <a:pt x="244" y="186"/>
                </a:lnTo>
                <a:close/>
              </a:path>
            </a:pathLst>
          </a:custGeom>
          <a:solidFill>
            <a:srgbClr val="CCECFF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58" name="Freeform 381"/>
          <p:cNvSpPr>
            <a:spLocks noChangeAspect="1"/>
          </p:cNvSpPr>
          <p:nvPr>
            <p:custDataLst>
              <p:tags r:id="rId24"/>
            </p:custDataLst>
          </p:nvPr>
        </p:nvSpPr>
        <p:spPr bwMode="auto">
          <a:xfrm>
            <a:off x="2747963" y="3898900"/>
            <a:ext cx="169862" cy="200025"/>
          </a:xfrm>
          <a:custGeom>
            <a:avLst/>
            <a:gdLst>
              <a:gd name="T0" fmla="*/ 32227 w 253"/>
              <a:gd name="T1" fmla="*/ 145360 h 322"/>
              <a:gd name="T2" fmla="*/ 32227 w 253"/>
              <a:gd name="T3" fmla="*/ 151572 h 322"/>
              <a:gd name="T4" fmla="*/ 32227 w 253"/>
              <a:gd name="T5" fmla="*/ 169586 h 322"/>
              <a:gd name="T6" fmla="*/ 26184 w 253"/>
              <a:gd name="T7" fmla="*/ 187601 h 322"/>
              <a:gd name="T8" fmla="*/ 32227 w 253"/>
              <a:gd name="T9" fmla="*/ 187601 h 322"/>
              <a:gd name="T10" fmla="*/ 45655 w 253"/>
              <a:gd name="T11" fmla="*/ 187601 h 322"/>
              <a:gd name="T12" fmla="*/ 58411 w 253"/>
              <a:gd name="T13" fmla="*/ 182010 h 322"/>
              <a:gd name="T14" fmla="*/ 65125 w 253"/>
              <a:gd name="T15" fmla="*/ 187601 h 322"/>
              <a:gd name="T16" fmla="*/ 98023 w 253"/>
              <a:gd name="T17" fmla="*/ 200025 h 322"/>
              <a:gd name="T18" fmla="*/ 124207 w 253"/>
              <a:gd name="T19" fmla="*/ 200025 h 322"/>
              <a:gd name="T20" fmla="*/ 137635 w 253"/>
              <a:gd name="T21" fmla="*/ 193813 h 322"/>
              <a:gd name="T22" fmla="*/ 150392 w 253"/>
              <a:gd name="T23" fmla="*/ 187601 h 322"/>
              <a:gd name="T24" fmla="*/ 150392 w 253"/>
              <a:gd name="T25" fmla="*/ 169586 h 322"/>
              <a:gd name="T26" fmla="*/ 143678 w 253"/>
              <a:gd name="T27" fmla="*/ 151572 h 322"/>
              <a:gd name="T28" fmla="*/ 143678 w 253"/>
              <a:gd name="T29" fmla="*/ 127345 h 322"/>
              <a:gd name="T30" fmla="*/ 137635 w 253"/>
              <a:gd name="T31" fmla="*/ 109330 h 322"/>
              <a:gd name="T32" fmla="*/ 169862 w 253"/>
              <a:gd name="T33" fmla="*/ 78892 h 322"/>
              <a:gd name="T34" fmla="*/ 169862 w 253"/>
              <a:gd name="T35" fmla="*/ 60256 h 322"/>
              <a:gd name="T36" fmla="*/ 163819 w 253"/>
              <a:gd name="T37" fmla="*/ 54665 h 322"/>
              <a:gd name="T38" fmla="*/ 150392 w 253"/>
              <a:gd name="T39" fmla="*/ 42241 h 322"/>
              <a:gd name="T40" fmla="*/ 137635 w 253"/>
              <a:gd name="T41" fmla="*/ 48453 h 322"/>
              <a:gd name="T42" fmla="*/ 124207 w 253"/>
              <a:gd name="T43" fmla="*/ 48453 h 322"/>
              <a:gd name="T44" fmla="*/ 111451 w 253"/>
              <a:gd name="T45" fmla="*/ 30439 h 322"/>
              <a:gd name="T46" fmla="*/ 85267 w 253"/>
              <a:gd name="T47" fmla="*/ 11803 h 322"/>
              <a:gd name="T48" fmla="*/ 71839 w 253"/>
              <a:gd name="T49" fmla="*/ 0 h 322"/>
              <a:gd name="T50" fmla="*/ 45655 w 253"/>
              <a:gd name="T51" fmla="*/ 0 h 322"/>
              <a:gd name="T52" fmla="*/ 38941 w 253"/>
              <a:gd name="T53" fmla="*/ 11803 h 322"/>
              <a:gd name="T54" fmla="*/ 12756 w 253"/>
              <a:gd name="T55" fmla="*/ 30439 h 322"/>
              <a:gd name="T56" fmla="*/ 6043 w 253"/>
              <a:gd name="T57" fmla="*/ 48453 h 322"/>
              <a:gd name="T58" fmla="*/ 19470 w 253"/>
              <a:gd name="T59" fmla="*/ 66468 h 322"/>
              <a:gd name="T60" fmla="*/ 32227 w 253"/>
              <a:gd name="T61" fmla="*/ 72680 h 322"/>
              <a:gd name="T62" fmla="*/ 38941 w 253"/>
              <a:gd name="T63" fmla="*/ 109330 h 322"/>
              <a:gd name="T64" fmla="*/ 65125 w 253"/>
              <a:gd name="T65" fmla="*/ 96907 h 322"/>
              <a:gd name="T66" fmla="*/ 65125 w 253"/>
              <a:gd name="T67" fmla="*/ 90695 h 322"/>
              <a:gd name="T68" fmla="*/ 78553 w 253"/>
              <a:gd name="T69" fmla="*/ 78892 h 322"/>
              <a:gd name="T70" fmla="*/ 98023 w 253"/>
              <a:gd name="T71" fmla="*/ 78892 h 322"/>
              <a:gd name="T72" fmla="*/ 111451 w 253"/>
              <a:gd name="T73" fmla="*/ 78892 h 322"/>
              <a:gd name="T74" fmla="*/ 117493 w 253"/>
              <a:gd name="T75" fmla="*/ 90695 h 322"/>
              <a:gd name="T76" fmla="*/ 117493 w 253"/>
              <a:gd name="T77" fmla="*/ 103118 h 322"/>
              <a:gd name="T78" fmla="*/ 111451 w 253"/>
              <a:gd name="T79" fmla="*/ 114921 h 322"/>
              <a:gd name="T80" fmla="*/ 91309 w 253"/>
              <a:gd name="T81" fmla="*/ 114921 h 322"/>
              <a:gd name="T82" fmla="*/ 78553 w 253"/>
              <a:gd name="T83" fmla="*/ 114921 h 322"/>
              <a:gd name="T84" fmla="*/ 65125 w 253"/>
              <a:gd name="T85" fmla="*/ 109330 h 322"/>
              <a:gd name="T86" fmla="*/ 38941 w 253"/>
              <a:gd name="T87" fmla="*/ 109330 h 322"/>
              <a:gd name="T88" fmla="*/ 19470 w 253"/>
              <a:gd name="T89" fmla="*/ 127345 h 322"/>
              <a:gd name="T90" fmla="*/ 26184 w 253"/>
              <a:gd name="T91" fmla="*/ 139148 h 322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253"/>
              <a:gd name="T139" fmla="*/ 0 h 322"/>
              <a:gd name="T140" fmla="*/ 253 w 253"/>
              <a:gd name="T141" fmla="*/ 322 h 322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253" h="322">
                <a:moveTo>
                  <a:pt x="39" y="234"/>
                </a:moveTo>
                <a:lnTo>
                  <a:pt x="48" y="234"/>
                </a:lnTo>
                <a:lnTo>
                  <a:pt x="58" y="234"/>
                </a:lnTo>
                <a:lnTo>
                  <a:pt x="48" y="244"/>
                </a:lnTo>
                <a:lnTo>
                  <a:pt x="58" y="263"/>
                </a:lnTo>
                <a:lnTo>
                  <a:pt x="48" y="273"/>
                </a:lnTo>
                <a:lnTo>
                  <a:pt x="39" y="283"/>
                </a:lnTo>
                <a:lnTo>
                  <a:pt x="39" y="302"/>
                </a:lnTo>
                <a:lnTo>
                  <a:pt x="39" y="312"/>
                </a:lnTo>
                <a:lnTo>
                  <a:pt x="48" y="302"/>
                </a:lnTo>
                <a:lnTo>
                  <a:pt x="58" y="312"/>
                </a:lnTo>
                <a:lnTo>
                  <a:pt x="68" y="302"/>
                </a:lnTo>
                <a:lnTo>
                  <a:pt x="68" y="293"/>
                </a:lnTo>
                <a:lnTo>
                  <a:pt x="87" y="293"/>
                </a:lnTo>
                <a:lnTo>
                  <a:pt x="97" y="302"/>
                </a:lnTo>
                <a:lnTo>
                  <a:pt x="117" y="302"/>
                </a:lnTo>
                <a:lnTo>
                  <a:pt x="146" y="322"/>
                </a:lnTo>
                <a:lnTo>
                  <a:pt x="166" y="312"/>
                </a:lnTo>
                <a:lnTo>
                  <a:pt x="185" y="322"/>
                </a:lnTo>
                <a:lnTo>
                  <a:pt x="205" y="322"/>
                </a:lnTo>
                <a:lnTo>
                  <a:pt x="205" y="312"/>
                </a:lnTo>
                <a:lnTo>
                  <a:pt x="224" y="312"/>
                </a:lnTo>
                <a:lnTo>
                  <a:pt x="224" y="302"/>
                </a:lnTo>
                <a:lnTo>
                  <a:pt x="224" y="283"/>
                </a:lnTo>
                <a:lnTo>
                  <a:pt x="224" y="273"/>
                </a:lnTo>
                <a:lnTo>
                  <a:pt x="234" y="263"/>
                </a:lnTo>
                <a:lnTo>
                  <a:pt x="214" y="244"/>
                </a:lnTo>
                <a:lnTo>
                  <a:pt x="214" y="224"/>
                </a:lnTo>
                <a:lnTo>
                  <a:pt x="214" y="205"/>
                </a:lnTo>
                <a:lnTo>
                  <a:pt x="205" y="195"/>
                </a:lnTo>
                <a:lnTo>
                  <a:pt x="205" y="176"/>
                </a:lnTo>
                <a:lnTo>
                  <a:pt x="244" y="146"/>
                </a:lnTo>
                <a:lnTo>
                  <a:pt x="253" y="127"/>
                </a:lnTo>
                <a:lnTo>
                  <a:pt x="253" y="107"/>
                </a:lnTo>
                <a:lnTo>
                  <a:pt x="253" y="97"/>
                </a:lnTo>
                <a:lnTo>
                  <a:pt x="253" y="88"/>
                </a:lnTo>
                <a:lnTo>
                  <a:pt x="244" y="88"/>
                </a:lnTo>
                <a:lnTo>
                  <a:pt x="234" y="68"/>
                </a:lnTo>
                <a:lnTo>
                  <a:pt x="224" y="68"/>
                </a:lnTo>
                <a:lnTo>
                  <a:pt x="214" y="78"/>
                </a:lnTo>
                <a:lnTo>
                  <a:pt x="205" y="78"/>
                </a:lnTo>
                <a:lnTo>
                  <a:pt x="195" y="78"/>
                </a:lnTo>
                <a:lnTo>
                  <a:pt x="185" y="78"/>
                </a:lnTo>
                <a:lnTo>
                  <a:pt x="185" y="58"/>
                </a:lnTo>
                <a:lnTo>
                  <a:pt x="166" y="49"/>
                </a:lnTo>
                <a:lnTo>
                  <a:pt x="127" y="39"/>
                </a:lnTo>
                <a:lnTo>
                  <a:pt x="127" y="19"/>
                </a:lnTo>
                <a:lnTo>
                  <a:pt x="127" y="0"/>
                </a:lnTo>
                <a:lnTo>
                  <a:pt x="107" y="0"/>
                </a:lnTo>
                <a:lnTo>
                  <a:pt x="87" y="10"/>
                </a:lnTo>
                <a:lnTo>
                  <a:pt x="68" y="0"/>
                </a:lnTo>
                <a:lnTo>
                  <a:pt x="58" y="10"/>
                </a:lnTo>
                <a:lnTo>
                  <a:pt x="58" y="19"/>
                </a:lnTo>
                <a:lnTo>
                  <a:pt x="48" y="29"/>
                </a:lnTo>
                <a:lnTo>
                  <a:pt x="19" y="49"/>
                </a:lnTo>
                <a:lnTo>
                  <a:pt x="0" y="58"/>
                </a:lnTo>
                <a:lnTo>
                  <a:pt x="9" y="78"/>
                </a:lnTo>
                <a:lnTo>
                  <a:pt x="9" y="97"/>
                </a:lnTo>
                <a:lnTo>
                  <a:pt x="29" y="107"/>
                </a:lnTo>
                <a:lnTo>
                  <a:pt x="39" y="117"/>
                </a:lnTo>
                <a:lnTo>
                  <a:pt x="48" y="117"/>
                </a:lnTo>
                <a:lnTo>
                  <a:pt x="58" y="146"/>
                </a:lnTo>
                <a:lnTo>
                  <a:pt x="58" y="176"/>
                </a:lnTo>
                <a:lnTo>
                  <a:pt x="97" y="166"/>
                </a:lnTo>
                <a:lnTo>
                  <a:pt x="97" y="156"/>
                </a:lnTo>
                <a:lnTo>
                  <a:pt x="97" y="146"/>
                </a:lnTo>
                <a:lnTo>
                  <a:pt x="107" y="127"/>
                </a:lnTo>
                <a:lnTo>
                  <a:pt x="117" y="127"/>
                </a:lnTo>
                <a:lnTo>
                  <a:pt x="127" y="127"/>
                </a:lnTo>
                <a:lnTo>
                  <a:pt x="146" y="127"/>
                </a:lnTo>
                <a:lnTo>
                  <a:pt x="156" y="127"/>
                </a:lnTo>
                <a:lnTo>
                  <a:pt x="166" y="127"/>
                </a:lnTo>
                <a:lnTo>
                  <a:pt x="175" y="137"/>
                </a:lnTo>
                <a:lnTo>
                  <a:pt x="175" y="146"/>
                </a:lnTo>
                <a:lnTo>
                  <a:pt x="175" y="156"/>
                </a:lnTo>
                <a:lnTo>
                  <a:pt x="175" y="166"/>
                </a:lnTo>
                <a:lnTo>
                  <a:pt x="175" y="176"/>
                </a:lnTo>
                <a:lnTo>
                  <a:pt x="166" y="185"/>
                </a:lnTo>
                <a:lnTo>
                  <a:pt x="156" y="185"/>
                </a:lnTo>
                <a:lnTo>
                  <a:pt x="136" y="185"/>
                </a:lnTo>
                <a:lnTo>
                  <a:pt x="127" y="185"/>
                </a:lnTo>
                <a:lnTo>
                  <a:pt x="117" y="185"/>
                </a:lnTo>
                <a:lnTo>
                  <a:pt x="107" y="185"/>
                </a:lnTo>
                <a:lnTo>
                  <a:pt x="97" y="176"/>
                </a:lnTo>
                <a:lnTo>
                  <a:pt x="97" y="166"/>
                </a:lnTo>
                <a:lnTo>
                  <a:pt x="58" y="176"/>
                </a:lnTo>
                <a:lnTo>
                  <a:pt x="48" y="185"/>
                </a:lnTo>
                <a:lnTo>
                  <a:pt x="29" y="205"/>
                </a:lnTo>
                <a:lnTo>
                  <a:pt x="39" y="215"/>
                </a:lnTo>
                <a:lnTo>
                  <a:pt x="39" y="224"/>
                </a:lnTo>
                <a:lnTo>
                  <a:pt x="39" y="234"/>
                </a:lnTo>
                <a:close/>
              </a:path>
            </a:pathLst>
          </a:custGeom>
          <a:solidFill>
            <a:srgbClr val="CCECFF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59" name="Freeform 380"/>
          <p:cNvSpPr>
            <a:spLocks noChangeAspect="1"/>
          </p:cNvSpPr>
          <p:nvPr>
            <p:custDataLst>
              <p:tags r:id="rId25"/>
            </p:custDataLst>
          </p:nvPr>
        </p:nvSpPr>
        <p:spPr bwMode="auto">
          <a:xfrm>
            <a:off x="2951163" y="4002088"/>
            <a:ext cx="157162" cy="122237"/>
          </a:xfrm>
          <a:custGeom>
            <a:avLst/>
            <a:gdLst>
              <a:gd name="T0" fmla="*/ 0 w 234"/>
              <a:gd name="T1" fmla="*/ 6269 h 195"/>
              <a:gd name="T2" fmla="*/ 6716 w 234"/>
              <a:gd name="T3" fmla="*/ 18179 h 195"/>
              <a:gd name="T4" fmla="*/ 6716 w 234"/>
              <a:gd name="T5" fmla="*/ 24448 h 195"/>
              <a:gd name="T6" fmla="*/ 0 w 234"/>
              <a:gd name="T7" fmla="*/ 36358 h 195"/>
              <a:gd name="T8" fmla="*/ 6716 w 234"/>
              <a:gd name="T9" fmla="*/ 42627 h 195"/>
              <a:gd name="T10" fmla="*/ 13433 w 234"/>
              <a:gd name="T11" fmla="*/ 42627 h 195"/>
              <a:gd name="T12" fmla="*/ 26194 w 234"/>
              <a:gd name="T13" fmla="*/ 48895 h 195"/>
              <a:gd name="T14" fmla="*/ 32910 w 234"/>
              <a:gd name="T15" fmla="*/ 55164 h 195"/>
              <a:gd name="T16" fmla="*/ 26194 w 234"/>
              <a:gd name="T17" fmla="*/ 67074 h 195"/>
              <a:gd name="T18" fmla="*/ 39626 w 234"/>
              <a:gd name="T19" fmla="*/ 67074 h 195"/>
              <a:gd name="T20" fmla="*/ 39626 w 234"/>
              <a:gd name="T21" fmla="*/ 85253 h 195"/>
              <a:gd name="T22" fmla="*/ 52387 w 234"/>
              <a:gd name="T23" fmla="*/ 97790 h 195"/>
              <a:gd name="T24" fmla="*/ 59104 w 234"/>
              <a:gd name="T25" fmla="*/ 109701 h 195"/>
              <a:gd name="T26" fmla="*/ 71865 w 234"/>
              <a:gd name="T27" fmla="*/ 115969 h 195"/>
              <a:gd name="T28" fmla="*/ 85297 w 234"/>
              <a:gd name="T29" fmla="*/ 122238 h 195"/>
              <a:gd name="T30" fmla="*/ 92014 w 234"/>
              <a:gd name="T31" fmla="*/ 122238 h 195"/>
              <a:gd name="T32" fmla="*/ 92014 w 234"/>
              <a:gd name="T33" fmla="*/ 109701 h 195"/>
              <a:gd name="T34" fmla="*/ 98058 w 234"/>
              <a:gd name="T35" fmla="*/ 109701 h 195"/>
              <a:gd name="T36" fmla="*/ 111491 w 234"/>
              <a:gd name="T37" fmla="*/ 115969 h 195"/>
              <a:gd name="T38" fmla="*/ 124252 w 234"/>
              <a:gd name="T39" fmla="*/ 122238 h 195"/>
              <a:gd name="T40" fmla="*/ 130968 w 234"/>
              <a:gd name="T41" fmla="*/ 122238 h 195"/>
              <a:gd name="T42" fmla="*/ 137685 w 234"/>
              <a:gd name="T43" fmla="*/ 109701 h 195"/>
              <a:gd name="T44" fmla="*/ 144401 w 234"/>
              <a:gd name="T45" fmla="*/ 115969 h 195"/>
              <a:gd name="T46" fmla="*/ 150446 w 234"/>
              <a:gd name="T47" fmla="*/ 109701 h 195"/>
              <a:gd name="T48" fmla="*/ 157162 w 234"/>
              <a:gd name="T49" fmla="*/ 109701 h 195"/>
              <a:gd name="T50" fmla="*/ 157162 w 234"/>
              <a:gd name="T51" fmla="*/ 91522 h 195"/>
              <a:gd name="T52" fmla="*/ 150446 w 234"/>
              <a:gd name="T53" fmla="*/ 97790 h 195"/>
              <a:gd name="T54" fmla="*/ 144401 w 234"/>
              <a:gd name="T55" fmla="*/ 91522 h 195"/>
              <a:gd name="T56" fmla="*/ 130968 w 234"/>
              <a:gd name="T57" fmla="*/ 85253 h 195"/>
              <a:gd name="T58" fmla="*/ 137685 w 234"/>
              <a:gd name="T59" fmla="*/ 79611 h 195"/>
              <a:gd name="T60" fmla="*/ 144401 w 234"/>
              <a:gd name="T61" fmla="*/ 73343 h 195"/>
              <a:gd name="T62" fmla="*/ 144401 w 234"/>
              <a:gd name="T63" fmla="*/ 60806 h 195"/>
              <a:gd name="T64" fmla="*/ 137685 w 234"/>
              <a:gd name="T65" fmla="*/ 60806 h 195"/>
              <a:gd name="T66" fmla="*/ 124252 w 234"/>
              <a:gd name="T67" fmla="*/ 55164 h 195"/>
              <a:gd name="T68" fmla="*/ 118207 w 234"/>
              <a:gd name="T69" fmla="*/ 42627 h 195"/>
              <a:gd name="T70" fmla="*/ 118207 w 234"/>
              <a:gd name="T71" fmla="*/ 36358 h 195"/>
              <a:gd name="T72" fmla="*/ 104775 w 234"/>
              <a:gd name="T73" fmla="*/ 36358 h 195"/>
              <a:gd name="T74" fmla="*/ 98058 w 234"/>
              <a:gd name="T75" fmla="*/ 42627 h 195"/>
              <a:gd name="T76" fmla="*/ 92014 w 234"/>
              <a:gd name="T77" fmla="*/ 42627 h 195"/>
              <a:gd name="T78" fmla="*/ 85297 w 234"/>
              <a:gd name="T79" fmla="*/ 30716 h 195"/>
              <a:gd name="T80" fmla="*/ 65820 w 234"/>
              <a:gd name="T81" fmla="*/ 18179 h 195"/>
              <a:gd name="T82" fmla="*/ 65820 w 234"/>
              <a:gd name="T83" fmla="*/ 11910 h 195"/>
              <a:gd name="T84" fmla="*/ 59104 w 234"/>
              <a:gd name="T85" fmla="*/ 18179 h 195"/>
              <a:gd name="T86" fmla="*/ 52387 w 234"/>
              <a:gd name="T87" fmla="*/ 18179 h 195"/>
              <a:gd name="T88" fmla="*/ 59104 w 234"/>
              <a:gd name="T89" fmla="*/ 6269 h 195"/>
              <a:gd name="T90" fmla="*/ 39626 w 234"/>
              <a:gd name="T91" fmla="*/ 6269 h 195"/>
              <a:gd name="T92" fmla="*/ 32910 w 234"/>
              <a:gd name="T93" fmla="*/ 0 h 195"/>
              <a:gd name="T94" fmla="*/ 26194 w 234"/>
              <a:gd name="T95" fmla="*/ 6269 h 195"/>
              <a:gd name="T96" fmla="*/ 19477 w 234"/>
              <a:gd name="T97" fmla="*/ 6269 h 195"/>
              <a:gd name="T98" fmla="*/ 6716 w 234"/>
              <a:gd name="T99" fmla="*/ 6269 h 195"/>
              <a:gd name="T100" fmla="*/ 0 w 234"/>
              <a:gd name="T101" fmla="*/ 6269 h 195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234"/>
              <a:gd name="T154" fmla="*/ 0 h 195"/>
              <a:gd name="T155" fmla="*/ 234 w 234"/>
              <a:gd name="T156" fmla="*/ 195 h 195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234" h="195">
                <a:moveTo>
                  <a:pt x="0" y="10"/>
                </a:moveTo>
                <a:lnTo>
                  <a:pt x="10" y="29"/>
                </a:lnTo>
                <a:lnTo>
                  <a:pt x="10" y="39"/>
                </a:lnTo>
                <a:lnTo>
                  <a:pt x="0" y="58"/>
                </a:lnTo>
                <a:lnTo>
                  <a:pt x="10" y="68"/>
                </a:lnTo>
                <a:lnTo>
                  <a:pt x="20" y="68"/>
                </a:lnTo>
                <a:lnTo>
                  <a:pt x="39" y="78"/>
                </a:lnTo>
                <a:lnTo>
                  <a:pt x="49" y="88"/>
                </a:lnTo>
                <a:lnTo>
                  <a:pt x="39" y="107"/>
                </a:lnTo>
                <a:lnTo>
                  <a:pt x="59" y="107"/>
                </a:lnTo>
                <a:lnTo>
                  <a:pt x="59" y="136"/>
                </a:lnTo>
                <a:lnTo>
                  <a:pt x="78" y="156"/>
                </a:lnTo>
                <a:lnTo>
                  <a:pt x="88" y="175"/>
                </a:lnTo>
                <a:lnTo>
                  <a:pt x="107" y="185"/>
                </a:lnTo>
                <a:lnTo>
                  <a:pt x="127" y="195"/>
                </a:lnTo>
                <a:lnTo>
                  <a:pt x="137" y="195"/>
                </a:lnTo>
                <a:lnTo>
                  <a:pt x="137" y="175"/>
                </a:lnTo>
                <a:lnTo>
                  <a:pt x="146" y="175"/>
                </a:lnTo>
                <a:lnTo>
                  <a:pt x="166" y="185"/>
                </a:lnTo>
                <a:lnTo>
                  <a:pt x="185" y="195"/>
                </a:lnTo>
                <a:lnTo>
                  <a:pt x="195" y="195"/>
                </a:lnTo>
                <a:lnTo>
                  <a:pt x="205" y="175"/>
                </a:lnTo>
                <a:lnTo>
                  <a:pt x="215" y="185"/>
                </a:lnTo>
                <a:lnTo>
                  <a:pt x="224" y="175"/>
                </a:lnTo>
                <a:lnTo>
                  <a:pt x="234" y="175"/>
                </a:lnTo>
                <a:lnTo>
                  <a:pt x="234" y="146"/>
                </a:lnTo>
                <a:lnTo>
                  <a:pt x="224" y="156"/>
                </a:lnTo>
                <a:lnTo>
                  <a:pt x="215" y="146"/>
                </a:lnTo>
                <a:lnTo>
                  <a:pt x="195" y="136"/>
                </a:lnTo>
                <a:lnTo>
                  <a:pt x="205" y="127"/>
                </a:lnTo>
                <a:lnTo>
                  <a:pt x="215" y="117"/>
                </a:lnTo>
                <a:lnTo>
                  <a:pt x="215" y="97"/>
                </a:lnTo>
                <a:lnTo>
                  <a:pt x="205" y="97"/>
                </a:lnTo>
                <a:lnTo>
                  <a:pt x="185" y="88"/>
                </a:lnTo>
                <a:lnTo>
                  <a:pt x="176" y="68"/>
                </a:lnTo>
                <a:lnTo>
                  <a:pt x="176" y="58"/>
                </a:lnTo>
                <a:lnTo>
                  <a:pt x="156" y="58"/>
                </a:lnTo>
                <a:lnTo>
                  <a:pt x="146" y="68"/>
                </a:lnTo>
                <a:lnTo>
                  <a:pt x="137" y="68"/>
                </a:lnTo>
                <a:lnTo>
                  <a:pt x="127" y="49"/>
                </a:lnTo>
                <a:lnTo>
                  <a:pt x="98" y="29"/>
                </a:lnTo>
                <a:lnTo>
                  <a:pt x="98" y="19"/>
                </a:lnTo>
                <a:lnTo>
                  <a:pt x="88" y="29"/>
                </a:lnTo>
                <a:lnTo>
                  <a:pt x="78" y="29"/>
                </a:lnTo>
                <a:lnTo>
                  <a:pt x="88" y="10"/>
                </a:lnTo>
                <a:lnTo>
                  <a:pt x="59" y="10"/>
                </a:lnTo>
                <a:lnTo>
                  <a:pt x="49" y="0"/>
                </a:lnTo>
                <a:lnTo>
                  <a:pt x="39" y="10"/>
                </a:lnTo>
                <a:lnTo>
                  <a:pt x="29" y="10"/>
                </a:lnTo>
                <a:lnTo>
                  <a:pt x="10" y="10"/>
                </a:lnTo>
                <a:lnTo>
                  <a:pt x="0" y="10"/>
                </a:lnTo>
                <a:close/>
              </a:path>
            </a:pathLst>
          </a:custGeom>
          <a:solidFill>
            <a:srgbClr val="CCECFF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60" name="Freeform 379"/>
          <p:cNvSpPr>
            <a:spLocks noChangeAspect="1"/>
          </p:cNvSpPr>
          <p:nvPr>
            <p:custDataLst>
              <p:tags r:id="rId26"/>
            </p:custDataLst>
          </p:nvPr>
        </p:nvSpPr>
        <p:spPr bwMode="auto">
          <a:xfrm>
            <a:off x="2879725" y="3978275"/>
            <a:ext cx="149225" cy="180975"/>
          </a:xfrm>
          <a:custGeom>
            <a:avLst/>
            <a:gdLst>
              <a:gd name="T0" fmla="*/ 6662 w 224"/>
              <a:gd name="T1" fmla="*/ 120857 h 292"/>
              <a:gd name="T2" fmla="*/ 12657 w 224"/>
              <a:gd name="T3" fmla="*/ 127054 h 292"/>
              <a:gd name="T4" fmla="*/ 12657 w 224"/>
              <a:gd name="T5" fmla="*/ 138830 h 292"/>
              <a:gd name="T6" fmla="*/ 19319 w 224"/>
              <a:gd name="T7" fmla="*/ 138830 h 292"/>
              <a:gd name="T8" fmla="*/ 25981 w 224"/>
              <a:gd name="T9" fmla="*/ 145028 h 292"/>
              <a:gd name="T10" fmla="*/ 25981 w 224"/>
              <a:gd name="T11" fmla="*/ 151226 h 292"/>
              <a:gd name="T12" fmla="*/ 32643 w 224"/>
              <a:gd name="T13" fmla="*/ 156804 h 292"/>
              <a:gd name="T14" fmla="*/ 38639 w 224"/>
              <a:gd name="T15" fmla="*/ 169199 h 292"/>
              <a:gd name="T16" fmla="*/ 38639 w 224"/>
              <a:gd name="T17" fmla="*/ 180975 h 292"/>
              <a:gd name="T18" fmla="*/ 58624 w 224"/>
              <a:gd name="T19" fmla="*/ 175397 h 292"/>
              <a:gd name="T20" fmla="*/ 71282 w 224"/>
              <a:gd name="T21" fmla="*/ 169199 h 292"/>
              <a:gd name="T22" fmla="*/ 84605 w 224"/>
              <a:gd name="T23" fmla="*/ 169199 h 292"/>
              <a:gd name="T24" fmla="*/ 97263 w 224"/>
              <a:gd name="T25" fmla="*/ 169199 h 292"/>
              <a:gd name="T26" fmla="*/ 103925 w 224"/>
              <a:gd name="T27" fmla="*/ 156804 h 292"/>
              <a:gd name="T28" fmla="*/ 110586 w 224"/>
              <a:gd name="T29" fmla="*/ 156804 h 292"/>
              <a:gd name="T30" fmla="*/ 129906 w 224"/>
              <a:gd name="T31" fmla="*/ 163001 h 292"/>
              <a:gd name="T32" fmla="*/ 136568 w 224"/>
              <a:gd name="T33" fmla="*/ 156804 h 292"/>
              <a:gd name="T34" fmla="*/ 136568 w 224"/>
              <a:gd name="T35" fmla="*/ 151226 h 292"/>
              <a:gd name="T36" fmla="*/ 149225 w 224"/>
              <a:gd name="T37" fmla="*/ 145028 h 292"/>
              <a:gd name="T38" fmla="*/ 142563 w 224"/>
              <a:gd name="T39" fmla="*/ 138830 h 292"/>
              <a:gd name="T40" fmla="*/ 129906 w 224"/>
              <a:gd name="T41" fmla="*/ 132632 h 292"/>
              <a:gd name="T42" fmla="*/ 116582 w 224"/>
              <a:gd name="T43" fmla="*/ 120857 h 292"/>
              <a:gd name="T44" fmla="*/ 103925 w 224"/>
              <a:gd name="T45" fmla="*/ 108461 h 292"/>
              <a:gd name="T46" fmla="*/ 103925 w 224"/>
              <a:gd name="T47" fmla="*/ 90488 h 292"/>
              <a:gd name="T48" fmla="*/ 90601 w 224"/>
              <a:gd name="T49" fmla="*/ 90488 h 292"/>
              <a:gd name="T50" fmla="*/ 97263 w 224"/>
              <a:gd name="T51" fmla="*/ 78712 h 292"/>
              <a:gd name="T52" fmla="*/ 90601 w 224"/>
              <a:gd name="T53" fmla="*/ 72514 h 292"/>
              <a:gd name="T54" fmla="*/ 84605 w 224"/>
              <a:gd name="T55" fmla="*/ 66316 h 292"/>
              <a:gd name="T56" fmla="*/ 71282 w 224"/>
              <a:gd name="T57" fmla="*/ 66316 h 292"/>
              <a:gd name="T58" fmla="*/ 71282 w 224"/>
              <a:gd name="T59" fmla="*/ 60118 h 292"/>
              <a:gd name="T60" fmla="*/ 77943 w 224"/>
              <a:gd name="T61" fmla="*/ 48343 h 292"/>
              <a:gd name="T62" fmla="*/ 77943 w 224"/>
              <a:gd name="T63" fmla="*/ 42145 h 292"/>
              <a:gd name="T64" fmla="*/ 71282 w 224"/>
              <a:gd name="T65" fmla="*/ 30369 h 292"/>
              <a:gd name="T66" fmla="*/ 58624 w 224"/>
              <a:gd name="T67" fmla="*/ 30369 h 292"/>
              <a:gd name="T68" fmla="*/ 38639 w 224"/>
              <a:gd name="T69" fmla="*/ 11776 h 292"/>
              <a:gd name="T70" fmla="*/ 38639 w 224"/>
              <a:gd name="T71" fmla="*/ 6198 h 292"/>
              <a:gd name="T72" fmla="*/ 38639 w 224"/>
              <a:gd name="T73" fmla="*/ 0 h 292"/>
              <a:gd name="T74" fmla="*/ 25981 w 224"/>
              <a:gd name="T75" fmla="*/ 11776 h 292"/>
              <a:gd name="T76" fmla="*/ 6662 w 224"/>
              <a:gd name="T77" fmla="*/ 30369 h 292"/>
              <a:gd name="T78" fmla="*/ 0 w 224"/>
              <a:gd name="T79" fmla="*/ 42145 h 292"/>
              <a:gd name="T80" fmla="*/ 12657 w 224"/>
              <a:gd name="T81" fmla="*/ 48343 h 292"/>
              <a:gd name="T82" fmla="*/ 12657 w 224"/>
              <a:gd name="T83" fmla="*/ 60118 h 292"/>
              <a:gd name="T84" fmla="*/ 12657 w 224"/>
              <a:gd name="T85" fmla="*/ 72514 h 292"/>
              <a:gd name="T86" fmla="*/ 25981 w 224"/>
              <a:gd name="T87" fmla="*/ 84290 h 292"/>
              <a:gd name="T88" fmla="*/ 19319 w 224"/>
              <a:gd name="T89" fmla="*/ 90488 h 292"/>
              <a:gd name="T90" fmla="*/ 19319 w 224"/>
              <a:gd name="T91" fmla="*/ 96685 h 292"/>
              <a:gd name="T92" fmla="*/ 19319 w 224"/>
              <a:gd name="T93" fmla="*/ 108461 h 292"/>
              <a:gd name="T94" fmla="*/ 19319 w 224"/>
              <a:gd name="T95" fmla="*/ 114659 h 292"/>
              <a:gd name="T96" fmla="*/ 6662 w 224"/>
              <a:gd name="T97" fmla="*/ 114659 h 292"/>
              <a:gd name="T98" fmla="*/ 6662 w 224"/>
              <a:gd name="T99" fmla="*/ 120857 h 292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224"/>
              <a:gd name="T151" fmla="*/ 0 h 292"/>
              <a:gd name="T152" fmla="*/ 224 w 224"/>
              <a:gd name="T153" fmla="*/ 292 h 292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224" h="292">
                <a:moveTo>
                  <a:pt x="10" y="195"/>
                </a:moveTo>
                <a:lnTo>
                  <a:pt x="19" y="205"/>
                </a:lnTo>
                <a:lnTo>
                  <a:pt x="19" y="224"/>
                </a:lnTo>
                <a:lnTo>
                  <a:pt x="29" y="224"/>
                </a:lnTo>
                <a:lnTo>
                  <a:pt x="39" y="234"/>
                </a:lnTo>
                <a:lnTo>
                  <a:pt x="39" y="244"/>
                </a:lnTo>
                <a:lnTo>
                  <a:pt x="49" y="253"/>
                </a:lnTo>
                <a:lnTo>
                  <a:pt x="58" y="273"/>
                </a:lnTo>
                <a:lnTo>
                  <a:pt x="58" y="292"/>
                </a:lnTo>
                <a:lnTo>
                  <a:pt x="88" y="283"/>
                </a:lnTo>
                <a:lnTo>
                  <a:pt x="107" y="273"/>
                </a:lnTo>
                <a:lnTo>
                  <a:pt x="127" y="273"/>
                </a:lnTo>
                <a:lnTo>
                  <a:pt x="146" y="273"/>
                </a:lnTo>
                <a:lnTo>
                  <a:pt x="156" y="253"/>
                </a:lnTo>
                <a:lnTo>
                  <a:pt x="166" y="253"/>
                </a:lnTo>
                <a:lnTo>
                  <a:pt x="195" y="263"/>
                </a:lnTo>
                <a:lnTo>
                  <a:pt x="205" y="253"/>
                </a:lnTo>
                <a:lnTo>
                  <a:pt x="205" y="244"/>
                </a:lnTo>
                <a:lnTo>
                  <a:pt x="224" y="234"/>
                </a:lnTo>
                <a:lnTo>
                  <a:pt x="214" y="224"/>
                </a:lnTo>
                <a:lnTo>
                  <a:pt x="195" y="214"/>
                </a:lnTo>
                <a:lnTo>
                  <a:pt x="175" y="195"/>
                </a:lnTo>
                <a:lnTo>
                  <a:pt x="156" y="175"/>
                </a:lnTo>
                <a:lnTo>
                  <a:pt x="156" y="146"/>
                </a:lnTo>
                <a:lnTo>
                  <a:pt x="136" y="146"/>
                </a:lnTo>
                <a:lnTo>
                  <a:pt x="146" y="127"/>
                </a:lnTo>
                <a:lnTo>
                  <a:pt x="136" y="117"/>
                </a:lnTo>
                <a:lnTo>
                  <a:pt x="127" y="107"/>
                </a:lnTo>
                <a:lnTo>
                  <a:pt x="107" y="107"/>
                </a:lnTo>
                <a:lnTo>
                  <a:pt x="107" y="97"/>
                </a:lnTo>
                <a:lnTo>
                  <a:pt x="117" y="78"/>
                </a:lnTo>
                <a:lnTo>
                  <a:pt x="117" y="68"/>
                </a:lnTo>
                <a:lnTo>
                  <a:pt x="107" y="49"/>
                </a:lnTo>
                <a:lnTo>
                  <a:pt x="88" y="49"/>
                </a:lnTo>
                <a:lnTo>
                  <a:pt x="58" y="19"/>
                </a:lnTo>
                <a:lnTo>
                  <a:pt x="58" y="10"/>
                </a:lnTo>
                <a:lnTo>
                  <a:pt x="58" y="0"/>
                </a:lnTo>
                <a:lnTo>
                  <a:pt x="39" y="19"/>
                </a:lnTo>
                <a:lnTo>
                  <a:pt x="10" y="49"/>
                </a:lnTo>
                <a:lnTo>
                  <a:pt x="0" y="68"/>
                </a:lnTo>
                <a:lnTo>
                  <a:pt x="19" y="78"/>
                </a:lnTo>
                <a:lnTo>
                  <a:pt x="19" y="97"/>
                </a:lnTo>
                <a:lnTo>
                  <a:pt x="19" y="117"/>
                </a:lnTo>
                <a:lnTo>
                  <a:pt x="39" y="136"/>
                </a:lnTo>
                <a:lnTo>
                  <a:pt x="29" y="146"/>
                </a:lnTo>
                <a:lnTo>
                  <a:pt x="29" y="156"/>
                </a:lnTo>
                <a:lnTo>
                  <a:pt x="29" y="175"/>
                </a:lnTo>
                <a:lnTo>
                  <a:pt x="29" y="185"/>
                </a:lnTo>
                <a:lnTo>
                  <a:pt x="10" y="185"/>
                </a:lnTo>
                <a:lnTo>
                  <a:pt x="10" y="195"/>
                </a:lnTo>
                <a:close/>
              </a:path>
            </a:pathLst>
          </a:custGeom>
          <a:solidFill>
            <a:srgbClr val="CCECFF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61" name="Freeform 378"/>
          <p:cNvSpPr>
            <a:spLocks noChangeAspect="1"/>
          </p:cNvSpPr>
          <p:nvPr>
            <p:custDataLst>
              <p:tags r:id="rId27"/>
            </p:custDataLst>
          </p:nvPr>
        </p:nvSpPr>
        <p:spPr bwMode="auto">
          <a:xfrm>
            <a:off x="2917825" y="4111625"/>
            <a:ext cx="333375" cy="168275"/>
          </a:xfrm>
          <a:custGeom>
            <a:avLst/>
            <a:gdLst>
              <a:gd name="T0" fmla="*/ 6694 w 498"/>
              <a:gd name="T1" fmla="*/ 66327 h 274"/>
              <a:gd name="T2" fmla="*/ 0 w 498"/>
              <a:gd name="T3" fmla="*/ 47903 h 274"/>
              <a:gd name="T4" fmla="*/ 32802 w 498"/>
              <a:gd name="T5" fmla="*/ 36234 h 274"/>
              <a:gd name="T6" fmla="*/ 58910 w 498"/>
              <a:gd name="T7" fmla="*/ 36234 h 274"/>
              <a:gd name="T8" fmla="*/ 78323 w 498"/>
              <a:gd name="T9" fmla="*/ 23952 h 274"/>
              <a:gd name="T10" fmla="*/ 98406 w 498"/>
              <a:gd name="T11" fmla="*/ 23952 h 274"/>
              <a:gd name="T12" fmla="*/ 117819 w 498"/>
              <a:gd name="T13" fmla="*/ 12283 h 274"/>
              <a:gd name="T14" fmla="*/ 124514 w 498"/>
              <a:gd name="T15" fmla="*/ 0 h 274"/>
              <a:gd name="T16" fmla="*/ 143927 w 498"/>
              <a:gd name="T17" fmla="*/ 6141 h 274"/>
              <a:gd name="T18" fmla="*/ 170035 w 498"/>
              <a:gd name="T19" fmla="*/ 12283 h 274"/>
              <a:gd name="T20" fmla="*/ 176729 w 498"/>
              <a:gd name="T21" fmla="*/ 6141 h 274"/>
              <a:gd name="T22" fmla="*/ 196142 w 498"/>
              <a:gd name="T23" fmla="*/ 0 h 274"/>
              <a:gd name="T24" fmla="*/ 208861 w 498"/>
              <a:gd name="T25" fmla="*/ 12283 h 274"/>
              <a:gd name="T26" fmla="*/ 255052 w 498"/>
              <a:gd name="T27" fmla="*/ 0 h 274"/>
              <a:gd name="T28" fmla="*/ 274465 w 498"/>
              <a:gd name="T29" fmla="*/ 0 h 274"/>
              <a:gd name="T30" fmla="*/ 287184 w 498"/>
              <a:gd name="T31" fmla="*/ 18424 h 274"/>
              <a:gd name="T32" fmla="*/ 307267 w 498"/>
              <a:gd name="T33" fmla="*/ 30093 h 274"/>
              <a:gd name="T34" fmla="*/ 326681 w 498"/>
              <a:gd name="T35" fmla="*/ 54045 h 274"/>
              <a:gd name="T36" fmla="*/ 333375 w 498"/>
              <a:gd name="T37" fmla="*/ 71855 h 274"/>
              <a:gd name="T38" fmla="*/ 307267 w 498"/>
              <a:gd name="T39" fmla="*/ 84138 h 274"/>
              <a:gd name="T40" fmla="*/ 287184 w 498"/>
              <a:gd name="T41" fmla="*/ 71855 h 274"/>
              <a:gd name="T42" fmla="*/ 274465 w 498"/>
              <a:gd name="T43" fmla="*/ 77996 h 274"/>
              <a:gd name="T44" fmla="*/ 267771 w 498"/>
              <a:gd name="T45" fmla="*/ 90279 h 274"/>
              <a:gd name="T46" fmla="*/ 234969 w 498"/>
              <a:gd name="T47" fmla="*/ 84138 h 274"/>
              <a:gd name="T48" fmla="*/ 222250 w 498"/>
              <a:gd name="T49" fmla="*/ 90279 h 274"/>
              <a:gd name="T50" fmla="*/ 208861 w 498"/>
              <a:gd name="T51" fmla="*/ 96420 h 274"/>
              <a:gd name="T52" fmla="*/ 189448 w 498"/>
              <a:gd name="T53" fmla="*/ 96420 h 274"/>
              <a:gd name="T54" fmla="*/ 196142 w 498"/>
              <a:gd name="T55" fmla="*/ 108089 h 274"/>
              <a:gd name="T56" fmla="*/ 182754 w 498"/>
              <a:gd name="T57" fmla="*/ 120372 h 274"/>
              <a:gd name="T58" fmla="*/ 176729 w 498"/>
              <a:gd name="T59" fmla="*/ 125899 h 274"/>
              <a:gd name="T60" fmla="*/ 156646 w 498"/>
              <a:gd name="T61" fmla="*/ 138182 h 274"/>
              <a:gd name="T62" fmla="*/ 156646 w 498"/>
              <a:gd name="T63" fmla="*/ 162134 h 274"/>
              <a:gd name="T64" fmla="*/ 143927 w 498"/>
              <a:gd name="T65" fmla="*/ 168275 h 274"/>
              <a:gd name="T66" fmla="*/ 130538 w 498"/>
              <a:gd name="T67" fmla="*/ 168275 h 274"/>
              <a:gd name="T68" fmla="*/ 117819 w 498"/>
              <a:gd name="T69" fmla="*/ 162134 h 274"/>
              <a:gd name="T70" fmla="*/ 111125 w 498"/>
              <a:gd name="T71" fmla="*/ 149851 h 274"/>
              <a:gd name="T72" fmla="*/ 72298 w 498"/>
              <a:gd name="T73" fmla="*/ 155992 h 274"/>
              <a:gd name="T74" fmla="*/ 65604 w 498"/>
              <a:gd name="T75" fmla="*/ 168275 h 274"/>
              <a:gd name="T76" fmla="*/ 52215 w 498"/>
              <a:gd name="T77" fmla="*/ 155992 h 274"/>
              <a:gd name="T78" fmla="*/ 39496 w 498"/>
              <a:gd name="T79" fmla="*/ 149851 h 274"/>
              <a:gd name="T80" fmla="*/ 46191 w 498"/>
              <a:gd name="T81" fmla="*/ 132041 h 274"/>
              <a:gd name="T82" fmla="*/ 39496 w 498"/>
              <a:gd name="T83" fmla="*/ 114230 h 274"/>
              <a:gd name="T84" fmla="*/ 32802 w 498"/>
              <a:gd name="T85" fmla="*/ 96420 h 274"/>
              <a:gd name="T86" fmla="*/ 13389 w 498"/>
              <a:gd name="T87" fmla="*/ 84138 h 274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498"/>
              <a:gd name="T133" fmla="*/ 0 h 274"/>
              <a:gd name="T134" fmla="*/ 498 w 498"/>
              <a:gd name="T135" fmla="*/ 274 h 274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498" h="274">
                <a:moveTo>
                  <a:pt x="10" y="127"/>
                </a:moveTo>
                <a:lnTo>
                  <a:pt x="10" y="108"/>
                </a:lnTo>
                <a:lnTo>
                  <a:pt x="0" y="98"/>
                </a:lnTo>
                <a:lnTo>
                  <a:pt x="0" y="78"/>
                </a:lnTo>
                <a:lnTo>
                  <a:pt x="30" y="69"/>
                </a:lnTo>
                <a:lnTo>
                  <a:pt x="49" y="59"/>
                </a:lnTo>
                <a:lnTo>
                  <a:pt x="69" y="59"/>
                </a:lnTo>
                <a:lnTo>
                  <a:pt x="88" y="59"/>
                </a:lnTo>
                <a:lnTo>
                  <a:pt x="108" y="39"/>
                </a:lnTo>
                <a:lnTo>
                  <a:pt x="117" y="39"/>
                </a:lnTo>
                <a:lnTo>
                  <a:pt x="137" y="49"/>
                </a:lnTo>
                <a:lnTo>
                  <a:pt x="147" y="39"/>
                </a:lnTo>
                <a:lnTo>
                  <a:pt x="147" y="30"/>
                </a:lnTo>
                <a:lnTo>
                  <a:pt x="176" y="20"/>
                </a:lnTo>
                <a:lnTo>
                  <a:pt x="186" y="20"/>
                </a:lnTo>
                <a:lnTo>
                  <a:pt x="186" y="0"/>
                </a:lnTo>
                <a:lnTo>
                  <a:pt x="205" y="0"/>
                </a:lnTo>
                <a:lnTo>
                  <a:pt x="215" y="10"/>
                </a:lnTo>
                <a:lnTo>
                  <a:pt x="234" y="20"/>
                </a:lnTo>
                <a:lnTo>
                  <a:pt x="254" y="20"/>
                </a:lnTo>
                <a:lnTo>
                  <a:pt x="254" y="0"/>
                </a:lnTo>
                <a:lnTo>
                  <a:pt x="264" y="10"/>
                </a:lnTo>
                <a:lnTo>
                  <a:pt x="273" y="0"/>
                </a:lnTo>
                <a:lnTo>
                  <a:pt x="293" y="0"/>
                </a:lnTo>
                <a:lnTo>
                  <a:pt x="293" y="10"/>
                </a:lnTo>
                <a:lnTo>
                  <a:pt x="312" y="20"/>
                </a:lnTo>
                <a:lnTo>
                  <a:pt x="361" y="20"/>
                </a:lnTo>
                <a:lnTo>
                  <a:pt x="381" y="0"/>
                </a:lnTo>
                <a:lnTo>
                  <a:pt x="390" y="0"/>
                </a:lnTo>
                <a:lnTo>
                  <a:pt x="410" y="0"/>
                </a:lnTo>
                <a:lnTo>
                  <a:pt x="410" y="20"/>
                </a:lnTo>
                <a:lnTo>
                  <a:pt x="429" y="30"/>
                </a:lnTo>
                <a:lnTo>
                  <a:pt x="449" y="39"/>
                </a:lnTo>
                <a:lnTo>
                  <a:pt x="459" y="49"/>
                </a:lnTo>
                <a:lnTo>
                  <a:pt x="469" y="69"/>
                </a:lnTo>
                <a:lnTo>
                  <a:pt x="488" y="88"/>
                </a:lnTo>
                <a:lnTo>
                  <a:pt x="498" y="98"/>
                </a:lnTo>
                <a:lnTo>
                  <a:pt x="498" y="117"/>
                </a:lnTo>
                <a:lnTo>
                  <a:pt x="478" y="127"/>
                </a:lnTo>
                <a:lnTo>
                  <a:pt x="459" y="137"/>
                </a:lnTo>
                <a:lnTo>
                  <a:pt x="449" y="127"/>
                </a:lnTo>
                <a:lnTo>
                  <a:pt x="429" y="117"/>
                </a:lnTo>
                <a:lnTo>
                  <a:pt x="420" y="117"/>
                </a:lnTo>
                <a:lnTo>
                  <a:pt x="410" y="127"/>
                </a:lnTo>
                <a:lnTo>
                  <a:pt x="410" y="137"/>
                </a:lnTo>
                <a:lnTo>
                  <a:pt x="400" y="147"/>
                </a:lnTo>
                <a:lnTo>
                  <a:pt x="381" y="166"/>
                </a:lnTo>
                <a:lnTo>
                  <a:pt x="351" y="137"/>
                </a:lnTo>
                <a:lnTo>
                  <a:pt x="342" y="137"/>
                </a:lnTo>
                <a:lnTo>
                  <a:pt x="332" y="147"/>
                </a:lnTo>
                <a:lnTo>
                  <a:pt x="312" y="147"/>
                </a:lnTo>
                <a:lnTo>
                  <a:pt x="312" y="157"/>
                </a:lnTo>
                <a:lnTo>
                  <a:pt x="293" y="137"/>
                </a:lnTo>
                <a:lnTo>
                  <a:pt x="283" y="157"/>
                </a:lnTo>
                <a:lnTo>
                  <a:pt x="293" y="166"/>
                </a:lnTo>
                <a:lnTo>
                  <a:pt x="293" y="176"/>
                </a:lnTo>
                <a:lnTo>
                  <a:pt x="283" y="176"/>
                </a:lnTo>
                <a:lnTo>
                  <a:pt x="273" y="196"/>
                </a:lnTo>
                <a:lnTo>
                  <a:pt x="273" y="205"/>
                </a:lnTo>
                <a:lnTo>
                  <a:pt x="264" y="205"/>
                </a:lnTo>
                <a:lnTo>
                  <a:pt x="254" y="225"/>
                </a:lnTo>
                <a:lnTo>
                  <a:pt x="234" y="225"/>
                </a:lnTo>
                <a:lnTo>
                  <a:pt x="234" y="235"/>
                </a:lnTo>
                <a:lnTo>
                  <a:pt x="234" y="264"/>
                </a:lnTo>
                <a:lnTo>
                  <a:pt x="215" y="274"/>
                </a:lnTo>
                <a:lnTo>
                  <a:pt x="205" y="264"/>
                </a:lnTo>
                <a:lnTo>
                  <a:pt x="195" y="274"/>
                </a:lnTo>
                <a:lnTo>
                  <a:pt x="176" y="274"/>
                </a:lnTo>
                <a:lnTo>
                  <a:pt x="176" y="264"/>
                </a:lnTo>
                <a:lnTo>
                  <a:pt x="176" y="254"/>
                </a:lnTo>
                <a:lnTo>
                  <a:pt x="166" y="244"/>
                </a:lnTo>
                <a:lnTo>
                  <a:pt x="137" y="264"/>
                </a:lnTo>
                <a:lnTo>
                  <a:pt x="108" y="254"/>
                </a:lnTo>
                <a:lnTo>
                  <a:pt x="108" y="264"/>
                </a:lnTo>
                <a:lnTo>
                  <a:pt x="98" y="274"/>
                </a:lnTo>
                <a:lnTo>
                  <a:pt x="88" y="274"/>
                </a:lnTo>
                <a:lnTo>
                  <a:pt x="78" y="254"/>
                </a:lnTo>
                <a:lnTo>
                  <a:pt x="78" y="244"/>
                </a:lnTo>
                <a:lnTo>
                  <a:pt x="59" y="244"/>
                </a:lnTo>
                <a:lnTo>
                  <a:pt x="59" y="225"/>
                </a:lnTo>
                <a:lnTo>
                  <a:pt x="69" y="215"/>
                </a:lnTo>
                <a:lnTo>
                  <a:pt x="69" y="196"/>
                </a:lnTo>
                <a:lnTo>
                  <a:pt x="59" y="186"/>
                </a:lnTo>
                <a:lnTo>
                  <a:pt x="59" y="166"/>
                </a:lnTo>
                <a:lnTo>
                  <a:pt x="49" y="157"/>
                </a:lnTo>
                <a:lnTo>
                  <a:pt x="39" y="147"/>
                </a:lnTo>
                <a:lnTo>
                  <a:pt x="20" y="137"/>
                </a:lnTo>
                <a:lnTo>
                  <a:pt x="10" y="127"/>
                </a:lnTo>
                <a:close/>
              </a:path>
            </a:pathLst>
          </a:custGeom>
          <a:solidFill>
            <a:srgbClr val="DEC2B3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62" name="Freeform 377"/>
          <p:cNvSpPr>
            <a:spLocks noChangeAspect="1"/>
          </p:cNvSpPr>
          <p:nvPr>
            <p:custDataLst>
              <p:tags r:id="rId28"/>
            </p:custDataLst>
          </p:nvPr>
        </p:nvSpPr>
        <p:spPr bwMode="auto">
          <a:xfrm>
            <a:off x="3100388" y="4195763"/>
            <a:ext cx="169862" cy="128587"/>
          </a:xfrm>
          <a:custGeom>
            <a:avLst/>
            <a:gdLst>
              <a:gd name="T0" fmla="*/ 0 w 254"/>
              <a:gd name="T1" fmla="*/ 42654 h 205"/>
              <a:gd name="T2" fmla="*/ 0 w 254"/>
              <a:gd name="T3" fmla="*/ 37008 h 205"/>
              <a:gd name="T4" fmla="*/ 0 w 254"/>
              <a:gd name="T5" fmla="*/ 24463 h 205"/>
              <a:gd name="T6" fmla="*/ 6687 w 254"/>
              <a:gd name="T7" fmla="*/ 24463 h 205"/>
              <a:gd name="T8" fmla="*/ 13375 w 254"/>
              <a:gd name="T9" fmla="*/ 18190 h 205"/>
              <a:gd name="T10" fmla="*/ 6687 w 254"/>
              <a:gd name="T11" fmla="*/ 12545 h 205"/>
              <a:gd name="T12" fmla="*/ 13375 w 254"/>
              <a:gd name="T13" fmla="*/ 6273 h 205"/>
              <a:gd name="T14" fmla="*/ 26081 w 254"/>
              <a:gd name="T15" fmla="*/ 12545 h 205"/>
              <a:gd name="T16" fmla="*/ 26081 w 254"/>
              <a:gd name="T17" fmla="*/ 6273 h 205"/>
              <a:gd name="T18" fmla="*/ 32769 w 254"/>
              <a:gd name="T19" fmla="*/ 6273 h 205"/>
              <a:gd name="T20" fmla="*/ 46144 w 254"/>
              <a:gd name="T21" fmla="*/ 0 h 205"/>
              <a:gd name="T22" fmla="*/ 52162 w 254"/>
              <a:gd name="T23" fmla="*/ 6273 h 205"/>
              <a:gd name="T24" fmla="*/ 72225 w 254"/>
              <a:gd name="T25" fmla="*/ 18190 h 205"/>
              <a:gd name="T26" fmla="*/ 78244 w 254"/>
              <a:gd name="T27" fmla="*/ 18190 h 205"/>
              <a:gd name="T28" fmla="*/ 78244 w 254"/>
              <a:gd name="T29" fmla="*/ 24463 h 205"/>
              <a:gd name="T30" fmla="*/ 78244 w 254"/>
              <a:gd name="T31" fmla="*/ 30736 h 205"/>
              <a:gd name="T32" fmla="*/ 78244 w 254"/>
              <a:gd name="T33" fmla="*/ 37008 h 205"/>
              <a:gd name="T34" fmla="*/ 91618 w 254"/>
              <a:gd name="T35" fmla="*/ 37008 h 205"/>
              <a:gd name="T36" fmla="*/ 104325 w 254"/>
              <a:gd name="T37" fmla="*/ 37008 h 205"/>
              <a:gd name="T38" fmla="*/ 111012 w 254"/>
              <a:gd name="T39" fmla="*/ 42654 h 205"/>
              <a:gd name="T40" fmla="*/ 131075 w 254"/>
              <a:gd name="T41" fmla="*/ 48926 h 205"/>
              <a:gd name="T42" fmla="*/ 143781 w 254"/>
              <a:gd name="T43" fmla="*/ 48926 h 205"/>
              <a:gd name="T44" fmla="*/ 150468 w 254"/>
              <a:gd name="T45" fmla="*/ 61471 h 205"/>
              <a:gd name="T46" fmla="*/ 157156 w 254"/>
              <a:gd name="T47" fmla="*/ 55199 h 205"/>
              <a:gd name="T48" fmla="*/ 163175 w 254"/>
              <a:gd name="T49" fmla="*/ 61471 h 205"/>
              <a:gd name="T50" fmla="*/ 157156 w 254"/>
              <a:gd name="T51" fmla="*/ 73389 h 205"/>
              <a:gd name="T52" fmla="*/ 169862 w 254"/>
              <a:gd name="T53" fmla="*/ 79662 h 205"/>
              <a:gd name="T54" fmla="*/ 163175 w 254"/>
              <a:gd name="T55" fmla="*/ 85934 h 205"/>
              <a:gd name="T56" fmla="*/ 163175 w 254"/>
              <a:gd name="T57" fmla="*/ 97852 h 205"/>
              <a:gd name="T58" fmla="*/ 163175 w 254"/>
              <a:gd name="T59" fmla="*/ 104125 h 205"/>
              <a:gd name="T60" fmla="*/ 157156 w 254"/>
              <a:gd name="T61" fmla="*/ 116043 h 205"/>
              <a:gd name="T62" fmla="*/ 163175 w 254"/>
              <a:gd name="T63" fmla="*/ 122315 h 205"/>
              <a:gd name="T64" fmla="*/ 150468 w 254"/>
              <a:gd name="T65" fmla="*/ 128588 h 205"/>
              <a:gd name="T66" fmla="*/ 143781 w 254"/>
              <a:gd name="T67" fmla="*/ 116043 h 205"/>
              <a:gd name="T68" fmla="*/ 137093 w 254"/>
              <a:gd name="T69" fmla="*/ 110398 h 205"/>
              <a:gd name="T70" fmla="*/ 124387 w 254"/>
              <a:gd name="T71" fmla="*/ 110398 h 205"/>
              <a:gd name="T72" fmla="*/ 117700 w 254"/>
              <a:gd name="T73" fmla="*/ 110398 h 205"/>
              <a:gd name="T74" fmla="*/ 98306 w 254"/>
              <a:gd name="T75" fmla="*/ 110398 h 205"/>
              <a:gd name="T76" fmla="*/ 78244 w 254"/>
              <a:gd name="T77" fmla="*/ 110398 h 205"/>
              <a:gd name="T78" fmla="*/ 72225 w 254"/>
              <a:gd name="T79" fmla="*/ 110398 h 205"/>
              <a:gd name="T80" fmla="*/ 58850 w 254"/>
              <a:gd name="T81" fmla="*/ 110398 h 205"/>
              <a:gd name="T82" fmla="*/ 52162 w 254"/>
              <a:gd name="T83" fmla="*/ 97852 h 205"/>
              <a:gd name="T84" fmla="*/ 58850 w 254"/>
              <a:gd name="T85" fmla="*/ 85934 h 205"/>
              <a:gd name="T86" fmla="*/ 46144 w 254"/>
              <a:gd name="T87" fmla="*/ 79662 h 205"/>
              <a:gd name="T88" fmla="*/ 39456 w 254"/>
              <a:gd name="T89" fmla="*/ 73389 h 205"/>
              <a:gd name="T90" fmla="*/ 46144 w 254"/>
              <a:gd name="T91" fmla="*/ 67117 h 205"/>
              <a:gd name="T92" fmla="*/ 46144 w 254"/>
              <a:gd name="T93" fmla="*/ 55199 h 205"/>
              <a:gd name="T94" fmla="*/ 39456 w 254"/>
              <a:gd name="T95" fmla="*/ 55199 h 205"/>
              <a:gd name="T96" fmla="*/ 32769 w 254"/>
              <a:gd name="T97" fmla="*/ 55199 h 205"/>
              <a:gd name="T98" fmla="*/ 13375 w 254"/>
              <a:gd name="T99" fmla="*/ 48926 h 205"/>
              <a:gd name="T100" fmla="*/ 0 w 254"/>
              <a:gd name="T101" fmla="*/ 42654 h 205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254"/>
              <a:gd name="T154" fmla="*/ 0 h 205"/>
              <a:gd name="T155" fmla="*/ 254 w 254"/>
              <a:gd name="T156" fmla="*/ 205 h 205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254" h="205">
                <a:moveTo>
                  <a:pt x="0" y="68"/>
                </a:moveTo>
                <a:lnTo>
                  <a:pt x="0" y="59"/>
                </a:lnTo>
                <a:lnTo>
                  <a:pt x="0" y="39"/>
                </a:lnTo>
                <a:lnTo>
                  <a:pt x="10" y="39"/>
                </a:lnTo>
                <a:lnTo>
                  <a:pt x="20" y="29"/>
                </a:lnTo>
                <a:lnTo>
                  <a:pt x="10" y="20"/>
                </a:lnTo>
                <a:lnTo>
                  <a:pt x="20" y="10"/>
                </a:lnTo>
                <a:lnTo>
                  <a:pt x="39" y="20"/>
                </a:lnTo>
                <a:lnTo>
                  <a:pt x="39" y="10"/>
                </a:lnTo>
                <a:lnTo>
                  <a:pt x="49" y="10"/>
                </a:lnTo>
                <a:lnTo>
                  <a:pt x="69" y="0"/>
                </a:lnTo>
                <a:lnTo>
                  <a:pt x="78" y="10"/>
                </a:lnTo>
                <a:lnTo>
                  <a:pt x="108" y="29"/>
                </a:lnTo>
                <a:lnTo>
                  <a:pt x="117" y="29"/>
                </a:lnTo>
                <a:lnTo>
                  <a:pt x="117" y="39"/>
                </a:lnTo>
                <a:lnTo>
                  <a:pt x="117" y="49"/>
                </a:lnTo>
                <a:lnTo>
                  <a:pt x="117" y="59"/>
                </a:lnTo>
                <a:lnTo>
                  <a:pt x="137" y="59"/>
                </a:lnTo>
                <a:lnTo>
                  <a:pt x="156" y="59"/>
                </a:lnTo>
                <a:lnTo>
                  <a:pt x="166" y="68"/>
                </a:lnTo>
                <a:lnTo>
                  <a:pt x="196" y="78"/>
                </a:lnTo>
                <a:lnTo>
                  <a:pt x="215" y="78"/>
                </a:lnTo>
                <a:lnTo>
                  <a:pt x="225" y="98"/>
                </a:lnTo>
                <a:lnTo>
                  <a:pt x="235" y="88"/>
                </a:lnTo>
                <a:lnTo>
                  <a:pt x="244" y="98"/>
                </a:lnTo>
                <a:lnTo>
                  <a:pt x="235" y="117"/>
                </a:lnTo>
                <a:lnTo>
                  <a:pt x="254" y="127"/>
                </a:lnTo>
                <a:lnTo>
                  <a:pt x="244" y="137"/>
                </a:lnTo>
                <a:lnTo>
                  <a:pt x="244" y="156"/>
                </a:lnTo>
                <a:lnTo>
                  <a:pt x="244" y="166"/>
                </a:lnTo>
                <a:lnTo>
                  <a:pt x="235" y="185"/>
                </a:lnTo>
                <a:lnTo>
                  <a:pt x="244" y="195"/>
                </a:lnTo>
                <a:lnTo>
                  <a:pt x="225" y="205"/>
                </a:lnTo>
                <a:lnTo>
                  <a:pt x="215" y="185"/>
                </a:lnTo>
                <a:lnTo>
                  <a:pt x="205" y="176"/>
                </a:lnTo>
                <a:lnTo>
                  <a:pt x="186" y="176"/>
                </a:lnTo>
                <a:lnTo>
                  <a:pt x="176" y="176"/>
                </a:lnTo>
                <a:lnTo>
                  <a:pt x="147" y="176"/>
                </a:lnTo>
                <a:lnTo>
                  <a:pt x="117" y="176"/>
                </a:lnTo>
                <a:lnTo>
                  <a:pt x="108" y="176"/>
                </a:lnTo>
                <a:lnTo>
                  <a:pt x="88" y="176"/>
                </a:lnTo>
                <a:lnTo>
                  <a:pt x="78" y="156"/>
                </a:lnTo>
                <a:lnTo>
                  <a:pt x="88" y="137"/>
                </a:lnTo>
                <a:lnTo>
                  <a:pt x="69" y="127"/>
                </a:lnTo>
                <a:lnTo>
                  <a:pt x="59" y="117"/>
                </a:lnTo>
                <a:lnTo>
                  <a:pt x="69" y="107"/>
                </a:lnTo>
                <a:lnTo>
                  <a:pt x="69" y="88"/>
                </a:lnTo>
                <a:lnTo>
                  <a:pt x="59" y="88"/>
                </a:lnTo>
                <a:lnTo>
                  <a:pt x="49" y="88"/>
                </a:lnTo>
                <a:lnTo>
                  <a:pt x="20" y="78"/>
                </a:lnTo>
                <a:lnTo>
                  <a:pt x="0" y="68"/>
                </a:lnTo>
                <a:close/>
              </a:path>
            </a:pathLst>
          </a:custGeom>
          <a:solidFill>
            <a:srgbClr val="DEC2B3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63" name="Freeform 376"/>
          <p:cNvSpPr>
            <a:spLocks noChangeAspect="1"/>
          </p:cNvSpPr>
          <p:nvPr>
            <p:custDataLst>
              <p:tags r:id="rId29"/>
            </p:custDataLst>
          </p:nvPr>
        </p:nvSpPr>
        <p:spPr bwMode="auto">
          <a:xfrm>
            <a:off x="3394075" y="3243263"/>
            <a:ext cx="280988" cy="371475"/>
          </a:xfrm>
          <a:custGeom>
            <a:avLst/>
            <a:gdLst>
              <a:gd name="T0" fmla="*/ 20071 w 420"/>
              <a:gd name="T1" fmla="*/ 85533 h 595"/>
              <a:gd name="T2" fmla="*/ 78275 w 420"/>
              <a:gd name="T3" fmla="*/ 85533 h 595"/>
              <a:gd name="T4" fmla="*/ 98346 w 420"/>
              <a:gd name="T5" fmla="*/ 61184 h 595"/>
              <a:gd name="T6" fmla="*/ 98346 w 420"/>
              <a:gd name="T7" fmla="*/ 30592 h 595"/>
              <a:gd name="T8" fmla="*/ 143839 w 420"/>
              <a:gd name="T9" fmla="*/ 12487 h 595"/>
              <a:gd name="T10" fmla="*/ 169931 w 420"/>
              <a:gd name="T11" fmla="*/ 6243 h 595"/>
              <a:gd name="T12" fmla="*/ 209403 w 420"/>
              <a:gd name="T13" fmla="*/ 18106 h 595"/>
              <a:gd name="T14" fmla="*/ 215424 w 420"/>
              <a:gd name="T15" fmla="*/ 30592 h 595"/>
              <a:gd name="T16" fmla="*/ 241516 w 420"/>
              <a:gd name="T17" fmla="*/ 30592 h 595"/>
              <a:gd name="T18" fmla="*/ 254896 w 420"/>
              <a:gd name="T19" fmla="*/ 42454 h 595"/>
              <a:gd name="T20" fmla="*/ 267608 w 420"/>
              <a:gd name="T21" fmla="*/ 48698 h 595"/>
              <a:gd name="T22" fmla="*/ 261586 w 420"/>
              <a:gd name="T23" fmla="*/ 79290 h 595"/>
              <a:gd name="T24" fmla="*/ 254896 w 420"/>
              <a:gd name="T25" fmla="*/ 61184 h 595"/>
              <a:gd name="T26" fmla="*/ 248206 w 420"/>
              <a:gd name="T27" fmla="*/ 67427 h 595"/>
              <a:gd name="T28" fmla="*/ 248206 w 420"/>
              <a:gd name="T29" fmla="*/ 85533 h 595"/>
              <a:gd name="T30" fmla="*/ 254896 w 420"/>
              <a:gd name="T31" fmla="*/ 91776 h 595"/>
              <a:gd name="T32" fmla="*/ 241516 w 420"/>
              <a:gd name="T33" fmla="*/ 97395 h 595"/>
              <a:gd name="T34" fmla="*/ 222114 w 420"/>
              <a:gd name="T35" fmla="*/ 97395 h 595"/>
              <a:gd name="T36" fmla="*/ 248206 w 420"/>
              <a:gd name="T37" fmla="*/ 103638 h 595"/>
              <a:gd name="T38" fmla="*/ 261586 w 420"/>
              <a:gd name="T39" fmla="*/ 134230 h 595"/>
              <a:gd name="T40" fmla="*/ 280988 w 420"/>
              <a:gd name="T41" fmla="*/ 146093 h 595"/>
              <a:gd name="T42" fmla="*/ 280988 w 420"/>
              <a:gd name="T43" fmla="*/ 194790 h 595"/>
              <a:gd name="T44" fmla="*/ 267608 w 420"/>
              <a:gd name="T45" fmla="*/ 237869 h 595"/>
              <a:gd name="T46" fmla="*/ 274298 w 420"/>
              <a:gd name="T47" fmla="*/ 286566 h 595"/>
              <a:gd name="T48" fmla="*/ 274298 w 420"/>
              <a:gd name="T49" fmla="*/ 298429 h 595"/>
              <a:gd name="T50" fmla="*/ 267608 w 420"/>
              <a:gd name="T51" fmla="*/ 310915 h 595"/>
              <a:gd name="T52" fmla="*/ 261586 w 420"/>
              <a:gd name="T53" fmla="*/ 335264 h 595"/>
              <a:gd name="T54" fmla="*/ 248206 w 420"/>
              <a:gd name="T55" fmla="*/ 353370 h 595"/>
              <a:gd name="T56" fmla="*/ 235495 w 420"/>
              <a:gd name="T57" fmla="*/ 359613 h 595"/>
              <a:gd name="T58" fmla="*/ 196023 w 420"/>
              <a:gd name="T59" fmla="*/ 365856 h 595"/>
              <a:gd name="T60" fmla="*/ 163241 w 420"/>
              <a:gd name="T61" fmla="*/ 365856 h 595"/>
              <a:gd name="T62" fmla="*/ 117747 w 420"/>
              <a:gd name="T63" fmla="*/ 335264 h 595"/>
              <a:gd name="T64" fmla="*/ 98346 w 420"/>
              <a:gd name="T65" fmla="*/ 274080 h 595"/>
              <a:gd name="T66" fmla="*/ 91656 w 420"/>
              <a:gd name="T67" fmla="*/ 237869 h 595"/>
              <a:gd name="T68" fmla="*/ 84965 w 420"/>
              <a:gd name="T69" fmla="*/ 219139 h 595"/>
              <a:gd name="T70" fmla="*/ 84965 w 420"/>
              <a:gd name="T71" fmla="*/ 201034 h 595"/>
              <a:gd name="T72" fmla="*/ 78275 w 420"/>
              <a:gd name="T73" fmla="*/ 182928 h 595"/>
              <a:gd name="T74" fmla="*/ 84965 w 420"/>
              <a:gd name="T75" fmla="*/ 164823 h 595"/>
              <a:gd name="T76" fmla="*/ 78275 w 420"/>
              <a:gd name="T77" fmla="*/ 152336 h 595"/>
              <a:gd name="T78" fmla="*/ 65564 w 420"/>
              <a:gd name="T79" fmla="*/ 182928 h 595"/>
              <a:gd name="T80" fmla="*/ 52183 w 420"/>
              <a:gd name="T81" fmla="*/ 182928 h 595"/>
              <a:gd name="T82" fmla="*/ 20071 w 420"/>
              <a:gd name="T83" fmla="*/ 170441 h 595"/>
              <a:gd name="T84" fmla="*/ 0 w 420"/>
              <a:gd name="T85" fmla="*/ 97395 h 59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420"/>
              <a:gd name="T130" fmla="*/ 0 h 595"/>
              <a:gd name="T131" fmla="*/ 420 w 420"/>
              <a:gd name="T132" fmla="*/ 595 h 595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420" h="595">
                <a:moveTo>
                  <a:pt x="0" y="156"/>
                </a:moveTo>
                <a:lnTo>
                  <a:pt x="10" y="147"/>
                </a:lnTo>
                <a:lnTo>
                  <a:pt x="30" y="137"/>
                </a:lnTo>
                <a:lnTo>
                  <a:pt x="39" y="137"/>
                </a:lnTo>
                <a:lnTo>
                  <a:pt x="88" y="137"/>
                </a:lnTo>
                <a:lnTo>
                  <a:pt x="117" y="137"/>
                </a:lnTo>
                <a:lnTo>
                  <a:pt x="117" y="127"/>
                </a:lnTo>
                <a:lnTo>
                  <a:pt x="127" y="117"/>
                </a:lnTo>
                <a:lnTo>
                  <a:pt x="147" y="98"/>
                </a:lnTo>
                <a:lnTo>
                  <a:pt x="147" y="88"/>
                </a:lnTo>
                <a:lnTo>
                  <a:pt x="147" y="59"/>
                </a:lnTo>
                <a:lnTo>
                  <a:pt x="147" y="49"/>
                </a:lnTo>
                <a:lnTo>
                  <a:pt x="176" y="29"/>
                </a:lnTo>
                <a:lnTo>
                  <a:pt x="186" y="20"/>
                </a:lnTo>
                <a:lnTo>
                  <a:pt x="215" y="20"/>
                </a:lnTo>
                <a:lnTo>
                  <a:pt x="215" y="10"/>
                </a:lnTo>
                <a:lnTo>
                  <a:pt x="225" y="0"/>
                </a:lnTo>
                <a:lnTo>
                  <a:pt x="254" y="10"/>
                </a:lnTo>
                <a:lnTo>
                  <a:pt x="264" y="20"/>
                </a:lnTo>
                <a:lnTo>
                  <a:pt x="273" y="20"/>
                </a:lnTo>
                <a:lnTo>
                  <a:pt x="313" y="29"/>
                </a:lnTo>
                <a:lnTo>
                  <a:pt x="322" y="29"/>
                </a:lnTo>
                <a:lnTo>
                  <a:pt x="332" y="39"/>
                </a:lnTo>
                <a:lnTo>
                  <a:pt x="322" y="49"/>
                </a:lnTo>
                <a:lnTo>
                  <a:pt x="332" y="59"/>
                </a:lnTo>
                <a:lnTo>
                  <a:pt x="342" y="49"/>
                </a:lnTo>
                <a:lnTo>
                  <a:pt x="361" y="49"/>
                </a:lnTo>
                <a:lnTo>
                  <a:pt x="361" y="68"/>
                </a:lnTo>
                <a:lnTo>
                  <a:pt x="371" y="78"/>
                </a:lnTo>
                <a:lnTo>
                  <a:pt x="381" y="68"/>
                </a:lnTo>
                <a:lnTo>
                  <a:pt x="391" y="78"/>
                </a:lnTo>
                <a:lnTo>
                  <a:pt x="400" y="68"/>
                </a:lnTo>
                <a:lnTo>
                  <a:pt x="400" y="78"/>
                </a:lnTo>
                <a:lnTo>
                  <a:pt x="400" y="98"/>
                </a:lnTo>
                <a:lnTo>
                  <a:pt x="400" y="108"/>
                </a:lnTo>
                <a:lnTo>
                  <a:pt x="391" y="127"/>
                </a:lnTo>
                <a:lnTo>
                  <a:pt x="391" y="117"/>
                </a:lnTo>
                <a:lnTo>
                  <a:pt x="381" y="108"/>
                </a:lnTo>
                <a:lnTo>
                  <a:pt x="381" y="98"/>
                </a:lnTo>
                <a:lnTo>
                  <a:pt x="381" y="88"/>
                </a:lnTo>
                <a:lnTo>
                  <a:pt x="371" y="88"/>
                </a:lnTo>
                <a:lnTo>
                  <a:pt x="371" y="108"/>
                </a:lnTo>
                <a:lnTo>
                  <a:pt x="361" y="117"/>
                </a:lnTo>
                <a:lnTo>
                  <a:pt x="361" y="127"/>
                </a:lnTo>
                <a:lnTo>
                  <a:pt x="371" y="137"/>
                </a:lnTo>
                <a:lnTo>
                  <a:pt x="361" y="137"/>
                </a:lnTo>
                <a:lnTo>
                  <a:pt x="371" y="147"/>
                </a:lnTo>
                <a:lnTo>
                  <a:pt x="381" y="147"/>
                </a:lnTo>
                <a:lnTo>
                  <a:pt x="381" y="156"/>
                </a:lnTo>
                <a:lnTo>
                  <a:pt x="371" y="156"/>
                </a:lnTo>
                <a:lnTo>
                  <a:pt x="361" y="156"/>
                </a:lnTo>
                <a:lnTo>
                  <a:pt x="342" y="156"/>
                </a:lnTo>
                <a:lnTo>
                  <a:pt x="332" y="156"/>
                </a:lnTo>
                <a:lnTo>
                  <a:pt x="342" y="166"/>
                </a:lnTo>
                <a:lnTo>
                  <a:pt x="361" y="176"/>
                </a:lnTo>
                <a:lnTo>
                  <a:pt x="371" y="166"/>
                </a:lnTo>
                <a:lnTo>
                  <a:pt x="381" y="176"/>
                </a:lnTo>
                <a:lnTo>
                  <a:pt x="391" y="195"/>
                </a:lnTo>
                <a:lnTo>
                  <a:pt x="391" y="215"/>
                </a:lnTo>
                <a:lnTo>
                  <a:pt x="400" y="225"/>
                </a:lnTo>
                <a:lnTo>
                  <a:pt x="410" y="225"/>
                </a:lnTo>
                <a:lnTo>
                  <a:pt x="420" y="234"/>
                </a:lnTo>
                <a:lnTo>
                  <a:pt x="420" y="254"/>
                </a:lnTo>
                <a:lnTo>
                  <a:pt x="420" y="283"/>
                </a:lnTo>
                <a:lnTo>
                  <a:pt x="420" y="312"/>
                </a:lnTo>
                <a:lnTo>
                  <a:pt x="420" y="342"/>
                </a:lnTo>
                <a:lnTo>
                  <a:pt x="410" y="361"/>
                </a:lnTo>
                <a:lnTo>
                  <a:pt x="400" y="381"/>
                </a:lnTo>
                <a:lnTo>
                  <a:pt x="410" y="400"/>
                </a:lnTo>
                <a:lnTo>
                  <a:pt x="410" y="429"/>
                </a:lnTo>
                <a:lnTo>
                  <a:pt x="410" y="459"/>
                </a:lnTo>
                <a:lnTo>
                  <a:pt x="420" y="459"/>
                </a:lnTo>
                <a:lnTo>
                  <a:pt x="420" y="469"/>
                </a:lnTo>
                <a:lnTo>
                  <a:pt x="410" y="478"/>
                </a:lnTo>
                <a:lnTo>
                  <a:pt x="410" y="488"/>
                </a:lnTo>
                <a:lnTo>
                  <a:pt x="400" y="498"/>
                </a:lnTo>
                <a:lnTo>
                  <a:pt x="410" y="508"/>
                </a:lnTo>
                <a:lnTo>
                  <a:pt x="410" y="527"/>
                </a:lnTo>
                <a:lnTo>
                  <a:pt x="391" y="537"/>
                </a:lnTo>
                <a:lnTo>
                  <a:pt x="391" y="547"/>
                </a:lnTo>
                <a:lnTo>
                  <a:pt x="391" y="556"/>
                </a:lnTo>
                <a:lnTo>
                  <a:pt x="371" y="566"/>
                </a:lnTo>
                <a:lnTo>
                  <a:pt x="371" y="576"/>
                </a:lnTo>
                <a:lnTo>
                  <a:pt x="361" y="576"/>
                </a:lnTo>
                <a:lnTo>
                  <a:pt x="352" y="576"/>
                </a:lnTo>
                <a:lnTo>
                  <a:pt x="332" y="586"/>
                </a:lnTo>
                <a:lnTo>
                  <a:pt x="313" y="586"/>
                </a:lnTo>
                <a:lnTo>
                  <a:pt x="293" y="586"/>
                </a:lnTo>
                <a:lnTo>
                  <a:pt x="273" y="595"/>
                </a:lnTo>
                <a:lnTo>
                  <a:pt x="254" y="586"/>
                </a:lnTo>
                <a:lnTo>
                  <a:pt x="244" y="586"/>
                </a:lnTo>
                <a:lnTo>
                  <a:pt x="225" y="576"/>
                </a:lnTo>
                <a:lnTo>
                  <a:pt x="205" y="576"/>
                </a:lnTo>
                <a:lnTo>
                  <a:pt x="176" y="537"/>
                </a:lnTo>
                <a:lnTo>
                  <a:pt x="176" y="517"/>
                </a:lnTo>
                <a:lnTo>
                  <a:pt x="156" y="469"/>
                </a:lnTo>
                <a:lnTo>
                  <a:pt x="147" y="439"/>
                </a:lnTo>
                <a:lnTo>
                  <a:pt x="137" y="410"/>
                </a:lnTo>
                <a:lnTo>
                  <a:pt x="137" y="390"/>
                </a:lnTo>
                <a:lnTo>
                  <a:pt x="137" y="381"/>
                </a:lnTo>
                <a:lnTo>
                  <a:pt x="117" y="371"/>
                </a:lnTo>
                <a:lnTo>
                  <a:pt x="127" y="361"/>
                </a:lnTo>
                <a:lnTo>
                  <a:pt x="127" y="351"/>
                </a:lnTo>
                <a:lnTo>
                  <a:pt x="127" y="342"/>
                </a:lnTo>
                <a:lnTo>
                  <a:pt x="117" y="332"/>
                </a:lnTo>
                <a:lnTo>
                  <a:pt x="127" y="322"/>
                </a:lnTo>
                <a:lnTo>
                  <a:pt x="108" y="322"/>
                </a:lnTo>
                <a:lnTo>
                  <a:pt x="108" y="303"/>
                </a:lnTo>
                <a:lnTo>
                  <a:pt x="117" y="293"/>
                </a:lnTo>
                <a:lnTo>
                  <a:pt x="117" y="283"/>
                </a:lnTo>
                <a:lnTo>
                  <a:pt x="127" y="273"/>
                </a:lnTo>
                <a:lnTo>
                  <a:pt x="127" y="264"/>
                </a:lnTo>
                <a:lnTo>
                  <a:pt x="127" y="254"/>
                </a:lnTo>
                <a:lnTo>
                  <a:pt x="117" y="244"/>
                </a:lnTo>
                <a:lnTo>
                  <a:pt x="117" y="264"/>
                </a:lnTo>
                <a:lnTo>
                  <a:pt x="108" y="273"/>
                </a:lnTo>
                <a:lnTo>
                  <a:pt x="98" y="293"/>
                </a:lnTo>
                <a:lnTo>
                  <a:pt x="88" y="293"/>
                </a:lnTo>
                <a:lnTo>
                  <a:pt x="88" y="312"/>
                </a:lnTo>
                <a:lnTo>
                  <a:pt x="78" y="293"/>
                </a:lnTo>
                <a:lnTo>
                  <a:pt x="59" y="293"/>
                </a:lnTo>
                <a:lnTo>
                  <a:pt x="39" y="293"/>
                </a:lnTo>
                <a:lnTo>
                  <a:pt x="30" y="273"/>
                </a:lnTo>
                <a:lnTo>
                  <a:pt x="39" y="254"/>
                </a:lnTo>
                <a:lnTo>
                  <a:pt x="49" y="244"/>
                </a:lnTo>
                <a:lnTo>
                  <a:pt x="0" y="156"/>
                </a:lnTo>
                <a:close/>
              </a:path>
            </a:pathLst>
          </a:custGeom>
          <a:solidFill>
            <a:srgbClr val="FFCC99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64" name="Freeform 375"/>
          <p:cNvSpPr>
            <a:spLocks noChangeAspect="1"/>
          </p:cNvSpPr>
          <p:nvPr>
            <p:custDataLst>
              <p:tags r:id="rId30"/>
            </p:custDataLst>
          </p:nvPr>
        </p:nvSpPr>
        <p:spPr bwMode="auto">
          <a:xfrm>
            <a:off x="3036888" y="4238625"/>
            <a:ext cx="122237" cy="109538"/>
          </a:xfrm>
          <a:custGeom>
            <a:avLst/>
            <a:gdLst>
              <a:gd name="T0" fmla="*/ 0 w 185"/>
              <a:gd name="T1" fmla="*/ 72817 h 176"/>
              <a:gd name="T2" fmla="*/ 0 w 185"/>
              <a:gd name="T3" fmla="*/ 60992 h 176"/>
              <a:gd name="T4" fmla="*/ 6607 w 185"/>
              <a:gd name="T5" fmla="*/ 54769 h 176"/>
              <a:gd name="T6" fmla="*/ 6607 w 185"/>
              <a:gd name="T7" fmla="*/ 42943 h 176"/>
              <a:gd name="T8" fmla="*/ 19161 w 185"/>
              <a:gd name="T9" fmla="*/ 36720 h 176"/>
              <a:gd name="T10" fmla="*/ 25769 w 185"/>
              <a:gd name="T11" fmla="*/ 42943 h 176"/>
              <a:gd name="T12" fmla="*/ 38323 w 185"/>
              <a:gd name="T13" fmla="*/ 36720 h 176"/>
              <a:gd name="T14" fmla="*/ 38323 w 185"/>
              <a:gd name="T15" fmla="*/ 36720 h 176"/>
              <a:gd name="T16" fmla="*/ 38323 w 185"/>
              <a:gd name="T17" fmla="*/ 18671 h 176"/>
              <a:gd name="T18" fmla="*/ 38323 w 185"/>
              <a:gd name="T19" fmla="*/ 12447 h 176"/>
              <a:gd name="T20" fmla="*/ 51538 w 185"/>
              <a:gd name="T21" fmla="*/ 6224 h 176"/>
              <a:gd name="T22" fmla="*/ 58145 w 185"/>
              <a:gd name="T23" fmla="*/ 0 h 176"/>
              <a:gd name="T24" fmla="*/ 64092 w 185"/>
              <a:gd name="T25" fmla="*/ 0 h 176"/>
              <a:gd name="T26" fmla="*/ 77307 w 185"/>
              <a:gd name="T27" fmla="*/ 6224 h 176"/>
              <a:gd name="T28" fmla="*/ 96468 w 185"/>
              <a:gd name="T29" fmla="*/ 12447 h 176"/>
              <a:gd name="T30" fmla="*/ 109683 w 185"/>
              <a:gd name="T31" fmla="*/ 12447 h 176"/>
              <a:gd name="T32" fmla="*/ 115630 w 185"/>
              <a:gd name="T33" fmla="*/ 12447 h 176"/>
              <a:gd name="T34" fmla="*/ 115630 w 185"/>
              <a:gd name="T35" fmla="*/ 24272 h 176"/>
              <a:gd name="T36" fmla="*/ 109683 w 185"/>
              <a:gd name="T37" fmla="*/ 30496 h 176"/>
              <a:gd name="T38" fmla="*/ 115630 w 185"/>
              <a:gd name="T39" fmla="*/ 36720 h 176"/>
              <a:gd name="T40" fmla="*/ 122237 w 185"/>
              <a:gd name="T41" fmla="*/ 42943 h 176"/>
              <a:gd name="T42" fmla="*/ 115630 w 185"/>
              <a:gd name="T43" fmla="*/ 54769 h 176"/>
              <a:gd name="T44" fmla="*/ 122237 w 185"/>
              <a:gd name="T45" fmla="*/ 67216 h 176"/>
              <a:gd name="T46" fmla="*/ 103076 w 185"/>
              <a:gd name="T47" fmla="*/ 72817 h 176"/>
              <a:gd name="T48" fmla="*/ 83914 w 185"/>
              <a:gd name="T49" fmla="*/ 72817 h 176"/>
              <a:gd name="T50" fmla="*/ 77307 w 185"/>
              <a:gd name="T51" fmla="*/ 67216 h 176"/>
              <a:gd name="T52" fmla="*/ 70699 w 185"/>
              <a:gd name="T53" fmla="*/ 79041 h 176"/>
              <a:gd name="T54" fmla="*/ 77307 w 185"/>
              <a:gd name="T55" fmla="*/ 79041 h 176"/>
              <a:gd name="T56" fmla="*/ 77307 w 185"/>
              <a:gd name="T57" fmla="*/ 85265 h 176"/>
              <a:gd name="T58" fmla="*/ 70699 w 185"/>
              <a:gd name="T59" fmla="*/ 91488 h 176"/>
              <a:gd name="T60" fmla="*/ 70699 w 185"/>
              <a:gd name="T61" fmla="*/ 91488 h 176"/>
              <a:gd name="T62" fmla="*/ 64092 w 185"/>
              <a:gd name="T63" fmla="*/ 97090 h 176"/>
              <a:gd name="T64" fmla="*/ 51538 w 185"/>
              <a:gd name="T65" fmla="*/ 109537 h 176"/>
              <a:gd name="T66" fmla="*/ 38323 w 185"/>
              <a:gd name="T67" fmla="*/ 109537 h 176"/>
              <a:gd name="T68" fmla="*/ 38323 w 185"/>
              <a:gd name="T69" fmla="*/ 103313 h 176"/>
              <a:gd name="T70" fmla="*/ 32376 w 185"/>
              <a:gd name="T71" fmla="*/ 97090 h 176"/>
              <a:gd name="T72" fmla="*/ 19161 w 185"/>
              <a:gd name="T73" fmla="*/ 97090 h 176"/>
              <a:gd name="T74" fmla="*/ 19161 w 185"/>
              <a:gd name="T75" fmla="*/ 91488 h 176"/>
              <a:gd name="T76" fmla="*/ 12554 w 185"/>
              <a:gd name="T77" fmla="*/ 85265 h 176"/>
              <a:gd name="T78" fmla="*/ 6607 w 185"/>
              <a:gd name="T79" fmla="*/ 79041 h 176"/>
              <a:gd name="T80" fmla="*/ 0 w 185"/>
              <a:gd name="T81" fmla="*/ 72817 h 17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185"/>
              <a:gd name="T124" fmla="*/ 0 h 176"/>
              <a:gd name="T125" fmla="*/ 185 w 185"/>
              <a:gd name="T126" fmla="*/ 176 h 17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185" h="176">
                <a:moveTo>
                  <a:pt x="0" y="117"/>
                </a:moveTo>
                <a:lnTo>
                  <a:pt x="0" y="98"/>
                </a:lnTo>
                <a:lnTo>
                  <a:pt x="10" y="88"/>
                </a:lnTo>
                <a:lnTo>
                  <a:pt x="10" y="69"/>
                </a:lnTo>
                <a:lnTo>
                  <a:pt x="29" y="59"/>
                </a:lnTo>
                <a:lnTo>
                  <a:pt x="39" y="69"/>
                </a:lnTo>
                <a:lnTo>
                  <a:pt x="58" y="59"/>
                </a:lnTo>
                <a:lnTo>
                  <a:pt x="58" y="30"/>
                </a:lnTo>
                <a:lnTo>
                  <a:pt x="58" y="20"/>
                </a:lnTo>
                <a:lnTo>
                  <a:pt x="78" y="10"/>
                </a:lnTo>
                <a:lnTo>
                  <a:pt x="88" y="0"/>
                </a:lnTo>
                <a:lnTo>
                  <a:pt x="97" y="0"/>
                </a:lnTo>
                <a:lnTo>
                  <a:pt x="117" y="10"/>
                </a:lnTo>
                <a:lnTo>
                  <a:pt x="146" y="20"/>
                </a:lnTo>
                <a:lnTo>
                  <a:pt x="166" y="20"/>
                </a:lnTo>
                <a:lnTo>
                  <a:pt x="175" y="20"/>
                </a:lnTo>
                <a:lnTo>
                  <a:pt x="175" y="39"/>
                </a:lnTo>
                <a:lnTo>
                  <a:pt x="166" y="49"/>
                </a:lnTo>
                <a:lnTo>
                  <a:pt x="175" y="59"/>
                </a:lnTo>
                <a:lnTo>
                  <a:pt x="185" y="69"/>
                </a:lnTo>
                <a:lnTo>
                  <a:pt x="175" y="88"/>
                </a:lnTo>
                <a:lnTo>
                  <a:pt x="185" y="108"/>
                </a:lnTo>
                <a:lnTo>
                  <a:pt x="156" y="117"/>
                </a:lnTo>
                <a:lnTo>
                  <a:pt x="127" y="117"/>
                </a:lnTo>
                <a:lnTo>
                  <a:pt x="117" y="108"/>
                </a:lnTo>
                <a:lnTo>
                  <a:pt x="107" y="127"/>
                </a:lnTo>
                <a:lnTo>
                  <a:pt x="117" y="127"/>
                </a:lnTo>
                <a:lnTo>
                  <a:pt x="117" y="137"/>
                </a:lnTo>
                <a:lnTo>
                  <a:pt x="107" y="147"/>
                </a:lnTo>
                <a:lnTo>
                  <a:pt x="97" y="156"/>
                </a:lnTo>
                <a:lnTo>
                  <a:pt x="78" y="176"/>
                </a:lnTo>
                <a:lnTo>
                  <a:pt x="58" y="176"/>
                </a:lnTo>
                <a:lnTo>
                  <a:pt x="58" y="166"/>
                </a:lnTo>
                <a:lnTo>
                  <a:pt x="49" y="156"/>
                </a:lnTo>
                <a:lnTo>
                  <a:pt x="29" y="156"/>
                </a:lnTo>
                <a:lnTo>
                  <a:pt x="29" y="147"/>
                </a:lnTo>
                <a:lnTo>
                  <a:pt x="19" y="137"/>
                </a:lnTo>
                <a:lnTo>
                  <a:pt x="10" y="127"/>
                </a:lnTo>
                <a:lnTo>
                  <a:pt x="0" y="117"/>
                </a:lnTo>
                <a:close/>
              </a:path>
            </a:pathLst>
          </a:custGeom>
          <a:solidFill>
            <a:srgbClr val="DEC2B3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65" name="Freeform 374"/>
          <p:cNvSpPr>
            <a:spLocks noChangeAspect="1"/>
          </p:cNvSpPr>
          <p:nvPr>
            <p:custDataLst>
              <p:tags r:id="rId31"/>
            </p:custDataLst>
          </p:nvPr>
        </p:nvSpPr>
        <p:spPr bwMode="auto">
          <a:xfrm>
            <a:off x="2852738" y="4189413"/>
            <a:ext cx="188912" cy="152400"/>
          </a:xfrm>
          <a:custGeom>
            <a:avLst/>
            <a:gdLst>
              <a:gd name="T0" fmla="*/ 0 w 283"/>
              <a:gd name="T1" fmla="*/ 43097 h 244"/>
              <a:gd name="T2" fmla="*/ 12683 w 283"/>
              <a:gd name="T3" fmla="*/ 43097 h 244"/>
              <a:gd name="T4" fmla="*/ 12683 w 283"/>
              <a:gd name="T5" fmla="*/ 36851 h 244"/>
              <a:gd name="T6" fmla="*/ 19358 w 283"/>
              <a:gd name="T7" fmla="*/ 30605 h 244"/>
              <a:gd name="T8" fmla="*/ 19358 w 283"/>
              <a:gd name="T9" fmla="*/ 30605 h 244"/>
              <a:gd name="T10" fmla="*/ 19358 w 283"/>
              <a:gd name="T11" fmla="*/ 43097 h 244"/>
              <a:gd name="T12" fmla="*/ 32709 w 283"/>
              <a:gd name="T13" fmla="*/ 30605 h 244"/>
              <a:gd name="T14" fmla="*/ 26034 w 283"/>
              <a:gd name="T15" fmla="*/ 30605 h 244"/>
              <a:gd name="T16" fmla="*/ 26034 w 283"/>
              <a:gd name="T17" fmla="*/ 24359 h 244"/>
              <a:gd name="T18" fmla="*/ 32709 w 283"/>
              <a:gd name="T19" fmla="*/ 24359 h 244"/>
              <a:gd name="T20" fmla="*/ 45392 w 283"/>
              <a:gd name="T21" fmla="*/ 30605 h 244"/>
              <a:gd name="T22" fmla="*/ 52068 w 283"/>
              <a:gd name="T23" fmla="*/ 24359 h 244"/>
              <a:gd name="T24" fmla="*/ 52068 w 283"/>
              <a:gd name="T25" fmla="*/ 18738 h 244"/>
              <a:gd name="T26" fmla="*/ 58743 w 283"/>
              <a:gd name="T27" fmla="*/ 12492 h 244"/>
              <a:gd name="T28" fmla="*/ 58743 w 283"/>
              <a:gd name="T29" fmla="*/ 6246 h 244"/>
              <a:gd name="T30" fmla="*/ 64751 w 283"/>
              <a:gd name="T31" fmla="*/ 0 h 244"/>
              <a:gd name="T32" fmla="*/ 71426 w 283"/>
              <a:gd name="T33" fmla="*/ 0 h 244"/>
              <a:gd name="T34" fmla="*/ 78101 w 283"/>
              <a:gd name="T35" fmla="*/ 6246 h 244"/>
              <a:gd name="T36" fmla="*/ 90785 w 283"/>
              <a:gd name="T37" fmla="*/ 12492 h 244"/>
              <a:gd name="T38" fmla="*/ 97460 w 283"/>
              <a:gd name="T39" fmla="*/ 18738 h 244"/>
              <a:gd name="T40" fmla="*/ 104135 w 283"/>
              <a:gd name="T41" fmla="*/ 24359 h 244"/>
              <a:gd name="T42" fmla="*/ 104135 w 283"/>
              <a:gd name="T43" fmla="*/ 36851 h 244"/>
              <a:gd name="T44" fmla="*/ 110811 w 283"/>
              <a:gd name="T45" fmla="*/ 43097 h 244"/>
              <a:gd name="T46" fmla="*/ 110811 w 283"/>
              <a:gd name="T47" fmla="*/ 54964 h 244"/>
              <a:gd name="T48" fmla="*/ 104135 w 283"/>
              <a:gd name="T49" fmla="*/ 61210 h 244"/>
              <a:gd name="T50" fmla="*/ 104135 w 283"/>
              <a:gd name="T51" fmla="*/ 73077 h 244"/>
              <a:gd name="T52" fmla="*/ 116818 w 283"/>
              <a:gd name="T53" fmla="*/ 73077 h 244"/>
              <a:gd name="T54" fmla="*/ 116818 w 283"/>
              <a:gd name="T55" fmla="*/ 79323 h 244"/>
              <a:gd name="T56" fmla="*/ 123494 w 283"/>
              <a:gd name="T57" fmla="*/ 91815 h 244"/>
              <a:gd name="T58" fmla="*/ 123494 w 283"/>
              <a:gd name="T59" fmla="*/ 91815 h 244"/>
              <a:gd name="T60" fmla="*/ 130169 w 283"/>
              <a:gd name="T61" fmla="*/ 85569 h 244"/>
              <a:gd name="T62" fmla="*/ 136844 w 283"/>
              <a:gd name="T63" fmla="*/ 79323 h 244"/>
              <a:gd name="T64" fmla="*/ 156203 w 283"/>
              <a:gd name="T65" fmla="*/ 85569 h 244"/>
              <a:gd name="T66" fmla="*/ 175561 w 283"/>
              <a:gd name="T67" fmla="*/ 73077 h 244"/>
              <a:gd name="T68" fmla="*/ 182237 w 283"/>
              <a:gd name="T69" fmla="*/ 79323 h 244"/>
              <a:gd name="T70" fmla="*/ 182237 w 283"/>
              <a:gd name="T71" fmla="*/ 85569 h 244"/>
              <a:gd name="T72" fmla="*/ 182237 w 283"/>
              <a:gd name="T73" fmla="*/ 91815 h 244"/>
              <a:gd name="T74" fmla="*/ 188912 w 283"/>
              <a:gd name="T75" fmla="*/ 91815 h 244"/>
              <a:gd name="T76" fmla="*/ 188912 w 283"/>
              <a:gd name="T77" fmla="*/ 103682 h 244"/>
              <a:gd name="T78" fmla="*/ 182237 w 283"/>
              <a:gd name="T79" fmla="*/ 116174 h 244"/>
              <a:gd name="T80" fmla="*/ 182237 w 283"/>
              <a:gd name="T81" fmla="*/ 121795 h 244"/>
              <a:gd name="T82" fmla="*/ 182237 w 283"/>
              <a:gd name="T83" fmla="*/ 140533 h 244"/>
              <a:gd name="T84" fmla="*/ 168886 w 283"/>
              <a:gd name="T85" fmla="*/ 152400 h 244"/>
              <a:gd name="T86" fmla="*/ 156203 w 283"/>
              <a:gd name="T87" fmla="*/ 152400 h 244"/>
              <a:gd name="T88" fmla="*/ 142852 w 283"/>
              <a:gd name="T89" fmla="*/ 146154 h 244"/>
              <a:gd name="T90" fmla="*/ 123494 w 283"/>
              <a:gd name="T91" fmla="*/ 146154 h 244"/>
              <a:gd name="T92" fmla="*/ 110811 w 283"/>
              <a:gd name="T93" fmla="*/ 146154 h 244"/>
              <a:gd name="T94" fmla="*/ 104135 w 283"/>
              <a:gd name="T95" fmla="*/ 134287 h 244"/>
              <a:gd name="T96" fmla="*/ 97460 w 283"/>
              <a:gd name="T97" fmla="*/ 121795 h 244"/>
              <a:gd name="T98" fmla="*/ 90785 w 283"/>
              <a:gd name="T99" fmla="*/ 116174 h 244"/>
              <a:gd name="T100" fmla="*/ 84777 w 283"/>
              <a:gd name="T101" fmla="*/ 109928 h 244"/>
              <a:gd name="T102" fmla="*/ 78101 w 283"/>
              <a:gd name="T103" fmla="*/ 116174 h 244"/>
              <a:gd name="T104" fmla="*/ 71426 w 283"/>
              <a:gd name="T105" fmla="*/ 116174 h 244"/>
              <a:gd name="T106" fmla="*/ 64751 w 283"/>
              <a:gd name="T107" fmla="*/ 116174 h 244"/>
              <a:gd name="T108" fmla="*/ 52068 w 283"/>
              <a:gd name="T109" fmla="*/ 97436 h 244"/>
              <a:gd name="T110" fmla="*/ 52068 w 283"/>
              <a:gd name="T111" fmla="*/ 85569 h 244"/>
              <a:gd name="T112" fmla="*/ 52068 w 283"/>
              <a:gd name="T113" fmla="*/ 79323 h 244"/>
              <a:gd name="T114" fmla="*/ 45392 w 283"/>
              <a:gd name="T115" fmla="*/ 67456 h 244"/>
              <a:gd name="T116" fmla="*/ 32709 w 283"/>
              <a:gd name="T117" fmla="*/ 61210 h 244"/>
              <a:gd name="T118" fmla="*/ 19358 w 283"/>
              <a:gd name="T119" fmla="*/ 61210 h 244"/>
              <a:gd name="T120" fmla="*/ 0 w 283"/>
              <a:gd name="T121" fmla="*/ 43097 h 244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283"/>
              <a:gd name="T184" fmla="*/ 0 h 244"/>
              <a:gd name="T185" fmla="*/ 283 w 283"/>
              <a:gd name="T186" fmla="*/ 244 h 244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283" h="244">
                <a:moveTo>
                  <a:pt x="0" y="69"/>
                </a:moveTo>
                <a:lnTo>
                  <a:pt x="19" y="69"/>
                </a:lnTo>
                <a:lnTo>
                  <a:pt x="19" y="59"/>
                </a:lnTo>
                <a:lnTo>
                  <a:pt x="29" y="49"/>
                </a:lnTo>
                <a:lnTo>
                  <a:pt x="29" y="69"/>
                </a:lnTo>
                <a:lnTo>
                  <a:pt x="49" y="49"/>
                </a:lnTo>
                <a:lnTo>
                  <a:pt x="39" y="49"/>
                </a:lnTo>
                <a:lnTo>
                  <a:pt x="39" y="39"/>
                </a:lnTo>
                <a:lnTo>
                  <a:pt x="49" y="39"/>
                </a:lnTo>
                <a:lnTo>
                  <a:pt x="68" y="49"/>
                </a:lnTo>
                <a:lnTo>
                  <a:pt x="78" y="39"/>
                </a:lnTo>
                <a:lnTo>
                  <a:pt x="78" y="30"/>
                </a:lnTo>
                <a:lnTo>
                  <a:pt x="88" y="20"/>
                </a:lnTo>
                <a:lnTo>
                  <a:pt x="88" y="10"/>
                </a:lnTo>
                <a:lnTo>
                  <a:pt x="97" y="0"/>
                </a:lnTo>
                <a:lnTo>
                  <a:pt x="107" y="0"/>
                </a:lnTo>
                <a:lnTo>
                  <a:pt x="117" y="10"/>
                </a:lnTo>
                <a:lnTo>
                  <a:pt x="136" y="20"/>
                </a:lnTo>
                <a:lnTo>
                  <a:pt x="146" y="30"/>
                </a:lnTo>
                <a:lnTo>
                  <a:pt x="156" y="39"/>
                </a:lnTo>
                <a:lnTo>
                  <a:pt x="156" y="59"/>
                </a:lnTo>
                <a:lnTo>
                  <a:pt x="166" y="69"/>
                </a:lnTo>
                <a:lnTo>
                  <a:pt x="166" y="88"/>
                </a:lnTo>
                <a:lnTo>
                  <a:pt x="156" y="98"/>
                </a:lnTo>
                <a:lnTo>
                  <a:pt x="156" y="117"/>
                </a:lnTo>
                <a:lnTo>
                  <a:pt x="175" y="117"/>
                </a:lnTo>
                <a:lnTo>
                  <a:pt x="175" y="127"/>
                </a:lnTo>
                <a:lnTo>
                  <a:pt x="185" y="147"/>
                </a:lnTo>
                <a:lnTo>
                  <a:pt x="195" y="137"/>
                </a:lnTo>
                <a:lnTo>
                  <a:pt x="205" y="127"/>
                </a:lnTo>
                <a:lnTo>
                  <a:pt x="234" y="137"/>
                </a:lnTo>
                <a:lnTo>
                  <a:pt x="263" y="117"/>
                </a:lnTo>
                <a:lnTo>
                  <a:pt x="273" y="127"/>
                </a:lnTo>
                <a:lnTo>
                  <a:pt x="273" y="137"/>
                </a:lnTo>
                <a:lnTo>
                  <a:pt x="273" y="147"/>
                </a:lnTo>
                <a:lnTo>
                  <a:pt x="283" y="147"/>
                </a:lnTo>
                <a:lnTo>
                  <a:pt x="283" y="166"/>
                </a:lnTo>
                <a:lnTo>
                  <a:pt x="273" y="186"/>
                </a:lnTo>
                <a:lnTo>
                  <a:pt x="273" y="195"/>
                </a:lnTo>
                <a:lnTo>
                  <a:pt x="273" y="225"/>
                </a:lnTo>
                <a:lnTo>
                  <a:pt x="253" y="244"/>
                </a:lnTo>
                <a:lnTo>
                  <a:pt x="234" y="244"/>
                </a:lnTo>
                <a:lnTo>
                  <a:pt x="214" y="234"/>
                </a:lnTo>
                <a:lnTo>
                  <a:pt x="185" y="234"/>
                </a:lnTo>
                <a:lnTo>
                  <a:pt x="166" y="234"/>
                </a:lnTo>
                <a:lnTo>
                  <a:pt x="156" y="215"/>
                </a:lnTo>
                <a:lnTo>
                  <a:pt x="146" y="195"/>
                </a:lnTo>
                <a:lnTo>
                  <a:pt x="136" y="186"/>
                </a:lnTo>
                <a:lnTo>
                  <a:pt x="127" y="176"/>
                </a:lnTo>
                <a:lnTo>
                  <a:pt x="117" y="186"/>
                </a:lnTo>
                <a:lnTo>
                  <a:pt x="107" y="186"/>
                </a:lnTo>
                <a:lnTo>
                  <a:pt x="97" y="186"/>
                </a:lnTo>
                <a:lnTo>
                  <a:pt x="78" y="156"/>
                </a:lnTo>
                <a:lnTo>
                  <a:pt x="78" y="137"/>
                </a:lnTo>
                <a:lnTo>
                  <a:pt x="78" y="127"/>
                </a:lnTo>
                <a:lnTo>
                  <a:pt x="68" y="108"/>
                </a:lnTo>
                <a:lnTo>
                  <a:pt x="49" y="98"/>
                </a:lnTo>
                <a:lnTo>
                  <a:pt x="29" y="98"/>
                </a:lnTo>
                <a:lnTo>
                  <a:pt x="0" y="69"/>
                </a:lnTo>
                <a:close/>
              </a:path>
            </a:pathLst>
          </a:custGeom>
          <a:solidFill>
            <a:srgbClr val="DEC2B3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66" name="Freeform 373"/>
          <p:cNvSpPr>
            <a:spLocks noChangeAspect="1"/>
          </p:cNvSpPr>
          <p:nvPr>
            <p:custDataLst>
              <p:tags r:id="rId32"/>
            </p:custDataLst>
          </p:nvPr>
        </p:nvSpPr>
        <p:spPr bwMode="auto">
          <a:xfrm>
            <a:off x="3049588" y="4298950"/>
            <a:ext cx="304800" cy="242888"/>
          </a:xfrm>
          <a:custGeom>
            <a:avLst/>
            <a:gdLst>
              <a:gd name="T0" fmla="*/ 103592 w 459"/>
              <a:gd name="T1" fmla="*/ 145732 h 390"/>
              <a:gd name="T2" fmla="*/ 116873 w 459"/>
              <a:gd name="T3" fmla="*/ 158188 h 390"/>
              <a:gd name="T4" fmla="*/ 129490 w 459"/>
              <a:gd name="T5" fmla="*/ 145732 h 390"/>
              <a:gd name="T6" fmla="*/ 149412 w 459"/>
              <a:gd name="T7" fmla="*/ 158188 h 390"/>
              <a:gd name="T8" fmla="*/ 149412 w 459"/>
              <a:gd name="T9" fmla="*/ 194310 h 390"/>
              <a:gd name="T10" fmla="*/ 168669 w 459"/>
              <a:gd name="T11" fmla="*/ 194310 h 390"/>
              <a:gd name="T12" fmla="*/ 175310 w 459"/>
              <a:gd name="T13" fmla="*/ 212370 h 390"/>
              <a:gd name="T14" fmla="*/ 194567 w 459"/>
              <a:gd name="T15" fmla="*/ 218598 h 390"/>
              <a:gd name="T16" fmla="*/ 181950 w 459"/>
              <a:gd name="T17" fmla="*/ 224826 h 390"/>
              <a:gd name="T18" fmla="*/ 194567 w 459"/>
              <a:gd name="T19" fmla="*/ 236659 h 390"/>
              <a:gd name="T20" fmla="*/ 220465 w 459"/>
              <a:gd name="T21" fmla="*/ 218598 h 390"/>
              <a:gd name="T22" fmla="*/ 239723 w 459"/>
              <a:gd name="T23" fmla="*/ 200537 h 390"/>
              <a:gd name="T24" fmla="*/ 233746 w 459"/>
              <a:gd name="T25" fmla="*/ 182477 h 390"/>
              <a:gd name="T26" fmla="*/ 246363 w 459"/>
              <a:gd name="T27" fmla="*/ 188082 h 390"/>
              <a:gd name="T28" fmla="*/ 291519 w 459"/>
              <a:gd name="T29" fmla="*/ 182477 h 390"/>
              <a:gd name="T30" fmla="*/ 291519 w 459"/>
              <a:gd name="T31" fmla="*/ 158188 h 390"/>
              <a:gd name="T32" fmla="*/ 285542 w 459"/>
              <a:gd name="T33" fmla="*/ 145732 h 390"/>
              <a:gd name="T34" fmla="*/ 298159 w 459"/>
              <a:gd name="T35" fmla="*/ 127671 h 390"/>
              <a:gd name="T36" fmla="*/ 304800 w 459"/>
              <a:gd name="T37" fmla="*/ 115216 h 390"/>
              <a:gd name="T38" fmla="*/ 285542 w 459"/>
              <a:gd name="T39" fmla="*/ 115216 h 390"/>
              <a:gd name="T40" fmla="*/ 298159 w 459"/>
              <a:gd name="T41" fmla="*/ 103383 h 390"/>
              <a:gd name="T42" fmla="*/ 304800 w 459"/>
              <a:gd name="T43" fmla="*/ 90927 h 390"/>
              <a:gd name="T44" fmla="*/ 272261 w 459"/>
              <a:gd name="T45" fmla="*/ 97155 h 390"/>
              <a:gd name="T46" fmla="*/ 265621 w 459"/>
              <a:gd name="T47" fmla="*/ 108988 h 390"/>
              <a:gd name="T48" fmla="*/ 239723 w 459"/>
              <a:gd name="T49" fmla="*/ 103383 h 390"/>
              <a:gd name="T50" fmla="*/ 213825 w 459"/>
              <a:gd name="T51" fmla="*/ 84699 h 390"/>
              <a:gd name="T52" fmla="*/ 213825 w 459"/>
              <a:gd name="T53" fmla="*/ 60410 h 390"/>
              <a:gd name="T54" fmla="*/ 213825 w 459"/>
              <a:gd name="T55" fmla="*/ 42350 h 390"/>
              <a:gd name="T56" fmla="*/ 213825 w 459"/>
              <a:gd name="T57" fmla="*/ 18061 h 390"/>
              <a:gd name="T58" fmla="*/ 194567 w 459"/>
              <a:gd name="T59" fmla="*/ 11833 h 390"/>
              <a:gd name="T60" fmla="*/ 175310 w 459"/>
              <a:gd name="T61" fmla="*/ 6228 h 390"/>
              <a:gd name="T62" fmla="*/ 149412 w 459"/>
              <a:gd name="T63" fmla="*/ 6228 h 390"/>
              <a:gd name="T64" fmla="*/ 123514 w 459"/>
              <a:gd name="T65" fmla="*/ 6228 h 390"/>
              <a:gd name="T66" fmla="*/ 90975 w 459"/>
              <a:gd name="T67" fmla="*/ 6228 h 390"/>
              <a:gd name="T68" fmla="*/ 65077 w 459"/>
              <a:gd name="T69" fmla="*/ 6228 h 390"/>
              <a:gd name="T70" fmla="*/ 65077 w 459"/>
              <a:gd name="T71" fmla="*/ 18061 h 390"/>
              <a:gd name="T72" fmla="*/ 58437 w 459"/>
              <a:gd name="T73" fmla="*/ 30517 h 390"/>
              <a:gd name="T74" fmla="*/ 51796 w 459"/>
              <a:gd name="T75" fmla="*/ 36122 h 390"/>
              <a:gd name="T76" fmla="*/ 32539 w 459"/>
              <a:gd name="T77" fmla="*/ 48577 h 390"/>
              <a:gd name="T78" fmla="*/ 19922 w 459"/>
              <a:gd name="T79" fmla="*/ 36122 h 390"/>
              <a:gd name="T80" fmla="*/ 0 w 459"/>
              <a:gd name="T81" fmla="*/ 48577 h 390"/>
              <a:gd name="T82" fmla="*/ 25898 w 459"/>
              <a:gd name="T83" fmla="*/ 54805 h 390"/>
              <a:gd name="T84" fmla="*/ 39179 w 459"/>
              <a:gd name="T85" fmla="*/ 66638 h 390"/>
              <a:gd name="T86" fmla="*/ 51796 w 459"/>
              <a:gd name="T87" fmla="*/ 84699 h 390"/>
              <a:gd name="T88" fmla="*/ 65077 w 459"/>
              <a:gd name="T89" fmla="*/ 79094 h 390"/>
              <a:gd name="T90" fmla="*/ 90975 w 459"/>
              <a:gd name="T91" fmla="*/ 84699 h 390"/>
              <a:gd name="T92" fmla="*/ 90975 w 459"/>
              <a:gd name="T93" fmla="*/ 108988 h 390"/>
              <a:gd name="T94" fmla="*/ 97616 w 459"/>
              <a:gd name="T95" fmla="*/ 133899 h 390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459"/>
              <a:gd name="T145" fmla="*/ 0 h 390"/>
              <a:gd name="T146" fmla="*/ 459 w 459"/>
              <a:gd name="T147" fmla="*/ 390 h 390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459" h="390">
                <a:moveTo>
                  <a:pt x="147" y="215"/>
                </a:moveTo>
                <a:lnTo>
                  <a:pt x="156" y="234"/>
                </a:lnTo>
                <a:lnTo>
                  <a:pt x="176" y="234"/>
                </a:lnTo>
                <a:lnTo>
                  <a:pt x="176" y="254"/>
                </a:lnTo>
                <a:lnTo>
                  <a:pt x="195" y="254"/>
                </a:lnTo>
                <a:lnTo>
                  <a:pt x="195" y="234"/>
                </a:lnTo>
                <a:lnTo>
                  <a:pt x="215" y="244"/>
                </a:lnTo>
                <a:lnTo>
                  <a:pt x="225" y="254"/>
                </a:lnTo>
                <a:lnTo>
                  <a:pt x="225" y="283"/>
                </a:lnTo>
                <a:lnTo>
                  <a:pt x="225" y="312"/>
                </a:lnTo>
                <a:lnTo>
                  <a:pt x="244" y="302"/>
                </a:lnTo>
                <a:lnTo>
                  <a:pt x="254" y="312"/>
                </a:lnTo>
                <a:lnTo>
                  <a:pt x="254" y="322"/>
                </a:lnTo>
                <a:lnTo>
                  <a:pt x="264" y="341"/>
                </a:lnTo>
                <a:lnTo>
                  <a:pt x="274" y="351"/>
                </a:lnTo>
                <a:lnTo>
                  <a:pt x="293" y="351"/>
                </a:lnTo>
                <a:lnTo>
                  <a:pt x="293" y="361"/>
                </a:lnTo>
                <a:lnTo>
                  <a:pt x="274" y="361"/>
                </a:lnTo>
                <a:lnTo>
                  <a:pt x="283" y="390"/>
                </a:lnTo>
                <a:lnTo>
                  <a:pt x="293" y="380"/>
                </a:lnTo>
                <a:lnTo>
                  <a:pt x="313" y="351"/>
                </a:lnTo>
                <a:lnTo>
                  <a:pt x="332" y="351"/>
                </a:lnTo>
                <a:lnTo>
                  <a:pt x="352" y="351"/>
                </a:lnTo>
                <a:lnTo>
                  <a:pt x="361" y="322"/>
                </a:lnTo>
                <a:lnTo>
                  <a:pt x="352" y="302"/>
                </a:lnTo>
                <a:lnTo>
                  <a:pt x="352" y="293"/>
                </a:lnTo>
                <a:lnTo>
                  <a:pt x="361" y="293"/>
                </a:lnTo>
                <a:lnTo>
                  <a:pt x="371" y="302"/>
                </a:lnTo>
                <a:lnTo>
                  <a:pt x="420" y="293"/>
                </a:lnTo>
                <a:lnTo>
                  <a:pt x="439" y="293"/>
                </a:lnTo>
                <a:lnTo>
                  <a:pt x="449" y="273"/>
                </a:lnTo>
                <a:lnTo>
                  <a:pt x="439" y="254"/>
                </a:lnTo>
                <a:lnTo>
                  <a:pt x="430" y="234"/>
                </a:lnTo>
                <a:lnTo>
                  <a:pt x="430" y="224"/>
                </a:lnTo>
                <a:lnTo>
                  <a:pt x="449" y="205"/>
                </a:lnTo>
                <a:lnTo>
                  <a:pt x="459" y="195"/>
                </a:lnTo>
                <a:lnTo>
                  <a:pt x="459" y="185"/>
                </a:lnTo>
                <a:lnTo>
                  <a:pt x="439" y="195"/>
                </a:lnTo>
                <a:lnTo>
                  <a:pt x="430" y="185"/>
                </a:lnTo>
                <a:lnTo>
                  <a:pt x="430" y="166"/>
                </a:lnTo>
                <a:lnTo>
                  <a:pt x="449" y="166"/>
                </a:lnTo>
                <a:lnTo>
                  <a:pt x="459" y="156"/>
                </a:lnTo>
                <a:lnTo>
                  <a:pt x="459" y="146"/>
                </a:lnTo>
                <a:lnTo>
                  <a:pt x="439" y="146"/>
                </a:lnTo>
                <a:lnTo>
                  <a:pt x="410" y="156"/>
                </a:lnTo>
                <a:lnTo>
                  <a:pt x="410" y="175"/>
                </a:lnTo>
                <a:lnTo>
                  <a:pt x="400" y="175"/>
                </a:lnTo>
                <a:lnTo>
                  <a:pt x="391" y="166"/>
                </a:lnTo>
                <a:lnTo>
                  <a:pt x="361" y="166"/>
                </a:lnTo>
                <a:lnTo>
                  <a:pt x="332" y="156"/>
                </a:lnTo>
                <a:lnTo>
                  <a:pt x="322" y="136"/>
                </a:lnTo>
                <a:lnTo>
                  <a:pt x="332" y="117"/>
                </a:lnTo>
                <a:lnTo>
                  <a:pt x="322" y="97"/>
                </a:lnTo>
                <a:lnTo>
                  <a:pt x="332" y="78"/>
                </a:lnTo>
                <a:lnTo>
                  <a:pt x="322" y="68"/>
                </a:lnTo>
                <a:lnTo>
                  <a:pt x="322" y="29"/>
                </a:lnTo>
                <a:lnTo>
                  <a:pt x="303" y="39"/>
                </a:lnTo>
                <a:lnTo>
                  <a:pt x="293" y="19"/>
                </a:lnTo>
                <a:lnTo>
                  <a:pt x="283" y="10"/>
                </a:lnTo>
                <a:lnTo>
                  <a:pt x="264" y="10"/>
                </a:lnTo>
                <a:lnTo>
                  <a:pt x="254" y="0"/>
                </a:lnTo>
                <a:lnTo>
                  <a:pt x="225" y="10"/>
                </a:lnTo>
                <a:lnTo>
                  <a:pt x="205" y="10"/>
                </a:lnTo>
                <a:lnTo>
                  <a:pt x="186" y="10"/>
                </a:lnTo>
                <a:lnTo>
                  <a:pt x="166" y="10"/>
                </a:lnTo>
                <a:lnTo>
                  <a:pt x="137" y="10"/>
                </a:lnTo>
                <a:lnTo>
                  <a:pt x="108" y="10"/>
                </a:lnTo>
                <a:lnTo>
                  <a:pt x="98" y="10"/>
                </a:lnTo>
                <a:lnTo>
                  <a:pt x="88" y="19"/>
                </a:lnTo>
                <a:lnTo>
                  <a:pt x="98" y="29"/>
                </a:lnTo>
                <a:lnTo>
                  <a:pt x="98" y="39"/>
                </a:lnTo>
                <a:lnTo>
                  <a:pt x="88" y="49"/>
                </a:lnTo>
                <a:lnTo>
                  <a:pt x="78" y="58"/>
                </a:lnTo>
                <a:lnTo>
                  <a:pt x="59" y="78"/>
                </a:lnTo>
                <a:lnTo>
                  <a:pt x="49" y="78"/>
                </a:lnTo>
                <a:lnTo>
                  <a:pt x="39" y="68"/>
                </a:lnTo>
                <a:lnTo>
                  <a:pt x="30" y="58"/>
                </a:lnTo>
                <a:lnTo>
                  <a:pt x="10" y="58"/>
                </a:lnTo>
                <a:lnTo>
                  <a:pt x="0" y="78"/>
                </a:lnTo>
                <a:lnTo>
                  <a:pt x="20" y="88"/>
                </a:lnTo>
                <a:lnTo>
                  <a:pt x="39" y="88"/>
                </a:lnTo>
                <a:lnTo>
                  <a:pt x="39" y="107"/>
                </a:lnTo>
                <a:lnTo>
                  <a:pt x="59" y="107"/>
                </a:lnTo>
                <a:lnTo>
                  <a:pt x="69" y="127"/>
                </a:lnTo>
                <a:lnTo>
                  <a:pt x="78" y="136"/>
                </a:lnTo>
                <a:lnTo>
                  <a:pt x="88" y="136"/>
                </a:lnTo>
                <a:lnTo>
                  <a:pt x="98" y="127"/>
                </a:lnTo>
                <a:lnTo>
                  <a:pt x="117" y="136"/>
                </a:lnTo>
                <a:lnTo>
                  <a:pt x="137" y="136"/>
                </a:lnTo>
                <a:lnTo>
                  <a:pt x="147" y="156"/>
                </a:lnTo>
                <a:lnTo>
                  <a:pt x="137" y="175"/>
                </a:lnTo>
                <a:lnTo>
                  <a:pt x="147" y="195"/>
                </a:lnTo>
                <a:lnTo>
                  <a:pt x="147" y="215"/>
                </a:lnTo>
                <a:close/>
              </a:path>
            </a:pathLst>
          </a:custGeom>
          <a:solidFill>
            <a:srgbClr val="DEC2B3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67" name="Freeform 372"/>
          <p:cNvSpPr>
            <a:spLocks noChangeAspect="1"/>
          </p:cNvSpPr>
          <p:nvPr>
            <p:custDataLst>
              <p:tags r:id="rId33"/>
            </p:custDataLst>
          </p:nvPr>
        </p:nvSpPr>
        <p:spPr bwMode="auto">
          <a:xfrm>
            <a:off x="3224213" y="4446588"/>
            <a:ext cx="312737" cy="355600"/>
          </a:xfrm>
          <a:custGeom>
            <a:avLst/>
            <a:gdLst>
              <a:gd name="T0" fmla="*/ 45440 w 468"/>
              <a:gd name="T1" fmla="*/ 72231 h 576"/>
              <a:gd name="T2" fmla="*/ 58805 w 468"/>
              <a:gd name="T3" fmla="*/ 54328 h 576"/>
              <a:gd name="T4" fmla="*/ 58805 w 468"/>
              <a:gd name="T5" fmla="*/ 36424 h 576"/>
              <a:gd name="T6" fmla="*/ 71502 w 468"/>
              <a:gd name="T7" fmla="*/ 41981 h 576"/>
              <a:gd name="T8" fmla="*/ 116942 w 468"/>
              <a:gd name="T9" fmla="*/ 36424 h 576"/>
              <a:gd name="T10" fmla="*/ 116942 w 468"/>
              <a:gd name="T11" fmla="*/ 12347 h 576"/>
              <a:gd name="T12" fmla="*/ 110928 w 468"/>
              <a:gd name="T13" fmla="*/ 0 h 576"/>
              <a:gd name="T14" fmla="*/ 136990 w 468"/>
              <a:gd name="T15" fmla="*/ 0 h 576"/>
              <a:gd name="T16" fmla="*/ 169065 w 468"/>
              <a:gd name="T17" fmla="*/ 0 h 576"/>
              <a:gd name="T18" fmla="*/ 189112 w 468"/>
              <a:gd name="T19" fmla="*/ 17903 h 576"/>
              <a:gd name="T20" fmla="*/ 221188 w 468"/>
              <a:gd name="T21" fmla="*/ 24077 h 576"/>
              <a:gd name="T22" fmla="*/ 221188 w 468"/>
              <a:gd name="T23" fmla="*/ 30251 h 576"/>
              <a:gd name="T24" fmla="*/ 221188 w 468"/>
              <a:gd name="T25" fmla="*/ 41981 h 576"/>
              <a:gd name="T26" fmla="*/ 241235 w 468"/>
              <a:gd name="T27" fmla="*/ 72231 h 576"/>
              <a:gd name="T28" fmla="*/ 260614 w 468"/>
              <a:gd name="T29" fmla="*/ 84578 h 576"/>
              <a:gd name="T30" fmla="*/ 279993 w 468"/>
              <a:gd name="T31" fmla="*/ 96308 h 576"/>
              <a:gd name="T32" fmla="*/ 293358 w 468"/>
              <a:gd name="T33" fmla="*/ 108656 h 576"/>
              <a:gd name="T34" fmla="*/ 306055 w 468"/>
              <a:gd name="T35" fmla="*/ 120385 h 576"/>
              <a:gd name="T36" fmla="*/ 312737 w 468"/>
              <a:gd name="T37" fmla="*/ 132733 h 576"/>
              <a:gd name="T38" fmla="*/ 299372 w 468"/>
              <a:gd name="T39" fmla="*/ 144462 h 576"/>
              <a:gd name="T40" fmla="*/ 299372 w 468"/>
              <a:gd name="T41" fmla="*/ 156810 h 576"/>
              <a:gd name="T42" fmla="*/ 279993 w 468"/>
              <a:gd name="T43" fmla="*/ 156810 h 576"/>
              <a:gd name="T44" fmla="*/ 273311 w 468"/>
              <a:gd name="T45" fmla="*/ 168540 h 576"/>
              <a:gd name="T46" fmla="*/ 253932 w 468"/>
              <a:gd name="T47" fmla="*/ 162366 h 576"/>
              <a:gd name="T48" fmla="*/ 241235 w 468"/>
              <a:gd name="T49" fmla="*/ 168540 h 576"/>
              <a:gd name="T50" fmla="*/ 227870 w 468"/>
              <a:gd name="T51" fmla="*/ 156810 h 576"/>
              <a:gd name="T52" fmla="*/ 241235 w 468"/>
              <a:gd name="T53" fmla="*/ 144462 h 576"/>
              <a:gd name="T54" fmla="*/ 221188 w 468"/>
              <a:gd name="T55" fmla="*/ 126559 h 576"/>
              <a:gd name="T56" fmla="*/ 189112 w 468"/>
              <a:gd name="T57" fmla="*/ 150636 h 576"/>
              <a:gd name="T58" fmla="*/ 182430 w 468"/>
              <a:gd name="T59" fmla="*/ 168540 h 576"/>
              <a:gd name="T60" fmla="*/ 215174 w 468"/>
              <a:gd name="T61" fmla="*/ 186443 h 576"/>
              <a:gd name="T62" fmla="*/ 234553 w 468"/>
              <a:gd name="T63" fmla="*/ 198790 h 576"/>
              <a:gd name="T64" fmla="*/ 260614 w 468"/>
              <a:gd name="T65" fmla="*/ 204964 h 576"/>
              <a:gd name="T66" fmla="*/ 286676 w 468"/>
              <a:gd name="T67" fmla="*/ 204964 h 576"/>
              <a:gd name="T68" fmla="*/ 279993 w 468"/>
              <a:gd name="T69" fmla="*/ 222867 h 576"/>
              <a:gd name="T70" fmla="*/ 260614 w 468"/>
              <a:gd name="T71" fmla="*/ 235215 h 576"/>
              <a:gd name="T72" fmla="*/ 241235 w 468"/>
              <a:gd name="T73" fmla="*/ 235215 h 576"/>
              <a:gd name="T74" fmla="*/ 215174 w 468"/>
              <a:gd name="T75" fmla="*/ 235215 h 576"/>
              <a:gd name="T76" fmla="*/ 189112 w 468"/>
              <a:gd name="T77" fmla="*/ 253118 h 576"/>
              <a:gd name="T78" fmla="*/ 175748 w 468"/>
              <a:gd name="T79" fmla="*/ 271021 h 576"/>
              <a:gd name="T80" fmla="*/ 169065 w 468"/>
              <a:gd name="T81" fmla="*/ 288925 h 576"/>
              <a:gd name="T82" fmla="*/ 156369 w 468"/>
              <a:gd name="T83" fmla="*/ 295099 h 576"/>
              <a:gd name="T84" fmla="*/ 143004 w 468"/>
              <a:gd name="T85" fmla="*/ 319176 h 576"/>
              <a:gd name="T86" fmla="*/ 123625 w 468"/>
              <a:gd name="T87" fmla="*/ 331523 h 576"/>
              <a:gd name="T88" fmla="*/ 110928 w 468"/>
              <a:gd name="T89" fmla="*/ 337079 h 576"/>
              <a:gd name="T90" fmla="*/ 84867 w 468"/>
              <a:gd name="T91" fmla="*/ 355600 h 576"/>
              <a:gd name="T92" fmla="*/ 71502 w 468"/>
              <a:gd name="T93" fmla="*/ 337079 h 576"/>
              <a:gd name="T94" fmla="*/ 45440 w 468"/>
              <a:gd name="T95" fmla="*/ 331523 h 576"/>
              <a:gd name="T96" fmla="*/ 32744 w 468"/>
              <a:gd name="T97" fmla="*/ 319176 h 576"/>
              <a:gd name="T98" fmla="*/ 19379 w 468"/>
              <a:gd name="T99" fmla="*/ 319176 h 576"/>
              <a:gd name="T100" fmla="*/ 26061 w 468"/>
              <a:gd name="T101" fmla="*/ 301272 h 576"/>
              <a:gd name="T102" fmla="*/ 19379 w 468"/>
              <a:gd name="T103" fmla="*/ 277195 h 576"/>
              <a:gd name="T104" fmla="*/ 32744 w 468"/>
              <a:gd name="T105" fmla="*/ 264848 h 576"/>
              <a:gd name="T106" fmla="*/ 38758 w 468"/>
              <a:gd name="T107" fmla="*/ 246944 h 576"/>
              <a:gd name="T108" fmla="*/ 12697 w 468"/>
              <a:gd name="T109" fmla="*/ 253118 h 576"/>
              <a:gd name="T110" fmla="*/ 6682 w 468"/>
              <a:gd name="T111" fmla="*/ 229041 h 576"/>
              <a:gd name="T112" fmla="*/ 19379 w 468"/>
              <a:gd name="T113" fmla="*/ 222867 h 576"/>
              <a:gd name="T114" fmla="*/ 6682 w 468"/>
              <a:gd name="T115" fmla="*/ 211137 h 576"/>
              <a:gd name="T116" fmla="*/ 19379 w 468"/>
              <a:gd name="T117" fmla="*/ 168540 h 576"/>
              <a:gd name="T118" fmla="*/ 19379 w 468"/>
              <a:gd name="T119" fmla="*/ 156810 h 576"/>
              <a:gd name="T120" fmla="*/ 6682 w 468"/>
              <a:gd name="T121" fmla="*/ 138289 h 576"/>
              <a:gd name="T122" fmla="*/ 12697 w 468"/>
              <a:gd name="T123" fmla="*/ 108656 h 576"/>
              <a:gd name="T124" fmla="*/ 32744 w 468"/>
              <a:gd name="T125" fmla="*/ 72231 h 57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468"/>
              <a:gd name="T190" fmla="*/ 0 h 576"/>
              <a:gd name="T191" fmla="*/ 468 w 468"/>
              <a:gd name="T192" fmla="*/ 576 h 57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468" h="576">
                <a:moveTo>
                  <a:pt x="49" y="117"/>
                </a:moveTo>
                <a:lnTo>
                  <a:pt x="68" y="117"/>
                </a:lnTo>
                <a:lnTo>
                  <a:pt x="88" y="117"/>
                </a:lnTo>
                <a:lnTo>
                  <a:pt x="88" y="88"/>
                </a:lnTo>
                <a:lnTo>
                  <a:pt x="88" y="68"/>
                </a:lnTo>
                <a:lnTo>
                  <a:pt x="88" y="59"/>
                </a:lnTo>
                <a:lnTo>
                  <a:pt x="107" y="68"/>
                </a:lnTo>
                <a:lnTo>
                  <a:pt x="156" y="59"/>
                </a:lnTo>
                <a:lnTo>
                  <a:pt x="175" y="59"/>
                </a:lnTo>
                <a:lnTo>
                  <a:pt x="185" y="49"/>
                </a:lnTo>
                <a:lnTo>
                  <a:pt x="175" y="20"/>
                </a:lnTo>
                <a:lnTo>
                  <a:pt x="166" y="0"/>
                </a:lnTo>
                <a:lnTo>
                  <a:pt x="175" y="0"/>
                </a:lnTo>
                <a:lnTo>
                  <a:pt x="205" y="0"/>
                </a:lnTo>
                <a:lnTo>
                  <a:pt x="234" y="0"/>
                </a:lnTo>
                <a:lnTo>
                  <a:pt x="253" y="0"/>
                </a:lnTo>
                <a:lnTo>
                  <a:pt x="263" y="20"/>
                </a:lnTo>
                <a:lnTo>
                  <a:pt x="283" y="29"/>
                </a:lnTo>
                <a:lnTo>
                  <a:pt x="302" y="39"/>
                </a:lnTo>
                <a:lnTo>
                  <a:pt x="331" y="39"/>
                </a:lnTo>
                <a:lnTo>
                  <a:pt x="341" y="49"/>
                </a:lnTo>
                <a:lnTo>
                  <a:pt x="331" y="49"/>
                </a:lnTo>
                <a:lnTo>
                  <a:pt x="331" y="59"/>
                </a:lnTo>
                <a:lnTo>
                  <a:pt x="331" y="68"/>
                </a:lnTo>
                <a:lnTo>
                  <a:pt x="351" y="78"/>
                </a:lnTo>
                <a:lnTo>
                  <a:pt x="361" y="117"/>
                </a:lnTo>
                <a:lnTo>
                  <a:pt x="380" y="117"/>
                </a:lnTo>
                <a:lnTo>
                  <a:pt x="390" y="137"/>
                </a:lnTo>
                <a:lnTo>
                  <a:pt x="400" y="137"/>
                </a:lnTo>
                <a:lnTo>
                  <a:pt x="419" y="156"/>
                </a:lnTo>
                <a:lnTo>
                  <a:pt x="419" y="166"/>
                </a:lnTo>
                <a:lnTo>
                  <a:pt x="439" y="176"/>
                </a:lnTo>
                <a:lnTo>
                  <a:pt x="458" y="185"/>
                </a:lnTo>
                <a:lnTo>
                  <a:pt x="458" y="195"/>
                </a:lnTo>
                <a:lnTo>
                  <a:pt x="468" y="195"/>
                </a:lnTo>
                <a:lnTo>
                  <a:pt x="468" y="215"/>
                </a:lnTo>
                <a:lnTo>
                  <a:pt x="448" y="224"/>
                </a:lnTo>
                <a:lnTo>
                  <a:pt x="448" y="234"/>
                </a:lnTo>
                <a:lnTo>
                  <a:pt x="439" y="244"/>
                </a:lnTo>
                <a:lnTo>
                  <a:pt x="448" y="254"/>
                </a:lnTo>
                <a:lnTo>
                  <a:pt x="448" y="263"/>
                </a:lnTo>
                <a:lnTo>
                  <a:pt x="419" y="254"/>
                </a:lnTo>
                <a:lnTo>
                  <a:pt x="419" y="273"/>
                </a:lnTo>
                <a:lnTo>
                  <a:pt x="409" y="273"/>
                </a:lnTo>
                <a:lnTo>
                  <a:pt x="400" y="263"/>
                </a:lnTo>
                <a:lnTo>
                  <a:pt x="380" y="263"/>
                </a:lnTo>
                <a:lnTo>
                  <a:pt x="380" y="273"/>
                </a:lnTo>
                <a:lnTo>
                  <a:pt x="361" y="273"/>
                </a:lnTo>
                <a:lnTo>
                  <a:pt x="361" y="254"/>
                </a:lnTo>
                <a:lnTo>
                  <a:pt x="341" y="254"/>
                </a:lnTo>
                <a:lnTo>
                  <a:pt x="331" y="244"/>
                </a:lnTo>
                <a:lnTo>
                  <a:pt x="361" y="234"/>
                </a:lnTo>
                <a:lnTo>
                  <a:pt x="351" y="215"/>
                </a:lnTo>
                <a:lnTo>
                  <a:pt x="331" y="205"/>
                </a:lnTo>
                <a:lnTo>
                  <a:pt x="292" y="215"/>
                </a:lnTo>
                <a:lnTo>
                  <a:pt x="283" y="244"/>
                </a:lnTo>
                <a:lnTo>
                  <a:pt x="273" y="254"/>
                </a:lnTo>
                <a:lnTo>
                  <a:pt x="273" y="273"/>
                </a:lnTo>
                <a:lnTo>
                  <a:pt x="292" y="302"/>
                </a:lnTo>
                <a:lnTo>
                  <a:pt x="322" y="302"/>
                </a:lnTo>
                <a:lnTo>
                  <a:pt x="341" y="332"/>
                </a:lnTo>
                <a:lnTo>
                  <a:pt x="351" y="322"/>
                </a:lnTo>
                <a:lnTo>
                  <a:pt x="370" y="332"/>
                </a:lnTo>
                <a:lnTo>
                  <a:pt x="390" y="332"/>
                </a:lnTo>
                <a:lnTo>
                  <a:pt x="419" y="332"/>
                </a:lnTo>
                <a:lnTo>
                  <a:pt x="429" y="332"/>
                </a:lnTo>
                <a:lnTo>
                  <a:pt x="429" y="342"/>
                </a:lnTo>
                <a:lnTo>
                  <a:pt x="419" y="361"/>
                </a:lnTo>
                <a:lnTo>
                  <a:pt x="400" y="361"/>
                </a:lnTo>
                <a:lnTo>
                  <a:pt x="390" y="381"/>
                </a:lnTo>
                <a:lnTo>
                  <a:pt x="370" y="390"/>
                </a:lnTo>
                <a:lnTo>
                  <a:pt x="361" y="381"/>
                </a:lnTo>
                <a:lnTo>
                  <a:pt x="341" y="381"/>
                </a:lnTo>
                <a:lnTo>
                  <a:pt x="322" y="381"/>
                </a:lnTo>
                <a:lnTo>
                  <a:pt x="302" y="400"/>
                </a:lnTo>
                <a:lnTo>
                  <a:pt x="283" y="410"/>
                </a:lnTo>
                <a:lnTo>
                  <a:pt x="273" y="420"/>
                </a:lnTo>
                <a:lnTo>
                  <a:pt x="263" y="439"/>
                </a:lnTo>
                <a:lnTo>
                  <a:pt x="253" y="459"/>
                </a:lnTo>
                <a:lnTo>
                  <a:pt x="253" y="468"/>
                </a:lnTo>
                <a:lnTo>
                  <a:pt x="244" y="478"/>
                </a:lnTo>
                <a:lnTo>
                  <a:pt x="234" y="478"/>
                </a:lnTo>
                <a:lnTo>
                  <a:pt x="224" y="498"/>
                </a:lnTo>
                <a:lnTo>
                  <a:pt x="214" y="517"/>
                </a:lnTo>
                <a:lnTo>
                  <a:pt x="205" y="537"/>
                </a:lnTo>
                <a:lnTo>
                  <a:pt x="185" y="537"/>
                </a:lnTo>
                <a:lnTo>
                  <a:pt x="175" y="537"/>
                </a:lnTo>
                <a:lnTo>
                  <a:pt x="166" y="546"/>
                </a:lnTo>
                <a:lnTo>
                  <a:pt x="146" y="566"/>
                </a:lnTo>
                <a:lnTo>
                  <a:pt x="127" y="576"/>
                </a:lnTo>
                <a:lnTo>
                  <a:pt x="107" y="566"/>
                </a:lnTo>
                <a:lnTo>
                  <a:pt x="107" y="546"/>
                </a:lnTo>
                <a:lnTo>
                  <a:pt x="88" y="537"/>
                </a:lnTo>
                <a:lnTo>
                  <a:pt x="68" y="537"/>
                </a:lnTo>
                <a:lnTo>
                  <a:pt x="49" y="537"/>
                </a:lnTo>
                <a:lnTo>
                  <a:pt x="49" y="517"/>
                </a:lnTo>
                <a:lnTo>
                  <a:pt x="39" y="517"/>
                </a:lnTo>
                <a:lnTo>
                  <a:pt x="29" y="517"/>
                </a:lnTo>
                <a:lnTo>
                  <a:pt x="29" y="488"/>
                </a:lnTo>
                <a:lnTo>
                  <a:pt x="39" y="488"/>
                </a:lnTo>
                <a:lnTo>
                  <a:pt x="39" y="459"/>
                </a:lnTo>
                <a:lnTo>
                  <a:pt x="29" y="449"/>
                </a:lnTo>
                <a:lnTo>
                  <a:pt x="39" y="439"/>
                </a:lnTo>
                <a:lnTo>
                  <a:pt x="49" y="429"/>
                </a:lnTo>
                <a:lnTo>
                  <a:pt x="68" y="420"/>
                </a:lnTo>
                <a:lnTo>
                  <a:pt x="58" y="400"/>
                </a:lnTo>
                <a:lnTo>
                  <a:pt x="39" y="400"/>
                </a:lnTo>
                <a:lnTo>
                  <a:pt x="19" y="410"/>
                </a:lnTo>
                <a:lnTo>
                  <a:pt x="10" y="390"/>
                </a:lnTo>
                <a:lnTo>
                  <a:pt x="10" y="371"/>
                </a:lnTo>
                <a:lnTo>
                  <a:pt x="0" y="361"/>
                </a:lnTo>
                <a:lnTo>
                  <a:pt x="29" y="361"/>
                </a:lnTo>
                <a:lnTo>
                  <a:pt x="29" y="351"/>
                </a:lnTo>
                <a:lnTo>
                  <a:pt x="10" y="342"/>
                </a:lnTo>
                <a:lnTo>
                  <a:pt x="29" y="293"/>
                </a:lnTo>
                <a:lnTo>
                  <a:pt x="29" y="273"/>
                </a:lnTo>
                <a:lnTo>
                  <a:pt x="39" y="263"/>
                </a:lnTo>
                <a:lnTo>
                  <a:pt x="29" y="254"/>
                </a:lnTo>
                <a:lnTo>
                  <a:pt x="10" y="244"/>
                </a:lnTo>
                <a:lnTo>
                  <a:pt x="10" y="224"/>
                </a:lnTo>
                <a:lnTo>
                  <a:pt x="10" y="205"/>
                </a:lnTo>
                <a:lnTo>
                  <a:pt x="19" y="176"/>
                </a:lnTo>
                <a:lnTo>
                  <a:pt x="29" y="146"/>
                </a:lnTo>
                <a:lnTo>
                  <a:pt x="49" y="117"/>
                </a:lnTo>
                <a:close/>
              </a:path>
            </a:pathLst>
          </a:custGeom>
          <a:solidFill>
            <a:srgbClr val="DEC2B3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68" name="Freeform 371"/>
          <p:cNvSpPr>
            <a:spLocks noChangeAspect="1"/>
          </p:cNvSpPr>
          <p:nvPr>
            <p:custDataLst>
              <p:tags r:id="rId34"/>
            </p:custDataLst>
          </p:nvPr>
        </p:nvSpPr>
        <p:spPr bwMode="auto">
          <a:xfrm>
            <a:off x="3262313" y="4262438"/>
            <a:ext cx="217487" cy="184150"/>
          </a:xfrm>
          <a:custGeom>
            <a:avLst/>
            <a:gdLst>
              <a:gd name="T0" fmla="*/ 6754 w 322"/>
              <a:gd name="T1" fmla="*/ 135127 h 293"/>
              <a:gd name="T2" fmla="*/ 26342 w 322"/>
              <a:gd name="T3" fmla="*/ 141412 h 293"/>
              <a:gd name="T4" fmla="*/ 46604 w 322"/>
              <a:gd name="T5" fmla="*/ 141412 h 293"/>
              <a:gd name="T6" fmla="*/ 52683 w 322"/>
              <a:gd name="T7" fmla="*/ 147069 h 293"/>
              <a:gd name="T8" fmla="*/ 59437 w 322"/>
              <a:gd name="T9" fmla="*/ 147069 h 293"/>
              <a:gd name="T10" fmla="*/ 59437 w 322"/>
              <a:gd name="T11" fmla="*/ 135127 h 293"/>
              <a:gd name="T12" fmla="*/ 79025 w 322"/>
              <a:gd name="T13" fmla="*/ 128842 h 293"/>
              <a:gd name="T14" fmla="*/ 92533 w 322"/>
              <a:gd name="T15" fmla="*/ 128842 h 293"/>
              <a:gd name="T16" fmla="*/ 92533 w 322"/>
              <a:gd name="T17" fmla="*/ 135127 h 293"/>
              <a:gd name="T18" fmla="*/ 85779 w 322"/>
              <a:gd name="T19" fmla="*/ 141412 h 293"/>
              <a:gd name="T20" fmla="*/ 72946 w 322"/>
              <a:gd name="T21" fmla="*/ 141412 h 293"/>
              <a:gd name="T22" fmla="*/ 72946 w 322"/>
              <a:gd name="T23" fmla="*/ 153354 h 293"/>
              <a:gd name="T24" fmla="*/ 79025 w 322"/>
              <a:gd name="T25" fmla="*/ 159639 h 293"/>
              <a:gd name="T26" fmla="*/ 92533 w 322"/>
              <a:gd name="T27" fmla="*/ 153354 h 293"/>
              <a:gd name="T28" fmla="*/ 92533 w 322"/>
              <a:gd name="T29" fmla="*/ 165924 h 293"/>
              <a:gd name="T30" fmla="*/ 85779 w 322"/>
              <a:gd name="T31" fmla="*/ 165924 h 293"/>
              <a:gd name="T32" fmla="*/ 72946 w 322"/>
              <a:gd name="T33" fmla="*/ 177865 h 293"/>
              <a:gd name="T34" fmla="*/ 72946 w 322"/>
              <a:gd name="T35" fmla="*/ 184150 h 293"/>
              <a:gd name="T36" fmla="*/ 85779 w 322"/>
              <a:gd name="T37" fmla="*/ 184150 h 293"/>
              <a:gd name="T38" fmla="*/ 99288 w 322"/>
              <a:gd name="T39" fmla="*/ 184150 h 293"/>
              <a:gd name="T40" fmla="*/ 131708 w 322"/>
              <a:gd name="T41" fmla="*/ 184150 h 293"/>
              <a:gd name="T42" fmla="*/ 131708 w 322"/>
              <a:gd name="T43" fmla="*/ 177865 h 293"/>
              <a:gd name="T44" fmla="*/ 125629 w 322"/>
              <a:gd name="T45" fmla="*/ 159639 h 293"/>
              <a:gd name="T46" fmla="*/ 131708 w 322"/>
              <a:gd name="T47" fmla="*/ 147069 h 293"/>
              <a:gd name="T48" fmla="*/ 138462 w 322"/>
              <a:gd name="T49" fmla="*/ 147069 h 293"/>
              <a:gd name="T50" fmla="*/ 151971 w 322"/>
              <a:gd name="T51" fmla="*/ 147069 h 293"/>
              <a:gd name="T52" fmla="*/ 164804 w 322"/>
              <a:gd name="T53" fmla="*/ 135127 h 293"/>
              <a:gd name="T54" fmla="*/ 158050 w 322"/>
              <a:gd name="T55" fmla="*/ 128842 h 293"/>
              <a:gd name="T56" fmla="*/ 164804 w 322"/>
              <a:gd name="T57" fmla="*/ 110616 h 293"/>
              <a:gd name="T58" fmla="*/ 191145 w 322"/>
              <a:gd name="T59" fmla="*/ 92389 h 293"/>
              <a:gd name="T60" fmla="*/ 204654 w 322"/>
              <a:gd name="T61" fmla="*/ 73534 h 293"/>
              <a:gd name="T62" fmla="*/ 210733 w 322"/>
              <a:gd name="T63" fmla="*/ 55308 h 293"/>
              <a:gd name="T64" fmla="*/ 217487 w 322"/>
              <a:gd name="T65" fmla="*/ 43366 h 293"/>
              <a:gd name="T66" fmla="*/ 204654 w 322"/>
              <a:gd name="T67" fmla="*/ 43366 h 293"/>
              <a:gd name="T68" fmla="*/ 197900 w 322"/>
              <a:gd name="T69" fmla="*/ 24511 h 293"/>
              <a:gd name="T70" fmla="*/ 178312 w 322"/>
              <a:gd name="T71" fmla="*/ 18855 h 293"/>
              <a:gd name="T72" fmla="*/ 164804 w 322"/>
              <a:gd name="T73" fmla="*/ 6285 h 293"/>
              <a:gd name="T74" fmla="*/ 158050 w 322"/>
              <a:gd name="T75" fmla="*/ 0 h 293"/>
              <a:gd name="T76" fmla="*/ 138462 w 322"/>
              <a:gd name="T77" fmla="*/ 6285 h 293"/>
              <a:gd name="T78" fmla="*/ 125629 w 322"/>
              <a:gd name="T79" fmla="*/ 12570 h 293"/>
              <a:gd name="T80" fmla="*/ 131708 w 322"/>
              <a:gd name="T81" fmla="*/ 24511 h 293"/>
              <a:gd name="T82" fmla="*/ 118875 w 322"/>
              <a:gd name="T83" fmla="*/ 30796 h 293"/>
              <a:gd name="T84" fmla="*/ 112121 w 322"/>
              <a:gd name="T85" fmla="*/ 49023 h 293"/>
              <a:gd name="T86" fmla="*/ 92533 w 322"/>
              <a:gd name="T87" fmla="*/ 55308 h 293"/>
              <a:gd name="T88" fmla="*/ 72946 w 322"/>
              <a:gd name="T89" fmla="*/ 43366 h 293"/>
              <a:gd name="T90" fmla="*/ 59437 w 322"/>
              <a:gd name="T91" fmla="*/ 55308 h 293"/>
              <a:gd name="T92" fmla="*/ 59437 w 322"/>
              <a:gd name="T93" fmla="*/ 67878 h 293"/>
              <a:gd name="T94" fmla="*/ 59437 w 322"/>
              <a:gd name="T95" fmla="*/ 86104 h 293"/>
              <a:gd name="T96" fmla="*/ 39850 w 322"/>
              <a:gd name="T97" fmla="*/ 92389 h 293"/>
              <a:gd name="T98" fmla="*/ 33096 w 322"/>
              <a:gd name="T99" fmla="*/ 86104 h 293"/>
              <a:gd name="T100" fmla="*/ 26342 w 322"/>
              <a:gd name="T101" fmla="*/ 92389 h 293"/>
              <a:gd name="T102" fmla="*/ 33096 w 322"/>
              <a:gd name="T103" fmla="*/ 98046 h 293"/>
              <a:gd name="T104" fmla="*/ 20263 w 322"/>
              <a:gd name="T105" fmla="*/ 110616 h 293"/>
              <a:gd name="T106" fmla="*/ 20263 w 322"/>
              <a:gd name="T107" fmla="*/ 116901 h 293"/>
              <a:gd name="T108" fmla="*/ 6754 w 322"/>
              <a:gd name="T109" fmla="*/ 122557 h 293"/>
              <a:gd name="T110" fmla="*/ 6754 w 322"/>
              <a:gd name="T111" fmla="*/ 110616 h 293"/>
              <a:gd name="T112" fmla="*/ 0 w 322"/>
              <a:gd name="T113" fmla="*/ 128842 h 293"/>
              <a:gd name="T114" fmla="*/ 6754 w 322"/>
              <a:gd name="T115" fmla="*/ 135127 h 293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322"/>
              <a:gd name="T175" fmla="*/ 0 h 293"/>
              <a:gd name="T176" fmla="*/ 322 w 322"/>
              <a:gd name="T177" fmla="*/ 293 h 293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322" h="293">
                <a:moveTo>
                  <a:pt x="10" y="215"/>
                </a:moveTo>
                <a:lnTo>
                  <a:pt x="39" y="225"/>
                </a:lnTo>
                <a:lnTo>
                  <a:pt x="69" y="225"/>
                </a:lnTo>
                <a:lnTo>
                  <a:pt x="78" y="234"/>
                </a:lnTo>
                <a:lnTo>
                  <a:pt x="88" y="234"/>
                </a:lnTo>
                <a:lnTo>
                  <a:pt x="88" y="215"/>
                </a:lnTo>
                <a:lnTo>
                  <a:pt x="117" y="205"/>
                </a:lnTo>
                <a:lnTo>
                  <a:pt x="137" y="205"/>
                </a:lnTo>
                <a:lnTo>
                  <a:pt x="137" y="215"/>
                </a:lnTo>
                <a:lnTo>
                  <a:pt x="127" y="225"/>
                </a:lnTo>
                <a:lnTo>
                  <a:pt x="108" y="225"/>
                </a:lnTo>
                <a:lnTo>
                  <a:pt x="108" y="244"/>
                </a:lnTo>
                <a:lnTo>
                  <a:pt x="117" y="254"/>
                </a:lnTo>
                <a:lnTo>
                  <a:pt x="137" y="244"/>
                </a:lnTo>
                <a:lnTo>
                  <a:pt x="137" y="264"/>
                </a:lnTo>
                <a:lnTo>
                  <a:pt x="127" y="264"/>
                </a:lnTo>
                <a:lnTo>
                  <a:pt x="108" y="283"/>
                </a:lnTo>
                <a:lnTo>
                  <a:pt x="108" y="293"/>
                </a:lnTo>
                <a:lnTo>
                  <a:pt x="127" y="293"/>
                </a:lnTo>
                <a:lnTo>
                  <a:pt x="147" y="293"/>
                </a:lnTo>
                <a:lnTo>
                  <a:pt x="195" y="293"/>
                </a:lnTo>
                <a:lnTo>
                  <a:pt x="195" y="283"/>
                </a:lnTo>
                <a:lnTo>
                  <a:pt x="186" y="254"/>
                </a:lnTo>
                <a:lnTo>
                  <a:pt x="195" y="234"/>
                </a:lnTo>
                <a:lnTo>
                  <a:pt x="205" y="234"/>
                </a:lnTo>
                <a:lnTo>
                  <a:pt x="225" y="234"/>
                </a:lnTo>
                <a:lnTo>
                  <a:pt x="244" y="215"/>
                </a:lnTo>
                <a:lnTo>
                  <a:pt x="234" y="205"/>
                </a:lnTo>
                <a:lnTo>
                  <a:pt x="244" y="176"/>
                </a:lnTo>
                <a:lnTo>
                  <a:pt x="283" y="147"/>
                </a:lnTo>
                <a:lnTo>
                  <a:pt x="303" y="117"/>
                </a:lnTo>
                <a:lnTo>
                  <a:pt x="312" y="88"/>
                </a:lnTo>
                <a:lnTo>
                  <a:pt x="322" y="69"/>
                </a:lnTo>
                <a:lnTo>
                  <a:pt x="303" y="69"/>
                </a:lnTo>
                <a:lnTo>
                  <a:pt x="293" y="39"/>
                </a:lnTo>
                <a:lnTo>
                  <a:pt x="264" y="30"/>
                </a:lnTo>
                <a:lnTo>
                  <a:pt x="244" y="10"/>
                </a:lnTo>
                <a:lnTo>
                  <a:pt x="234" y="0"/>
                </a:lnTo>
                <a:lnTo>
                  <a:pt x="205" y="10"/>
                </a:lnTo>
                <a:lnTo>
                  <a:pt x="186" y="20"/>
                </a:lnTo>
                <a:lnTo>
                  <a:pt x="195" y="39"/>
                </a:lnTo>
                <a:lnTo>
                  <a:pt x="176" y="49"/>
                </a:lnTo>
                <a:lnTo>
                  <a:pt x="166" y="78"/>
                </a:lnTo>
                <a:lnTo>
                  <a:pt x="137" y="88"/>
                </a:lnTo>
                <a:lnTo>
                  <a:pt x="108" y="69"/>
                </a:lnTo>
                <a:lnTo>
                  <a:pt x="88" y="88"/>
                </a:lnTo>
                <a:lnTo>
                  <a:pt x="88" y="108"/>
                </a:lnTo>
                <a:lnTo>
                  <a:pt x="88" y="137"/>
                </a:lnTo>
                <a:lnTo>
                  <a:pt x="59" y="147"/>
                </a:lnTo>
                <a:lnTo>
                  <a:pt x="49" y="137"/>
                </a:lnTo>
                <a:lnTo>
                  <a:pt x="39" y="147"/>
                </a:lnTo>
                <a:lnTo>
                  <a:pt x="49" y="156"/>
                </a:lnTo>
                <a:lnTo>
                  <a:pt x="30" y="176"/>
                </a:lnTo>
                <a:lnTo>
                  <a:pt x="30" y="186"/>
                </a:lnTo>
                <a:lnTo>
                  <a:pt x="10" y="195"/>
                </a:lnTo>
                <a:lnTo>
                  <a:pt x="10" y="176"/>
                </a:lnTo>
                <a:lnTo>
                  <a:pt x="0" y="205"/>
                </a:lnTo>
                <a:lnTo>
                  <a:pt x="10" y="215"/>
                </a:lnTo>
                <a:close/>
              </a:path>
            </a:pathLst>
          </a:custGeom>
          <a:solidFill>
            <a:srgbClr val="DEC2B3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69" name="Freeform 370"/>
          <p:cNvSpPr>
            <a:spLocks noChangeAspect="1"/>
          </p:cNvSpPr>
          <p:nvPr>
            <p:custDataLst>
              <p:tags r:id="rId35"/>
            </p:custDataLst>
          </p:nvPr>
        </p:nvSpPr>
        <p:spPr bwMode="auto">
          <a:xfrm>
            <a:off x="3022600" y="4500563"/>
            <a:ext cx="398463" cy="430212"/>
          </a:xfrm>
          <a:custGeom>
            <a:avLst/>
            <a:gdLst>
              <a:gd name="T0" fmla="*/ 143982 w 595"/>
              <a:gd name="T1" fmla="*/ 36006 h 693"/>
              <a:gd name="T2" fmla="*/ 182824 w 595"/>
              <a:gd name="T3" fmla="*/ 11795 h 693"/>
              <a:gd name="T4" fmla="*/ 202915 w 595"/>
              <a:gd name="T5" fmla="*/ 11795 h 693"/>
              <a:gd name="T6" fmla="*/ 222336 w 595"/>
              <a:gd name="T7" fmla="*/ 24211 h 693"/>
              <a:gd name="T8" fmla="*/ 222336 w 595"/>
              <a:gd name="T9" fmla="*/ 36006 h 693"/>
              <a:gd name="T10" fmla="*/ 209612 w 595"/>
              <a:gd name="T11" fmla="*/ 84429 h 693"/>
              <a:gd name="T12" fmla="*/ 229033 w 595"/>
              <a:gd name="T13" fmla="*/ 108640 h 693"/>
              <a:gd name="T14" fmla="*/ 209612 w 595"/>
              <a:gd name="T15" fmla="*/ 157683 h 693"/>
              <a:gd name="T16" fmla="*/ 202915 w 595"/>
              <a:gd name="T17" fmla="*/ 169478 h 693"/>
              <a:gd name="T18" fmla="*/ 215639 w 595"/>
              <a:gd name="T19" fmla="*/ 199897 h 693"/>
              <a:gd name="T20" fmla="*/ 248453 w 595"/>
              <a:gd name="T21" fmla="*/ 211692 h 693"/>
              <a:gd name="T22" fmla="*/ 222336 w 595"/>
              <a:gd name="T23" fmla="*/ 224108 h 693"/>
              <a:gd name="T24" fmla="*/ 222336 w 595"/>
              <a:gd name="T25" fmla="*/ 248319 h 693"/>
              <a:gd name="T26" fmla="*/ 235729 w 595"/>
              <a:gd name="T27" fmla="*/ 272530 h 693"/>
              <a:gd name="T28" fmla="*/ 261847 w 595"/>
              <a:gd name="T29" fmla="*/ 278738 h 693"/>
              <a:gd name="T30" fmla="*/ 287965 w 595"/>
              <a:gd name="T31" fmla="*/ 302949 h 693"/>
              <a:gd name="T32" fmla="*/ 320110 w 595"/>
              <a:gd name="T33" fmla="*/ 278738 h 693"/>
              <a:gd name="T34" fmla="*/ 346228 w 595"/>
              <a:gd name="T35" fmla="*/ 272530 h 693"/>
              <a:gd name="T36" fmla="*/ 352924 w 595"/>
              <a:gd name="T37" fmla="*/ 284325 h 693"/>
              <a:gd name="T38" fmla="*/ 392436 w 595"/>
              <a:gd name="T39" fmla="*/ 302949 h 693"/>
              <a:gd name="T40" fmla="*/ 366318 w 595"/>
              <a:gd name="T41" fmla="*/ 320953 h 693"/>
              <a:gd name="T42" fmla="*/ 372345 w 595"/>
              <a:gd name="T43" fmla="*/ 345164 h 693"/>
              <a:gd name="T44" fmla="*/ 379042 w 595"/>
              <a:gd name="T45" fmla="*/ 369375 h 693"/>
              <a:gd name="T46" fmla="*/ 398463 w 595"/>
              <a:gd name="T47" fmla="*/ 406002 h 693"/>
              <a:gd name="T48" fmla="*/ 379042 w 595"/>
              <a:gd name="T49" fmla="*/ 424005 h 693"/>
              <a:gd name="T50" fmla="*/ 333503 w 595"/>
              <a:gd name="T51" fmla="*/ 424005 h 693"/>
              <a:gd name="T52" fmla="*/ 314083 w 595"/>
              <a:gd name="T53" fmla="*/ 399794 h 693"/>
              <a:gd name="T54" fmla="*/ 287965 w 595"/>
              <a:gd name="T55" fmla="*/ 393586 h 693"/>
              <a:gd name="T56" fmla="*/ 261847 w 595"/>
              <a:gd name="T57" fmla="*/ 363167 h 693"/>
              <a:gd name="T58" fmla="*/ 261847 w 595"/>
              <a:gd name="T59" fmla="*/ 332748 h 693"/>
              <a:gd name="T60" fmla="*/ 222336 w 595"/>
              <a:gd name="T61" fmla="*/ 327161 h 693"/>
              <a:gd name="T62" fmla="*/ 196218 w 595"/>
              <a:gd name="T63" fmla="*/ 302949 h 693"/>
              <a:gd name="T64" fmla="*/ 170100 w 595"/>
              <a:gd name="T65" fmla="*/ 296741 h 693"/>
              <a:gd name="T66" fmla="*/ 137286 w 595"/>
              <a:gd name="T67" fmla="*/ 302949 h 693"/>
              <a:gd name="T68" fmla="*/ 117865 w 595"/>
              <a:gd name="T69" fmla="*/ 278738 h 693"/>
              <a:gd name="T70" fmla="*/ 98444 w 595"/>
              <a:gd name="T71" fmla="*/ 254527 h 693"/>
              <a:gd name="T72" fmla="*/ 78353 w 595"/>
              <a:gd name="T73" fmla="*/ 260114 h 693"/>
              <a:gd name="T74" fmla="*/ 85050 w 595"/>
              <a:gd name="T75" fmla="*/ 217900 h 693"/>
              <a:gd name="T76" fmla="*/ 85050 w 595"/>
              <a:gd name="T77" fmla="*/ 181894 h 693"/>
              <a:gd name="T78" fmla="*/ 52235 w 595"/>
              <a:gd name="T79" fmla="*/ 163270 h 693"/>
              <a:gd name="T80" fmla="*/ 20091 w 595"/>
              <a:gd name="T81" fmla="*/ 132851 h 693"/>
              <a:gd name="T82" fmla="*/ 13394 w 595"/>
              <a:gd name="T83" fmla="*/ 114848 h 693"/>
              <a:gd name="T84" fmla="*/ 13394 w 595"/>
              <a:gd name="T85" fmla="*/ 96844 h 693"/>
              <a:gd name="T86" fmla="*/ 65629 w 595"/>
              <a:gd name="T87" fmla="*/ 84429 h 693"/>
              <a:gd name="T88" fmla="*/ 78353 w 595"/>
              <a:gd name="T89" fmla="*/ 78841 h 693"/>
              <a:gd name="T90" fmla="*/ 130589 w 595"/>
              <a:gd name="T91" fmla="*/ 66425 h 693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595"/>
              <a:gd name="T139" fmla="*/ 0 h 693"/>
              <a:gd name="T140" fmla="*/ 595 w 595"/>
              <a:gd name="T141" fmla="*/ 693 h 693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595" h="693">
                <a:moveTo>
                  <a:pt x="205" y="97"/>
                </a:moveTo>
                <a:lnTo>
                  <a:pt x="215" y="68"/>
                </a:lnTo>
                <a:lnTo>
                  <a:pt x="215" y="58"/>
                </a:lnTo>
                <a:lnTo>
                  <a:pt x="234" y="49"/>
                </a:lnTo>
                <a:lnTo>
                  <a:pt x="264" y="39"/>
                </a:lnTo>
                <a:lnTo>
                  <a:pt x="273" y="19"/>
                </a:lnTo>
                <a:lnTo>
                  <a:pt x="273" y="0"/>
                </a:lnTo>
                <a:lnTo>
                  <a:pt x="293" y="0"/>
                </a:lnTo>
                <a:lnTo>
                  <a:pt x="303" y="19"/>
                </a:lnTo>
                <a:lnTo>
                  <a:pt x="313" y="29"/>
                </a:lnTo>
                <a:lnTo>
                  <a:pt x="332" y="29"/>
                </a:lnTo>
                <a:lnTo>
                  <a:pt x="332" y="39"/>
                </a:lnTo>
                <a:lnTo>
                  <a:pt x="313" y="39"/>
                </a:lnTo>
                <a:lnTo>
                  <a:pt x="322" y="68"/>
                </a:lnTo>
                <a:lnTo>
                  <a:pt x="332" y="58"/>
                </a:lnTo>
                <a:lnTo>
                  <a:pt x="322" y="88"/>
                </a:lnTo>
                <a:lnTo>
                  <a:pt x="313" y="117"/>
                </a:lnTo>
                <a:lnTo>
                  <a:pt x="313" y="136"/>
                </a:lnTo>
                <a:lnTo>
                  <a:pt x="313" y="156"/>
                </a:lnTo>
                <a:lnTo>
                  <a:pt x="332" y="166"/>
                </a:lnTo>
                <a:lnTo>
                  <a:pt x="342" y="175"/>
                </a:lnTo>
                <a:lnTo>
                  <a:pt x="332" y="185"/>
                </a:lnTo>
                <a:lnTo>
                  <a:pt x="332" y="214"/>
                </a:lnTo>
                <a:lnTo>
                  <a:pt x="313" y="254"/>
                </a:lnTo>
                <a:lnTo>
                  <a:pt x="332" y="263"/>
                </a:lnTo>
                <a:lnTo>
                  <a:pt x="332" y="273"/>
                </a:lnTo>
                <a:lnTo>
                  <a:pt x="303" y="273"/>
                </a:lnTo>
                <a:lnTo>
                  <a:pt x="313" y="293"/>
                </a:lnTo>
                <a:lnTo>
                  <a:pt x="313" y="302"/>
                </a:lnTo>
                <a:lnTo>
                  <a:pt x="322" y="322"/>
                </a:lnTo>
                <a:lnTo>
                  <a:pt x="342" y="312"/>
                </a:lnTo>
                <a:lnTo>
                  <a:pt x="361" y="312"/>
                </a:lnTo>
                <a:lnTo>
                  <a:pt x="371" y="341"/>
                </a:lnTo>
                <a:lnTo>
                  <a:pt x="352" y="341"/>
                </a:lnTo>
                <a:lnTo>
                  <a:pt x="342" y="361"/>
                </a:lnTo>
                <a:lnTo>
                  <a:pt x="332" y="361"/>
                </a:lnTo>
                <a:lnTo>
                  <a:pt x="342" y="371"/>
                </a:lnTo>
                <a:lnTo>
                  <a:pt x="342" y="400"/>
                </a:lnTo>
                <a:lnTo>
                  <a:pt x="332" y="400"/>
                </a:lnTo>
                <a:lnTo>
                  <a:pt x="332" y="429"/>
                </a:lnTo>
                <a:lnTo>
                  <a:pt x="342" y="429"/>
                </a:lnTo>
                <a:lnTo>
                  <a:pt x="352" y="439"/>
                </a:lnTo>
                <a:lnTo>
                  <a:pt x="352" y="449"/>
                </a:lnTo>
                <a:lnTo>
                  <a:pt x="371" y="449"/>
                </a:lnTo>
                <a:lnTo>
                  <a:pt x="391" y="449"/>
                </a:lnTo>
                <a:lnTo>
                  <a:pt x="410" y="458"/>
                </a:lnTo>
                <a:lnTo>
                  <a:pt x="410" y="478"/>
                </a:lnTo>
                <a:lnTo>
                  <a:pt x="430" y="488"/>
                </a:lnTo>
                <a:lnTo>
                  <a:pt x="449" y="478"/>
                </a:lnTo>
                <a:lnTo>
                  <a:pt x="469" y="458"/>
                </a:lnTo>
                <a:lnTo>
                  <a:pt x="478" y="449"/>
                </a:lnTo>
                <a:lnTo>
                  <a:pt x="488" y="449"/>
                </a:lnTo>
                <a:lnTo>
                  <a:pt x="508" y="449"/>
                </a:lnTo>
                <a:lnTo>
                  <a:pt x="517" y="439"/>
                </a:lnTo>
                <a:lnTo>
                  <a:pt x="517" y="449"/>
                </a:lnTo>
                <a:lnTo>
                  <a:pt x="517" y="458"/>
                </a:lnTo>
                <a:lnTo>
                  <a:pt x="527" y="458"/>
                </a:lnTo>
                <a:lnTo>
                  <a:pt x="547" y="458"/>
                </a:lnTo>
                <a:lnTo>
                  <a:pt x="566" y="468"/>
                </a:lnTo>
                <a:lnTo>
                  <a:pt x="586" y="488"/>
                </a:lnTo>
                <a:lnTo>
                  <a:pt x="586" y="497"/>
                </a:lnTo>
                <a:lnTo>
                  <a:pt x="556" y="507"/>
                </a:lnTo>
                <a:lnTo>
                  <a:pt x="547" y="517"/>
                </a:lnTo>
                <a:lnTo>
                  <a:pt x="556" y="527"/>
                </a:lnTo>
                <a:lnTo>
                  <a:pt x="547" y="546"/>
                </a:lnTo>
                <a:lnTo>
                  <a:pt x="556" y="556"/>
                </a:lnTo>
                <a:lnTo>
                  <a:pt x="566" y="575"/>
                </a:lnTo>
                <a:lnTo>
                  <a:pt x="556" y="585"/>
                </a:lnTo>
                <a:lnTo>
                  <a:pt x="566" y="595"/>
                </a:lnTo>
                <a:lnTo>
                  <a:pt x="566" y="605"/>
                </a:lnTo>
                <a:lnTo>
                  <a:pt x="586" y="634"/>
                </a:lnTo>
                <a:lnTo>
                  <a:pt x="595" y="654"/>
                </a:lnTo>
                <a:lnTo>
                  <a:pt x="595" y="663"/>
                </a:lnTo>
                <a:lnTo>
                  <a:pt x="586" y="673"/>
                </a:lnTo>
                <a:lnTo>
                  <a:pt x="566" y="683"/>
                </a:lnTo>
                <a:lnTo>
                  <a:pt x="547" y="693"/>
                </a:lnTo>
                <a:lnTo>
                  <a:pt x="527" y="693"/>
                </a:lnTo>
                <a:lnTo>
                  <a:pt x="498" y="683"/>
                </a:lnTo>
                <a:lnTo>
                  <a:pt x="488" y="663"/>
                </a:lnTo>
                <a:lnTo>
                  <a:pt x="478" y="634"/>
                </a:lnTo>
                <a:lnTo>
                  <a:pt x="469" y="644"/>
                </a:lnTo>
                <a:lnTo>
                  <a:pt x="449" y="654"/>
                </a:lnTo>
                <a:lnTo>
                  <a:pt x="420" y="654"/>
                </a:lnTo>
                <a:lnTo>
                  <a:pt x="430" y="634"/>
                </a:lnTo>
                <a:lnTo>
                  <a:pt x="400" y="615"/>
                </a:lnTo>
                <a:lnTo>
                  <a:pt x="391" y="595"/>
                </a:lnTo>
                <a:lnTo>
                  <a:pt x="391" y="585"/>
                </a:lnTo>
                <a:lnTo>
                  <a:pt x="391" y="575"/>
                </a:lnTo>
                <a:lnTo>
                  <a:pt x="400" y="556"/>
                </a:lnTo>
                <a:lnTo>
                  <a:pt x="391" y="536"/>
                </a:lnTo>
                <a:lnTo>
                  <a:pt x="361" y="517"/>
                </a:lnTo>
                <a:lnTo>
                  <a:pt x="342" y="527"/>
                </a:lnTo>
                <a:lnTo>
                  <a:pt x="332" y="527"/>
                </a:lnTo>
                <a:lnTo>
                  <a:pt x="313" y="517"/>
                </a:lnTo>
                <a:lnTo>
                  <a:pt x="322" y="497"/>
                </a:lnTo>
                <a:lnTo>
                  <a:pt x="293" y="488"/>
                </a:lnTo>
                <a:lnTo>
                  <a:pt x="273" y="488"/>
                </a:lnTo>
                <a:lnTo>
                  <a:pt x="273" y="468"/>
                </a:lnTo>
                <a:lnTo>
                  <a:pt x="254" y="478"/>
                </a:lnTo>
                <a:lnTo>
                  <a:pt x="244" y="468"/>
                </a:lnTo>
                <a:lnTo>
                  <a:pt x="234" y="478"/>
                </a:lnTo>
                <a:lnTo>
                  <a:pt x="205" y="488"/>
                </a:lnTo>
                <a:lnTo>
                  <a:pt x="186" y="468"/>
                </a:lnTo>
                <a:lnTo>
                  <a:pt x="186" y="458"/>
                </a:lnTo>
                <a:lnTo>
                  <a:pt x="176" y="449"/>
                </a:lnTo>
                <a:lnTo>
                  <a:pt x="176" y="390"/>
                </a:lnTo>
                <a:lnTo>
                  <a:pt x="166" y="390"/>
                </a:lnTo>
                <a:lnTo>
                  <a:pt x="147" y="410"/>
                </a:lnTo>
                <a:lnTo>
                  <a:pt x="137" y="419"/>
                </a:lnTo>
                <a:lnTo>
                  <a:pt x="117" y="429"/>
                </a:lnTo>
                <a:lnTo>
                  <a:pt x="117" y="419"/>
                </a:lnTo>
                <a:lnTo>
                  <a:pt x="127" y="410"/>
                </a:lnTo>
                <a:lnTo>
                  <a:pt x="127" y="390"/>
                </a:lnTo>
                <a:lnTo>
                  <a:pt x="127" y="351"/>
                </a:lnTo>
                <a:lnTo>
                  <a:pt x="117" y="341"/>
                </a:lnTo>
                <a:lnTo>
                  <a:pt x="127" y="312"/>
                </a:lnTo>
                <a:lnTo>
                  <a:pt x="127" y="293"/>
                </a:lnTo>
                <a:lnTo>
                  <a:pt x="108" y="283"/>
                </a:lnTo>
                <a:lnTo>
                  <a:pt x="88" y="263"/>
                </a:lnTo>
                <a:lnTo>
                  <a:pt x="78" y="263"/>
                </a:lnTo>
                <a:lnTo>
                  <a:pt x="78" y="224"/>
                </a:lnTo>
                <a:lnTo>
                  <a:pt x="49" y="214"/>
                </a:lnTo>
                <a:lnTo>
                  <a:pt x="30" y="214"/>
                </a:lnTo>
                <a:lnTo>
                  <a:pt x="20" y="214"/>
                </a:lnTo>
                <a:lnTo>
                  <a:pt x="0" y="205"/>
                </a:lnTo>
                <a:lnTo>
                  <a:pt x="20" y="185"/>
                </a:lnTo>
                <a:lnTo>
                  <a:pt x="0" y="166"/>
                </a:lnTo>
                <a:lnTo>
                  <a:pt x="0" y="156"/>
                </a:lnTo>
                <a:lnTo>
                  <a:pt x="20" y="156"/>
                </a:lnTo>
                <a:lnTo>
                  <a:pt x="49" y="156"/>
                </a:lnTo>
                <a:lnTo>
                  <a:pt x="78" y="156"/>
                </a:lnTo>
                <a:lnTo>
                  <a:pt x="98" y="136"/>
                </a:lnTo>
                <a:lnTo>
                  <a:pt x="98" y="127"/>
                </a:lnTo>
                <a:lnTo>
                  <a:pt x="108" y="117"/>
                </a:lnTo>
                <a:lnTo>
                  <a:pt x="117" y="127"/>
                </a:lnTo>
                <a:lnTo>
                  <a:pt x="137" y="107"/>
                </a:lnTo>
                <a:lnTo>
                  <a:pt x="166" y="107"/>
                </a:lnTo>
                <a:lnTo>
                  <a:pt x="195" y="107"/>
                </a:lnTo>
                <a:lnTo>
                  <a:pt x="205" y="97"/>
                </a:lnTo>
                <a:close/>
              </a:path>
            </a:pathLst>
          </a:custGeom>
          <a:solidFill>
            <a:srgbClr val="DEC2B3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70" name="Freeform 369"/>
          <p:cNvSpPr>
            <a:spLocks noChangeAspect="1"/>
          </p:cNvSpPr>
          <p:nvPr>
            <p:custDataLst>
              <p:tags r:id="rId36"/>
            </p:custDataLst>
          </p:nvPr>
        </p:nvSpPr>
        <p:spPr bwMode="auto">
          <a:xfrm>
            <a:off x="3597275" y="4627563"/>
            <a:ext cx="285750" cy="200025"/>
          </a:xfrm>
          <a:custGeom>
            <a:avLst/>
            <a:gdLst>
              <a:gd name="T0" fmla="*/ 51955 w 429"/>
              <a:gd name="T1" fmla="*/ 54665 h 322"/>
              <a:gd name="T2" fmla="*/ 25977 w 429"/>
              <a:gd name="T3" fmla="*/ 60256 h 322"/>
              <a:gd name="T4" fmla="*/ 6661 w 429"/>
              <a:gd name="T5" fmla="*/ 66468 h 322"/>
              <a:gd name="T6" fmla="*/ 0 w 429"/>
              <a:gd name="T7" fmla="*/ 84483 h 322"/>
              <a:gd name="T8" fmla="*/ 12656 w 429"/>
              <a:gd name="T9" fmla="*/ 96907 h 322"/>
              <a:gd name="T10" fmla="*/ 32638 w 429"/>
              <a:gd name="T11" fmla="*/ 108709 h 322"/>
              <a:gd name="T12" fmla="*/ 32638 w 429"/>
              <a:gd name="T13" fmla="*/ 127345 h 322"/>
              <a:gd name="T14" fmla="*/ 25977 w 429"/>
              <a:gd name="T15" fmla="*/ 132936 h 322"/>
              <a:gd name="T16" fmla="*/ 38633 w 429"/>
              <a:gd name="T17" fmla="*/ 157162 h 322"/>
              <a:gd name="T18" fmla="*/ 51955 w 429"/>
              <a:gd name="T19" fmla="*/ 163374 h 322"/>
              <a:gd name="T20" fmla="*/ 71271 w 429"/>
              <a:gd name="T21" fmla="*/ 163374 h 322"/>
              <a:gd name="T22" fmla="*/ 97248 w 429"/>
              <a:gd name="T23" fmla="*/ 169586 h 322"/>
              <a:gd name="T24" fmla="*/ 103909 w 429"/>
              <a:gd name="T25" fmla="*/ 181389 h 322"/>
              <a:gd name="T26" fmla="*/ 123226 w 429"/>
              <a:gd name="T27" fmla="*/ 169586 h 322"/>
              <a:gd name="T28" fmla="*/ 142542 w 429"/>
              <a:gd name="T29" fmla="*/ 169586 h 322"/>
              <a:gd name="T30" fmla="*/ 155864 w 429"/>
              <a:gd name="T31" fmla="*/ 181389 h 322"/>
              <a:gd name="T32" fmla="*/ 175180 w 429"/>
              <a:gd name="T33" fmla="*/ 181389 h 322"/>
              <a:gd name="T34" fmla="*/ 207818 w 429"/>
              <a:gd name="T35" fmla="*/ 187601 h 322"/>
              <a:gd name="T36" fmla="*/ 227135 w 429"/>
              <a:gd name="T37" fmla="*/ 193813 h 322"/>
              <a:gd name="T38" fmla="*/ 246451 w 429"/>
              <a:gd name="T39" fmla="*/ 200025 h 322"/>
              <a:gd name="T40" fmla="*/ 253112 w 429"/>
              <a:gd name="T41" fmla="*/ 181389 h 322"/>
              <a:gd name="T42" fmla="*/ 272428 w 429"/>
              <a:gd name="T43" fmla="*/ 193813 h 322"/>
              <a:gd name="T44" fmla="*/ 279089 w 429"/>
              <a:gd name="T45" fmla="*/ 169586 h 322"/>
              <a:gd name="T46" fmla="*/ 272428 w 429"/>
              <a:gd name="T47" fmla="*/ 145360 h 322"/>
              <a:gd name="T48" fmla="*/ 246451 w 429"/>
              <a:gd name="T49" fmla="*/ 139148 h 322"/>
              <a:gd name="T50" fmla="*/ 233795 w 429"/>
              <a:gd name="T51" fmla="*/ 127345 h 322"/>
              <a:gd name="T52" fmla="*/ 214479 w 429"/>
              <a:gd name="T53" fmla="*/ 103118 h 322"/>
              <a:gd name="T54" fmla="*/ 194497 w 429"/>
              <a:gd name="T55" fmla="*/ 72680 h 322"/>
              <a:gd name="T56" fmla="*/ 175180 w 429"/>
              <a:gd name="T57" fmla="*/ 48453 h 322"/>
              <a:gd name="T58" fmla="*/ 188502 w 429"/>
              <a:gd name="T59" fmla="*/ 24227 h 322"/>
              <a:gd name="T60" fmla="*/ 175180 w 429"/>
              <a:gd name="T61" fmla="*/ 18015 h 322"/>
              <a:gd name="T62" fmla="*/ 142542 w 429"/>
              <a:gd name="T63" fmla="*/ 30439 h 322"/>
              <a:gd name="T64" fmla="*/ 129886 w 429"/>
              <a:gd name="T65" fmla="*/ 24227 h 322"/>
              <a:gd name="T66" fmla="*/ 116565 w 429"/>
              <a:gd name="T67" fmla="*/ 11803 h 322"/>
              <a:gd name="T68" fmla="*/ 84593 w 429"/>
              <a:gd name="T69" fmla="*/ 0 h 322"/>
              <a:gd name="T70" fmla="*/ 58615 w 429"/>
              <a:gd name="T71" fmla="*/ 5591 h 322"/>
              <a:gd name="T72" fmla="*/ 58615 w 429"/>
              <a:gd name="T73" fmla="*/ 24227 h 322"/>
              <a:gd name="T74" fmla="*/ 51955 w 429"/>
              <a:gd name="T75" fmla="*/ 42241 h 322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429"/>
              <a:gd name="T115" fmla="*/ 0 h 322"/>
              <a:gd name="T116" fmla="*/ 429 w 429"/>
              <a:gd name="T117" fmla="*/ 322 h 322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429" h="322">
                <a:moveTo>
                  <a:pt x="78" y="68"/>
                </a:moveTo>
                <a:lnTo>
                  <a:pt x="78" y="88"/>
                </a:lnTo>
                <a:lnTo>
                  <a:pt x="49" y="88"/>
                </a:lnTo>
                <a:lnTo>
                  <a:pt x="39" y="97"/>
                </a:lnTo>
                <a:lnTo>
                  <a:pt x="29" y="117"/>
                </a:lnTo>
                <a:lnTo>
                  <a:pt x="10" y="107"/>
                </a:lnTo>
                <a:lnTo>
                  <a:pt x="10" y="127"/>
                </a:lnTo>
                <a:lnTo>
                  <a:pt x="0" y="136"/>
                </a:lnTo>
                <a:lnTo>
                  <a:pt x="0" y="156"/>
                </a:lnTo>
                <a:lnTo>
                  <a:pt x="19" y="156"/>
                </a:lnTo>
                <a:lnTo>
                  <a:pt x="29" y="175"/>
                </a:lnTo>
                <a:lnTo>
                  <a:pt x="49" y="175"/>
                </a:lnTo>
                <a:lnTo>
                  <a:pt x="58" y="185"/>
                </a:lnTo>
                <a:lnTo>
                  <a:pt x="49" y="205"/>
                </a:lnTo>
                <a:lnTo>
                  <a:pt x="39" y="205"/>
                </a:lnTo>
                <a:lnTo>
                  <a:pt x="39" y="214"/>
                </a:lnTo>
                <a:lnTo>
                  <a:pt x="49" y="244"/>
                </a:lnTo>
                <a:lnTo>
                  <a:pt x="58" y="253"/>
                </a:lnTo>
                <a:lnTo>
                  <a:pt x="68" y="273"/>
                </a:lnTo>
                <a:lnTo>
                  <a:pt x="78" y="263"/>
                </a:lnTo>
                <a:lnTo>
                  <a:pt x="97" y="253"/>
                </a:lnTo>
                <a:lnTo>
                  <a:pt x="107" y="263"/>
                </a:lnTo>
                <a:lnTo>
                  <a:pt x="127" y="273"/>
                </a:lnTo>
                <a:lnTo>
                  <a:pt x="146" y="273"/>
                </a:lnTo>
                <a:lnTo>
                  <a:pt x="156" y="283"/>
                </a:lnTo>
                <a:lnTo>
                  <a:pt x="156" y="292"/>
                </a:lnTo>
                <a:lnTo>
                  <a:pt x="166" y="273"/>
                </a:lnTo>
                <a:lnTo>
                  <a:pt x="185" y="273"/>
                </a:lnTo>
                <a:lnTo>
                  <a:pt x="205" y="283"/>
                </a:lnTo>
                <a:lnTo>
                  <a:pt x="214" y="273"/>
                </a:lnTo>
                <a:lnTo>
                  <a:pt x="224" y="283"/>
                </a:lnTo>
                <a:lnTo>
                  <a:pt x="234" y="292"/>
                </a:lnTo>
                <a:lnTo>
                  <a:pt x="253" y="292"/>
                </a:lnTo>
                <a:lnTo>
                  <a:pt x="263" y="292"/>
                </a:lnTo>
                <a:lnTo>
                  <a:pt x="292" y="302"/>
                </a:lnTo>
                <a:lnTo>
                  <a:pt x="312" y="302"/>
                </a:lnTo>
                <a:lnTo>
                  <a:pt x="331" y="312"/>
                </a:lnTo>
                <a:lnTo>
                  <a:pt x="341" y="312"/>
                </a:lnTo>
                <a:lnTo>
                  <a:pt x="351" y="312"/>
                </a:lnTo>
                <a:lnTo>
                  <a:pt x="370" y="322"/>
                </a:lnTo>
                <a:lnTo>
                  <a:pt x="380" y="312"/>
                </a:lnTo>
                <a:lnTo>
                  <a:pt x="380" y="292"/>
                </a:lnTo>
                <a:lnTo>
                  <a:pt x="390" y="292"/>
                </a:lnTo>
                <a:lnTo>
                  <a:pt x="409" y="312"/>
                </a:lnTo>
                <a:lnTo>
                  <a:pt x="429" y="302"/>
                </a:lnTo>
                <a:lnTo>
                  <a:pt x="419" y="273"/>
                </a:lnTo>
                <a:lnTo>
                  <a:pt x="409" y="253"/>
                </a:lnTo>
                <a:lnTo>
                  <a:pt x="409" y="234"/>
                </a:lnTo>
                <a:lnTo>
                  <a:pt x="390" y="244"/>
                </a:lnTo>
                <a:lnTo>
                  <a:pt x="370" y="224"/>
                </a:lnTo>
                <a:lnTo>
                  <a:pt x="351" y="214"/>
                </a:lnTo>
                <a:lnTo>
                  <a:pt x="351" y="205"/>
                </a:lnTo>
                <a:lnTo>
                  <a:pt x="341" y="175"/>
                </a:lnTo>
                <a:lnTo>
                  <a:pt x="322" y="166"/>
                </a:lnTo>
                <a:lnTo>
                  <a:pt x="292" y="146"/>
                </a:lnTo>
                <a:lnTo>
                  <a:pt x="292" y="117"/>
                </a:lnTo>
                <a:lnTo>
                  <a:pt x="273" y="97"/>
                </a:lnTo>
                <a:lnTo>
                  <a:pt x="263" y="78"/>
                </a:lnTo>
                <a:lnTo>
                  <a:pt x="263" y="58"/>
                </a:lnTo>
                <a:lnTo>
                  <a:pt x="283" y="39"/>
                </a:lnTo>
                <a:lnTo>
                  <a:pt x="283" y="19"/>
                </a:lnTo>
                <a:lnTo>
                  <a:pt x="263" y="29"/>
                </a:lnTo>
                <a:lnTo>
                  <a:pt x="224" y="39"/>
                </a:lnTo>
                <a:lnTo>
                  <a:pt x="214" y="49"/>
                </a:lnTo>
                <a:lnTo>
                  <a:pt x="205" y="49"/>
                </a:lnTo>
                <a:lnTo>
                  <a:pt x="195" y="39"/>
                </a:lnTo>
                <a:lnTo>
                  <a:pt x="195" y="19"/>
                </a:lnTo>
                <a:lnTo>
                  <a:pt x="175" y="19"/>
                </a:lnTo>
                <a:lnTo>
                  <a:pt x="156" y="0"/>
                </a:lnTo>
                <a:lnTo>
                  <a:pt x="127" y="0"/>
                </a:lnTo>
                <a:lnTo>
                  <a:pt x="107" y="9"/>
                </a:lnTo>
                <a:lnTo>
                  <a:pt x="88" y="9"/>
                </a:lnTo>
                <a:lnTo>
                  <a:pt x="78" y="29"/>
                </a:lnTo>
                <a:lnTo>
                  <a:pt x="88" y="39"/>
                </a:lnTo>
                <a:lnTo>
                  <a:pt x="78" y="49"/>
                </a:lnTo>
                <a:lnTo>
                  <a:pt x="78" y="68"/>
                </a:lnTo>
                <a:close/>
              </a:path>
            </a:pathLst>
          </a:custGeom>
          <a:solidFill>
            <a:srgbClr val="C8D6DE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71" name="Freeform 368"/>
          <p:cNvSpPr>
            <a:spLocks noChangeAspect="1"/>
          </p:cNvSpPr>
          <p:nvPr>
            <p:custDataLst>
              <p:tags r:id="rId37"/>
            </p:custDataLst>
          </p:nvPr>
        </p:nvSpPr>
        <p:spPr bwMode="auto">
          <a:xfrm>
            <a:off x="3479800" y="4238625"/>
            <a:ext cx="409575" cy="419100"/>
          </a:xfrm>
          <a:custGeom>
            <a:avLst/>
            <a:gdLst>
              <a:gd name="T0" fmla="*/ 409575 w 615"/>
              <a:gd name="T1" fmla="*/ 321476 h 674"/>
              <a:gd name="T2" fmla="*/ 402915 w 615"/>
              <a:gd name="T3" fmla="*/ 358163 h 674"/>
              <a:gd name="T4" fmla="*/ 363623 w 615"/>
              <a:gd name="T5" fmla="*/ 358163 h 674"/>
              <a:gd name="T6" fmla="*/ 324996 w 615"/>
              <a:gd name="T7" fmla="*/ 376195 h 674"/>
              <a:gd name="T8" fmla="*/ 324996 w 615"/>
              <a:gd name="T9" fmla="*/ 400446 h 674"/>
              <a:gd name="T10" fmla="*/ 292363 w 615"/>
              <a:gd name="T11" fmla="*/ 406664 h 674"/>
              <a:gd name="T12" fmla="*/ 259730 w 615"/>
              <a:gd name="T13" fmla="*/ 419100 h 674"/>
              <a:gd name="T14" fmla="*/ 247077 w 615"/>
              <a:gd name="T15" fmla="*/ 412882 h 674"/>
              <a:gd name="T16" fmla="*/ 233757 w 615"/>
              <a:gd name="T17" fmla="*/ 394228 h 674"/>
              <a:gd name="T18" fmla="*/ 201791 w 615"/>
              <a:gd name="T19" fmla="*/ 382413 h 674"/>
              <a:gd name="T20" fmla="*/ 175818 w 615"/>
              <a:gd name="T21" fmla="*/ 394228 h 674"/>
              <a:gd name="T22" fmla="*/ 162498 w 615"/>
              <a:gd name="T23" fmla="*/ 369977 h 674"/>
              <a:gd name="T24" fmla="*/ 136525 w 615"/>
              <a:gd name="T25" fmla="*/ 364381 h 674"/>
              <a:gd name="T26" fmla="*/ 103892 w 615"/>
              <a:gd name="T27" fmla="*/ 345726 h 674"/>
              <a:gd name="T28" fmla="*/ 71259 w 615"/>
              <a:gd name="T29" fmla="*/ 321476 h 674"/>
              <a:gd name="T30" fmla="*/ 51946 w 615"/>
              <a:gd name="T31" fmla="*/ 327694 h 674"/>
              <a:gd name="T32" fmla="*/ 39293 w 615"/>
              <a:gd name="T33" fmla="*/ 315879 h 674"/>
              <a:gd name="T34" fmla="*/ 25973 w 615"/>
              <a:gd name="T35" fmla="*/ 303443 h 674"/>
              <a:gd name="T36" fmla="*/ 6660 w 615"/>
              <a:gd name="T37" fmla="*/ 291629 h 674"/>
              <a:gd name="T38" fmla="*/ 6660 w 615"/>
              <a:gd name="T39" fmla="*/ 267378 h 674"/>
              <a:gd name="T40" fmla="*/ 25973 w 615"/>
              <a:gd name="T41" fmla="*/ 248724 h 674"/>
              <a:gd name="T42" fmla="*/ 45286 w 615"/>
              <a:gd name="T43" fmla="*/ 243128 h 674"/>
              <a:gd name="T44" fmla="*/ 65266 w 615"/>
              <a:gd name="T45" fmla="*/ 248724 h 674"/>
              <a:gd name="T46" fmla="*/ 84579 w 615"/>
              <a:gd name="T47" fmla="*/ 224473 h 674"/>
              <a:gd name="T48" fmla="*/ 103892 w 615"/>
              <a:gd name="T49" fmla="*/ 212659 h 674"/>
              <a:gd name="T50" fmla="*/ 110552 w 615"/>
              <a:gd name="T51" fmla="*/ 224473 h 674"/>
              <a:gd name="T52" fmla="*/ 129865 w 615"/>
              <a:gd name="T53" fmla="*/ 224473 h 674"/>
              <a:gd name="T54" fmla="*/ 143185 w 615"/>
              <a:gd name="T55" fmla="*/ 200223 h 674"/>
              <a:gd name="T56" fmla="*/ 169158 w 615"/>
              <a:gd name="T57" fmla="*/ 206441 h 674"/>
              <a:gd name="T58" fmla="*/ 195131 w 615"/>
              <a:gd name="T59" fmla="*/ 182190 h 674"/>
              <a:gd name="T60" fmla="*/ 181811 w 615"/>
              <a:gd name="T61" fmla="*/ 169754 h 674"/>
              <a:gd name="T62" fmla="*/ 201791 w 615"/>
              <a:gd name="T63" fmla="*/ 133689 h 674"/>
              <a:gd name="T64" fmla="*/ 214444 w 615"/>
              <a:gd name="T65" fmla="*/ 109439 h 674"/>
              <a:gd name="T66" fmla="*/ 253737 w 615"/>
              <a:gd name="T67" fmla="*/ 85188 h 674"/>
              <a:gd name="T68" fmla="*/ 292363 w 615"/>
              <a:gd name="T69" fmla="*/ 54719 h 674"/>
              <a:gd name="T70" fmla="*/ 305683 w 615"/>
              <a:gd name="T71" fmla="*/ 30469 h 674"/>
              <a:gd name="T72" fmla="*/ 318336 w 615"/>
              <a:gd name="T73" fmla="*/ 12436 h 674"/>
              <a:gd name="T74" fmla="*/ 337650 w 615"/>
              <a:gd name="T75" fmla="*/ 0 h 674"/>
              <a:gd name="T76" fmla="*/ 344309 w 615"/>
              <a:gd name="T77" fmla="*/ 12436 h 674"/>
              <a:gd name="T78" fmla="*/ 363623 w 615"/>
              <a:gd name="T79" fmla="*/ 30469 h 674"/>
              <a:gd name="T80" fmla="*/ 402915 w 615"/>
              <a:gd name="T81" fmla="*/ 85188 h 674"/>
              <a:gd name="T82" fmla="*/ 402915 w 615"/>
              <a:gd name="T83" fmla="*/ 115657 h 674"/>
              <a:gd name="T84" fmla="*/ 396255 w 615"/>
              <a:gd name="T85" fmla="*/ 139907 h 674"/>
              <a:gd name="T86" fmla="*/ 396255 w 615"/>
              <a:gd name="T87" fmla="*/ 182190 h 674"/>
              <a:gd name="T88" fmla="*/ 376942 w 615"/>
              <a:gd name="T89" fmla="*/ 224473 h 674"/>
              <a:gd name="T90" fmla="*/ 409575 w 615"/>
              <a:gd name="T91" fmla="*/ 254942 h 674"/>
              <a:gd name="T92" fmla="*/ 402915 w 615"/>
              <a:gd name="T93" fmla="*/ 285411 h 674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615"/>
              <a:gd name="T142" fmla="*/ 0 h 674"/>
              <a:gd name="T143" fmla="*/ 615 w 615"/>
              <a:gd name="T144" fmla="*/ 674 h 674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615" h="674">
                <a:moveTo>
                  <a:pt x="615" y="498"/>
                </a:moveTo>
                <a:lnTo>
                  <a:pt x="615" y="517"/>
                </a:lnTo>
                <a:lnTo>
                  <a:pt x="605" y="547"/>
                </a:lnTo>
                <a:lnTo>
                  <a:pt x="605" y="576"/>
                </a:lnTo>
                <a:lnTo>
                  <a:pt x="566" y="586"/>
                </a:lnTo>
                <a:lnTo>
                  <a:pt x="546" y="576"/>
                </a:lnTo>
                <a:lnTo>
                  <a:pt x="498" y="576"/>
                </a:lnTo>
                <a:lnTo>
                  <a:pt x="488" y="605"/>
                </a:lnTo>
                <a:lnTo>
                  <a:pt x="488" y="625"/>
                </a:lnTo>
                <a:lnTo>
                  <a:pt x="488" y="644"/>
                </a:lnTo>
                <a:lnTo>
                  <a:pt x="449" y="644"/>
                </a:lnTo>
                <a:lnTo>
                  <a:pt x="439" y="654"/>
                </a:lnTo>
                <a:lnTo>
                  <a:pt x="400" y="664"/>
                </a:lnTo>
                <a:lnTo>
                  <a:pt x="390" y="674"/>
                </a:lnTo>
                <a:lnTo>
                  <a:pt x="381" y="674"/>
                </a:lnTo>
                <a:lnTo>
                  <a:pt x="371" y="664"/>
                </a:lnTo>
                <a:lnTo>
                  <a:pt x="371" y="644"/>
                </a:lnTo>
                <a:lnTo>
                  <a:pt x="351" y="634"/>
                </a:lnTo>
                <a:lnTo>
                  <a:pt x="322" y="625"/>
                </a:lnTo>
                <a:lnTo>
                  <a:pt x="303" y="615"/>
                </a:lnTo>
                <a:lnTo>
                  <a:pt x="283" y="625"/>
                </a:lnTo>
                <a:lnTo>
                  <a:pt x="264" y="634"/>
                </a:lnTo>
                <a:lnTo>
                  <a:pt x="254" y="615"/>
                </a:lnTo>
                <a:lnTo>
                  <a:pt x="244" y="595"/>
                </a:lnTo>
                <a:lnTo>
                  <a:pt x="225" y="576"/>
                </a:lnTo>
                <a:lnTo>
                  <a:pt x="205" y="586"/>
                </a:lnTo>
                <a:lnTo>
                  <a:pt x="195" y="586"/>
                </a:lnTo>
                <a:lnTo>
                  <a:pt x="156" y="556"/>
                </a:lnTo>
                <a:lnTo>
                  <a:pt x="127" y="537"/>
                </a:lnTo>
                <a:lnTo>
                  <a:pt x="107" y="517"/>
                </a:lnTo>
                <a:lnTo>
                  <a:pt x="88" y="527"/>
                </a:lnTo>
                <a:lnTo>
                  <a:pt x="78" y="527"/>
                </a:lnTo>
                <a:lnTo>
                  <a:pt x="78" y="517"/>
                </a:lnTo>
                <a:lnTo>
                  <a:pt x="59" y="508"/>
                </a:lnTo>
                <a:lnTo>
                  <a:pt x="39" y="498"/>
                </a:lnTo>
                <a:lnTo>
                  <a:pt x="39" y="488"/>
                </a:lnTo>
                <a:lnTo>
                  <a:pt x="20" y="469"/>
                </a:lnTo>
                <a:lnTo>
                  <a:pt x="10" y="469"/>
                </a:lnTo>
                <a:lnTo>
                  <a:pt x="0" y="449"/>
                </a:lnTo>
                <a:lnTo>
                  <a:pt x="10" y="430"/>
                </a:lnTo>
                <a:lnTo>
                  <a:pt x="29" y="420"/>
                </a:lnTo>
                <a:lnTo>
                  <a:pt x="39" y="400"/>
                </a:lnTo>
                <a:lnTo>
                  <a:pt x="49" y="391"/>
                </a:lnTo>
                <a:lnTo>
                  <a:pt x="68" y="391"/>
                </a:lnTo>
                <a:lnTo>
                  <a:pt x="68" y="400"/>
                </a:lnTo>
                <a:lnTo>
                  <a:pt x="98" y="400"/>
                </a:lnTo>
                <a:lnTo>
                  <a:pt x="107" y="391"/>
                </a:lnTo>
                <a:lnTo>
                  <a:pt x="127" y="361"/>
                </a:lnTo>
                <a:lnTo>
                  <a:pt x="146" y="352"/>
                </a:lnTo>
                <a:lnTo>
                  <a:pt x="156" y="342"/>
                </a:lnTo>
                <a:lnTo>
                  <a:pt x="166" y="352"/>
                </a:lnTo>
                <a:lnTo>
                  <a:pt x="166" y="361"/>
                </a:lnTo>
                <a:lnTo>
                  <a:pt x="186" y="371"/>
                </a:lnTo>
                <a:lnTo>
                  <a:pt x="195" y="361"/>
                </a:lnTo>
                <a:lnTo>
                  <a:pt x="205" y="342"/>
                </a:lnTo>
                <a:lnTo>
                  <a:pt x="215" y="322"/>
                </a:lnTo>
                <a:lnTo>
                  <a:pt x="244" y="322"/>
                </a:lnTo>
                <a:lnTo>
                  <a:pt x="254" y="332"/>
                </a:lnTo>
                <a:lnTo>
                  <a:pt x="273" y="313"/>
                </a:lnTo>
                <a:lnTo>
                  <a:pt x="293" y="293"/>
                </a:lnTo>
                <a:lnTo>
                  <a:pt x="283" y="293"/>
                </a:lnTo>
                <a:lnTo>
                  <a:pt x="273" y="273"/>
                </a:lnTo>
                <a:lnTo>
                  <a:pt x="303" y="234"/>
                </a:lnTo>
                <a:lnTo>
                  <a:pt x="303" y="215"/>
                </a:lnTo>
                <a:lnTo>
                  <a:pt x="303" y="195"/>
                </a:lnTo>
                <a:lnTo>
                  <a:pt x="322" y="176"/>
                </a:lnTo>
                <a:lnTo>
                  <a:pt x="351" y="156"/>
                </a:lnTo>
                <a:lnTo>
                  <a:pt x="381" y="137"/>
                </a:lnTo>
                <a:lnTo>
                  <a:pt x="420" y="127"/>
                </a:lnTo>
                <a:lnTo>
                  <a:pt x="439" y="88"/>
                </a:lnTo>
                <a:lnTo>
                  <a:pt x="449" y="59"/>
                </a:lnTo>
                <a:lnTo>
                  <a:pt x="459" y="49"/>
                </a:lnTo>
                <a:lnTo>
                  <a:pt x="478" y="30"/>
                </a:lnTo>
                <a:lnTo>
                  <a:pt x="478" y="20"/>
                </a:lnTo>
                <a:lnTo>
                  <a:pt x="507" y="0"/>
                </a:lnTo>
                <a:lnTo>
                  <a:pt x="517" y="0"/>
                </a:lnTo>
                <a:lnTo>
                  <a:pt x="517" y="20"/>
                </a:lnTo>
                <a:lnTo>
                  <a:pt x="517" y="39"/>
                </a:lnTo>
                <a:lnTo>
                  <a:pt x="546" y="49"/>
                </a:lnTo>
                <a:lnTo>
                  <a:pt x="585" y="88"/>
                </a:lnTo>
                <a:lnTo>
                  <a:pt x="605" y="137"/>
                </a:lnTo>
                <a:lnTo>
                  <a:pt x="605" y="156"/>
                </a:lnTo>
                <a:lnTo>
                  <a:pt x="605" y="186"/>
                </a:lnTo>
                <a:lnTo>
                  <a:pt x="595" y="215"/>
                </a:lnTo>
                <a:lnTo>
                  <a:pt x="595" y="225"/>
                </a:lnTo>
                <a:lnTo>
                  <a:pt x="585" y="264"/>
                </a:lnTo>
                <a:lnTo>
                  <a:pt x="595" y="293"/>
                </a:lnTo>
                <a:lnTo>
                  <a:pt x="576" y="332"/>
                </a:lnTo>
                <a:lnTo>
                  <a:pt x="566" y="361"/>
                </a:lnTo>
                <a:lnTo>
                  <a:pt x="585" y="391"/>
                </a:lnTo>
                <a:lnTo>
                  <a:pt x="615" y="410"/>
                </a:lnTo>
                <a:lnTo>
                  <a:pt x="615" y="420"/>
                </a:lnTo>
                <a:lnTo>
                  <a:pt x="605" y="459"/>
                </a:lnTo>
                <a:lnTo>
                  <a:pt x="615" y="498"/>
                </a:lnTo>
                <a:close/>
              </a:path>
            </a:pathLst>
          </a:custGeom>
          <a:solidFill>
            <a:srgbClr val="C8D6DE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72" name="Freeform 367"/>
          <p:cNvSpPr>
            <a:spLocks noChangeAspect="1"/>
          </p:cNvSpPr>
          <p:nvPr>
            <p:custDataLst>
              <p:tags r:id="rId38"/>
            </p:custDataLst>
          </p:nvPr>
        </p:nvSpPr>
        <p:spPr bwMode="auto">
          <a:xfrm>
            <a:off x="3387725" y="4195763"/>
            <a:ext cx="411163" cy="322262"/>
          </a:xfrm>
          <a:custGeom>
            <a:avLst/>
            <a:gdLst>
              <a:gd name="T0" fmla="*/ 0 w 614"/>
              <a:gd name="T1" fmla="*/ 225023 h 517"/>
              <a:gd name="T2" fmla="*/ 12723 w 614"/>
              <a:gd name="T3" fmla="*/ 218790 h 517"/>
              <a:gd name="T4" fmla="*/ 38839 w 614"/>
              <a:gd name="T5" fmla="*/ 206946 h 517"/>
              <a:gd name="T6" fmla="*/ 38839 w 614"/>
              <a:gd name="T7" fmla="*/ 182636 h 517"/>
              <a:gd name="T8" fmla="*/ 78349 w 614"/>
              <a:gd name="T9" fmla="*/ 139626 h 517"/>
              <a:gd name="T10" fmla="*/ 91072 w 614"/>
              <a:gd name="T11" fmla="*/ 115317 h 517"/>
              <a:gd name="T12" fmla="*/ 104465 w 614"/>
              <a:gd name="T13" fmla="*/ 121550 h 517"/>
              <a:gd name="T14" fmla="*/ 130581 w 614"/>
              <a:gd name="T15" fmla="*/ 127783 h 517"/>
              <a:gd name="T16" fmla="*/ 136608 w 614"/>
              <a:gd name="T17" fmla="*/ 121550 h 517"/>
              <a:gd name="T18" fmla="*/ 169421 w 614"/>
              <a:gd name="T19" fmla="*/ 134017 h 517"/>
              <a:gd name="T20" fmla="*/ 188840 w 614"/>
              <a:gd name="T21" fmla="*/ 139626 h 517"/>
              <a:gd name="T22" fmla="*/ 202233 w 614"/>
              <a:gd name="T23" fmla="*/ 127783 h 517"/>
              <a:gd name="T24" fmla="*/ 182814 w 614"/>
              <a:gd name="T25" fmla="*/ 115317 h 517"/>
              <a:gd name="T26" fmla="*/ 188840 w 614"/>
              <a:gd name="T27" fmla="*/ 97240 h 517"/>
              <a:gd name="T28" fmla="*/ 195537 w 614"/>
              <a:gd name="T29" fmla="*/ 91007 h 517"/>
              <a:gd name="T30" fmla="*/ 202233 w 614"/>
              <a:gd name="T31" fmla="*/ 85397 h 517"/>
              <a:gd name="T32" fmla="*/ 208930 w 614"/>
              <a:gd name="T33" fmla="*/ 66697 h 517"/>
              <a:gd name="T34" fmla="*/ 215626 w 614"/>
              <a:gd name="T35" fmla="*/ 66697 h 517"/>
              <a:gd name="T36" fmla="*/ 228349 w 614"/>
              <a:gd name="T37" fmla="*/ 54853 h 517"/>
              <a:gd name="T38" fmla="*/ 228349 w 614"/>
              <a:gd name="T39" fmla="*/ 42387 h 517"/>
              <a:gd name="T40" fmla="*/ 228349 w 614"/>
              <a:gd name="T41" fmla="*/ 30543 h 517"/>
              <a:gd name="T42" fmla="*/ 241742 w 614"/>
              <a:gd name="T43" fmla="*/ 18077 h 517"/>
              <a:gd name="T44" fmla="*/ 267859 w 614"/>
              <a:gd name="T45" fmla="*/ 0 h 517"/>
              <a:gd name="T46" fmla="*/ 287278 w 614"/>
              <a:gd name="T47" fmla="*/ 6233 h 517"/>
              <a:gd name="T48" fmla="*/ 313395 w 614"/>
              <a:gd name="T49" fmla="*/ 18077 h 517"/>
              <a:gd name="T50" fmla="*/ 332814 w 614"/>
              <a:gd name="T51" fmla="*/ 18077 h 517"/>
              <a:gd name="T52" fmla="*/ 385047 w 614"/>
              <a:gd name="T53" fmla="*/ 42387 h 517"/>
              <a:gd name="T54" fmla="*/ 411163 w 614"/>
              <a:gd name="T55" fmla="*/ 61087 h 517"/>
              <a:gd name="T56" fmla="*/ 398440 w 614"/>
              <a:gd name="T57" fmla="*/ 85397 h 517"/>
              <a:gd name="T58" fmla="*/ 372324 w 614"/>
              <a:gd name="T59" fmla="*/ 121550 h 517"/>
              <a:gd name="T60" fmla="*/ 326118 w 614"/>
              <a:gd name="T61" fmla="*/ 145860 h 517"/>
              <a:gd name="T62" fmla="*/ 293975 w 614"/>
              <a:gd name="T63" fmla="*/ 163936 h 517"/>
              <a:gd name="T64" fmla="*/ 293975 w 614"/>
              <a:gd name="T65" fmla="*/ 188246 h 517"/>
              <a:gd name="T66" fmla="*/ 280582 w 614"/>
              <a:gd name="T67" fmla="*/ 225023 h 517"/>
              <a:gd name="T68" fmla="*/ 273885 w 614"/>
              <a:gd name="T69" fmla="*/ 237490 h 517"/>
              <a:gd name="T70" fmla="*/ 254466 w 614"/>
              <a:gd name="T71" fmla="*/ 243100 h 517"/>
              <a:gd name="T72" fmla="*/ 228349 w 614"/>
              <a:gd name="T73" fmla="*/ 255566 h 517"/>
              <a:gd name="T74" fmla="*/ 215626 w 614"/>
              <a:gd name="T75" fmla="*/ 273643 h 517"/>
              <a:gd name="T76" fmla="*/ 202233 w 614"/>
              <a:gd name="T77" fmla="*/ 261800 h 517"/>
              <a:gd name="T78" fmla="*/ 188840 w 614"/>
              <a:gd name="T79" fmla="*/ 261800 h 517"/>
              <a:gd name="T80" fmla="*/ 162724 w 614"/>
              <a:gd name="T81" fmla="*/ 286110 h 517"/>
              <a:gd name="T82" fmla="*/ 136608 w 614"/>
              <a:gd name="T83" fmla="*/ 291720 h 517"/>
              <a:gd name="T84" fmla="*/ 123885 w 614"/>
              <a:gd name="T85" fmla="*/ 286110 h 517"/>
              <a:gd name="T86" fmla="*/ 110492 w 614"/>
              <a:gd name="T87" fmla="*/ 304186 h 517"/>
              <a:gd name="T88" fmla="*/ 97768 w 614"/>
              <a:gd name="T89" fmla="*/ 322263 h 517"/>
              <a:gd name="T90" fmla="*/ 71652 w 614"/>
              <a:gd name="T91" fmla="*/ 297953 h 517"/>
              <a:gd name="T92" fmla="*/ 58259 w 614"/>
              <a:gd name="T93" fmla="*/ 286110 h 517"/>
              <a:gd name="T94" fmla="*/ 64956 w 614"/>
              <a:gd name="T95" fmla="*/ 279876 h 517"/>
              <a:gd name="T96" fmla="*/ 38839 w 614"/>
              <a:gd name="T97" fmla="*/ 273643 h 517"/>
              <a:gd name="T98" fmla="*/ 12723 w 614"/>
              <a:gd name="T99" fmla="*/ 261800 h 517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614"/>
              <a:gd name="T151" fmla="*/ 0 h 517"/>
              <a:gd name="T152" fmla="*/ 614 w 614"/>
              <a:gd name="T153" fmla="*/ 517 h 517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614" h="517">
                <a:moveTo>
                  <a:pt x="0" y="390"/>
                </a:moveTo>
                <a:lnTo>
                  <a:pt x="0" y="361"/>
                </a:lnTo>
                <a:lnTo>
                  <a:pt x="9" y="341"/>
                </a:lnTo>
                <a:lnTo>
                  <a:pt x="19" y="351"/>
                </a:lnTo>
                <a:lnTo>
                  <a:pt x="29" y="341"/>
                </a:lnTo>
                <a:lnTo>
                  <a:pt x="58" y="332"/>
                </a:lnTo>
                <a:lnTo>
                  <a:pt x="39" y="312"/>
                </a:lnTo>
                <a:lnTo>
                  <a:pt x="58" y="293"/>
                </a:lnTo>
                <a:lnTo>
                  <a:pt x="97" y="254"/>
                </a:lnTo>
                <a:lnTo>
                  <a:pt x="117" y="224"/>
                </a:lnTo>
                <a:lnTo>
                  <a:pt x="126" y="205"/>
                </a:lnTo>
                <a:lnTo>
                  <a:pt x="136" y="185"/>
                </a:lnTo>
                <a:lnTo>
                  <a:pt x="146" y="176"/>
                </a:lnTo>
                <a:lnTo>
                  <a:pt x="156" y="195"/>
                </a:lnTo>
                <a:lnTo>
                  <a:pt x="175" y="215"/>
                </a:lnTo>
                <a:lnTo>
                  <a:pt x="195" y="205"/>
                </a:lnTo>
                <a:lnTo>
                  <a:pt x="204" y="195"/>
                </a:lnTo>
                <a:lnTo>
                  <a:pt x="234" y="215"/>
                </a:lnTo>
                <a:lnTo>
                  <a:pt x="253" y="215"/>
                </a:lnTo>
                <a:lnTo>
                  <a:pt x="273" y="224"/>
                </a:lnTo>
                <a:lnTo>
                  <a:pt x="282" y="224"/>
                </a:lnTo>
                <a:lnTo>
                  <a:pt x="292" y="215"/>
                </a:lnTo>
                <a:lnTo>
                  <a:pt x="302" y="205"/>
                </a:lnTo>
                <a:lnTo>
                  <a:pt x="292" y="195"/>
                </a:lnTo>
                <a:lnTo>
                  <a:pt x="273" y="185"/>
                </a:lnTo>
                <a:lnTo>
                  <a:pt x="273" y="176"/>
                </a:lnTo>
                <a:lnTo>
                  <a:pt x="282" y="156"/>
                </a:lnTo>
                <a:lnTo>
                  <a:pt x="282" y="146"/>
                </a:lnTo>
                <a:lnTo>
                  <a:pt x="292" y="146"/>
                </a:lnTo>
                <a:lnTo>
                  <a:pt x="302" y="137"/>
                </a:lnTo>
                <a:lnTo>
                  <a:pt x="302" y="127"/>
                </a:lnTo>
                <a:lnTo>
                  <a:pt x="312" y="107"/>
                </a:lnTo>
                <a:lnTo>
                  <a:pt x="322" y="107"/>
                </a:lnTo>
                <a:lnTo>
                  <a:pt x="341" y="107"/>
                </a:lnTo>
                <a:lnTo>
                  <a:pt x="341" y="88"/>
                </a:lnTo>
                <a:lnTo>
                  <a:pt x="331" y="78"/>
                </a:lnTo>
                <a:lnTo>
                  <a:pt x="341" y="68"/>
                </a:lnTo>
                <a:lnTo>
                  <a:pt x="341" y="59"/>
                </a:lnTo>
                <a:lnTo>
                  <a:pt x="341" y="49"/>
                </a:lnTo>
                <a:lnTo>
                  <a:pt x="351" y="39"/>
                </a:lnTo>
                <a:lnTo>
                  <a:pt x="361" y="29"/>
                </a:lnTo>
                <a:lnTo>
                  <a:pt x="361" y="10"/>
                </a:lnTo>
                <a:lnTo>
                  <a:pt x="400" y="0"/>
                </a:lnTo>
                <a:lnTo>
                  <a:pt x="409" y="20"/>
                </a:lnTo>
                <a:lnTo>
                  <a:pt x="429" y="10"/>
                </a:lnTo>
                <a:lnTo>
                  <a:pt x="439" y="29"/>
                </a:lnTo>
                <a:lnTo>
                  <a:pt x="468" y="29"/>
                </a:lnTo>
                <a:lnTo>
                  <a:pt x="487" y="20"/>
                </a:lnTo>
                <a:lnTo>
                  <a:pt x="497" y="29"/>
                </a:lnTo>
                <a:lnTo>
                  <a:pt x="536" y="49"/>
                </a:lnTo>
                <a:lnTo>
                  <a:pt x="575" y="68"/>
                </a:lnTo>
                <a:lnTo>
                  <a:pt x="614" y="88"/>
                </a:lnTo>
                <a:lnTo>
                  <a:pt x="614" y="98"/>
                </a:lnTo>
                <a:lnTo>
                  <a:pt x="604" y="117"/>
                </a:lnTo>
                <a:lnTo>
                  <a:pt x="595" y="137"/>
                </a:lnTo>
                <a:lnTo>
                  <a:pt x="575" y="156"/>
                </a:lnTo>
                <a:lnTo>
                  <a:pt x="556" y="195"/>
                </a:lnTo>
                <a:lnTo>
                  <a:pt x="517" y="205"/>
                </a:lnTo>
                <a:lnTo>
                  <a:pt x="487" y="234"/>
                </a:lnTo>
                <a:lnTo>
                  <a:pt x="458" y="244"/>
                </a:lnTo>
                <a:lnTo>
                  <a:pt x="439" y="263"/>
                </a:lnTo>
                <a:lnTo>
                  <a:pt x="439" y="283"/>
                </a:lnTo>
                <a:lnTo>
                  <a:pt x="439" y="302"/>
                </a:lnTo>
                <a:lnTo>
                  <a:pt x="409" y="341"/>
                </a:lnTo>
                <a:lnTo>
                  <a:pt x="419" y="361"/>
                </a:lnTo>
                <a:lnTo>
                  <a:pt x="429" y="371"/>
                </a:lnTo>
                <a:lnTo>
                  <a:pt x="409" y="381"/>
                </a:lnTo>
                <a:lnTo>
                  <a:pt x="390" y="400"/>
                </a:lnTo>
                <a:lnTo>
                  <a:pt x="380" y="390"/>
                </a:lnTo>
                <a:lnTo>
                  <a:pt x="351" y="390"/>
                </a:lnTo>
                <a:lnTo>
                  <a:pt x="341" y="410"/>
                </a:lnTo>
                <a:lnTo>
                  <a:pt x="341" y="429"/>
                </a:lnTo>
                <a:lnTo>
                  <a:pt x="322" y="439"/>
                </a:lnTo>
                <a:lnTo>
                  <a:pt x="302" y="429"/>
                </a:lnTo>
                <a:lnTo>
                  <a:pt x="302" y="420"/>
                </a:lnTo>
                <a:lnTo>
                  <a:pt x="302" y="410"/>
                </a:lnTo>
                <a:lnTo>
                  <a:pt x="282" y="420"/>
                </a:lnTo>
                <a:lnTo>
                  <a:pt x="263" y="429"/>
                </a:lnTo>
                <a:lnTo>
                  <a:pt x="243" y="459"/>
                </a:lnTo>
                <a:lnTo>
                  <a:pt x="243" y="468"/>
                </a:lnTo>
                <a:lnTo>
                  <a:pt x="204" y="468"/>
                </a:lnTo>
                <a:lnTo>
                  <a:pt x="204" y="459"/>
                </a:lnTo>
                <a:lnTo>
                  <a:pt x="185" y="459"/>
                </a:lnTo>
                <a:lnTo>
                  <a:pt x="175" y="468"/>
                </a:lnTo>
                <a:lnTo>
                  <a:pt x="165" y="488"/>
                </a:lnTo>
                <a:lnTo>
                  <a:pt x="146" y="498"/>
                </a:lnTo>
                <a:lnTo>
                  <a:pt x="146" y="517"/>
                </a:lnTo>
                <a:lnTo>
                  <a:pt x="117" y="517"/>
                </a:lnTo>
                <a:lnTo>
                  <a:pt x="107" y="478"/>
                </a:lnTo>
                <a:lnTo>
                  <a:pt x="87" y="468"/>
                </a:lnTo>
                <a:lnTo>
                  <a:pt x="87" y="459"/>
                </a:lnTo>
                <a:lnTo>
                  <a:pt x="87" y="449"/>
                </a:lnTo>
                <a:lnTo>
                  <a:pt x="97" y="449"/>
                </a:lnTo>
                <a:lnTo>
                  <a:pt x="87" y="439"/>
                </a:lnTo>
                <a:lnTo>
                  <a:pt x="58" y="439"/>
                </a:lnTo>
                <a:lnTo>
                  <a:pt x="39" y="429"/>
                </a:lnTo>
                <a:lnTo>
                  <a:pt x="19" y="420"/>
                </a:lnTo>
                <a:lnTo>
                  <a:pt x="0" y="390"/>
                </a:lnTo>
                <a:close/>
              </a:path>
            </a:pathLst>
          </a:custGeom>
          <a:solidFill>
            <a:srgbClr val="DEC2B3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73" name="Freeform 366"/>
          <p:cNvSpPr>
            <a:spLocks noChangeAspect="1"/>
          </p:cNvSpPr>
          <p:nvPr>
            <p:custDataLst>
              <p:tags r:id="rId39"/>
            </p:custDataLst>
          </p:nvPr>
        </p:nvSpPr>
        <p:spPr bwMode="auto">
          <a:xfrm>
            <a:off x="3009900" y="3340100"/>
            <a:ext cx="442913" cy="419100"/>
          </a:xfrm>
          <a:custGeom>
            <a:avLst/>
            <a:gdLst>
              <a:gd name="T0" fmla="*/ 326005 w 663"/>
              <a:gd name="T1" fmla="*/ 291629 h 674"/>
              <a:gd name="T2" fmla="*/ 299952 w 663"/>
              <a:gd name="T3" fmla="*/ 279193 h 674"/>
              <a:gd name="T4" fmla="*/ 293271 w 663"/>
              <a:gd name="T5" fmla="*/ 297225 h 674"/>
              <a:gd name="T6" fmla="*/ 273898 w 663"/>
              <a:gd name="T7" fmla="*/ 315879 h 674"/>
              <a:gd name="T8" fmla="*/ 267217 w 663"/>
              <a:gd name="T9" fmla="*/ 340130 h 674"/>
              <a:gd name="T10" fmla="*/ 279910 w 663"/>
              <a:gd name="T11" fmla="*/ 358163 h 674"/>
              <a:gd name="T12" fmla="*/ 241164 w 663"/>
              <a:gd name="T13" fmla="*/ 394228 h 674"/>
              <a:gd name="T14" fmla="*/ 234483 w 663"/>
              <a:gd name="T15" fmla="*/ 406664 h 674"/>
              <a:gd name="T16" fmla="*/ 201749 w 663"/>
              <a:gd name="T17" fmla="*/ 419100 h 674"/>
              <a:gd name="T18" fmla="*/ 189056 w 663"/>
              <a:gd name="T19" fmla="*/ 406664 h 674"/>
              <a:gd name="T20" fmla="*/ 189056 w 663"/>
              <a:gd name="T21" fmla="*/ 394228 h 674"/>
              <a:gd name="T22" fmla="*/ 175696 w 663"/>
              <a:gd name="T23" fmla="*/ 382413 h 674"/>
              <a:gd name="T24" fmla="*/ 130269 w 663"/>
              <a:gd name="T25" fmla="*/ 376195 h 674"/>
              <a:gd name="T26" fmla="*/ 130269 w 663"/>
              <a:gd name="T27" fmla="*/ 358163 h 674"/>
              <a:gd name="T28" fmla="*/ 104215 w 663"/>
              <a:gd name="T29" fmla="*/ 333912 h 674"/>
              <a:gd name="T30" fmla="*/ 90854 w 663"/>
              <a:gd name="T31" fmla="*/ 309661 h 674"/>
              <a:gd name="T32" fmla="*/ 84842 w 663"/>
              <a:gd name="T33" fmla="*/ 327694 h 674"/>
              <a:gd name="T34" fmla="*/ 45427 w 663"/>
              <a:gd name="T35" fmla="*/ 321476 h 674"/>
              <a:gd name="T36" fmla="*/ 12693 w 663"/>
              <a:gd name="T37" fmla="*/ 230692 h 674"/>
              <a:gd name="T38" fmla="*/ 12693 w 663"/>
              <a:gd name="T39" fmla="*/ 206441 h 674"/>
              <a:gd name="T40" fmla="*/ 12693 w 663"/>
              <a:gd name="T41" fmla="*/ 188408 h 674"/>
              <a:gd name="T42" fmla="*/ 78161 w 663"/>
              <a:gd name="T43" fmla="*/ 200223 h 674"/>
              <a:gd name="T44" fmla="*/ 142961 w 663"/>
              <a:gd name="T45" fmla="*/ 206441 h 674"/>
              <a:gd name="T46" fmla="*/ 169015 w 663"/>
              <a:gd name="T47" fmla="*/ 200223 h 674"/>
              <a:gd name="T48" fmla="*/ 189056 w 663"/>
              <a:gd name="T49" fmla="*/ 157940 h 674"/>
              <a:gd name="T50" fmla="*/ 189056 w 663"/>
              <a:gd name="T51" fmla="*/ 133689 h 674"/>
              <a:gd name="T52" fmla="*/ 208430 w 663"/>
              <a:gd name="T53" fmla="*/ 127471 h 674"/>
              <a:gd name="T54" fmla="*/ 234483 w 663"/>
              <a:gd name="T55" fmla="*/ 121253 h 674"/>
              <a:gd name="T56" fmla="*/ 241164 w 663"/>
              <a:gd name="T57" fmla="*/ 103220 h 674"/>
              <a:gd name="T58" fmla="*/ 267217 w 663"/>
              <a:gd name="T59" fmla="*/ 85188 h 674"/>
              <a:gd name="T60" fmla="*/ 279910 w 663"/>
              <a:gd name="T61" fmla="*/ 78970 h 674"/>
              <a:gd name="T62" fmla="*/ 299952 w 663"/>
              <a:gd name="T63" fmla="*/ 60937 h 674"/>
              <a:gd name="T64" fmla="*/ 319325 w 663"/>
              <a:gd name="T65" fmla="*/ 54719 h 674"/>
              <a:gd name="T66" fmla="*/ 345379 w 663"/>
              <a:gd name="T67" fmla="*/ 48501 h 674"/>
              <a:gd name="T68" fmla="*/ 371432 w 663"/>
              <a:gd name="T69" fmla="*/ 24251 h 674"/>
              <a:gd name="T70" fmla="*/ 378113 w 663"/>
              <a:gd name="T71" fmla="*/ 6218 h 674"/>
              <a:gd name="T72" fmla="*/ 416859 w 663"/>
              <a:gd name="T73" fmla="*/ 54719 h 674"/>
              <a:gd name="T74" fmla="*/ 404166 w 663"/>
              <a:gd name="T75" fmla="*/ 78970 h 674"/>
              <a:gd name="T76" fmla="*/ 436233 w 663"/>
              <a:gd name="T77" fmla="*/ 85188 h 674"/>
              <a:gd name="T78" fmla="*/ 442913 w 663"/>
              <a:gd name="T79" fmla="*/ 109439 h 674"/>
              <a:gd name="T80" fmla="*/ 436233 w 663"/>
              <a:gd name="T81" fmla="*/ 103220 h 674"/>
              <a:gd name="T82" fmla="*/ 436233 w 663"/>
              <a:gd name="T83" fmla="*/ 115657 h 674"/>
              <a:gd name="T84" fmla="*/ 430220 w 663"/>
              <a:gd name="T85" fmla="*/ 121253 h 674"/>
              <a:gd name="T86" fmla="*/ 436233 w 663"/>
              <a:gd name="T87" fmla="*/ 157940 h 674"/>
              <a:gd name="T88" fmla="*/ 430220 w 663"/>
              <a:gd name="T89" fmla="*/ 169754 h 674"/>
              <a:gd name="T90" fmla="*/ 410179 w 663"/>
              <a:gd name="T91" fmla="*/ 169754 h 674"/>
              <a:gd name="T92" fmla="*/ 397486 w 663"/>
              <a:gd name="T93" fmla="*/ 182190 h 674"/>
              <a:gd name="T94" fmla="*/ 378113 w 663"/>
              <a:gd name="T95" fmla="*/ 182190 h 674"/>
              <a:gd name="T96" fmla="*/ 371432 w 663"/>
              <a:gd name="T97" fmla="*/ 200223 h 674"/>
              <a:gd name="T98" fmla="*/ 345379 w 663"/>
              <a:gd name="T99" fmla="*/ 212659 h 674"/>
              <a:gd name="T100" fmla="*/ 338698 w 663"/>
              <a:gd name="T101" fmla="*/ 218877 h 674"/>
              <a:gd name="T102" fmla="*/ 338698 w 663"/>
              <a:gd name="T103" fmla="*/ 230692 h 674"/>
              <a:gd name="T104" fmla="*/ 332018 w 663"/>
              <a:gd name="T105" fmla="*/ 243128 h 674"/>
              <a:gd name="T106" fmla="*/ 345379 w 663"/>
              <a:gd name="T107" fmla="*/ 248724 h 674"/>
              <a:gd name="T108" fmla="*/ 338698 w 663"/>
              <a:gd name="T109" fmla="*/ 272975 h 674"/>
              <a:gd name="T110" fmla="*/ 332018 w 663"/>
              <a:gd name="T111" fmla="*/ 291629 h 674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663"/>
              <a:gd name="T169" fmla="*/ 0 h 674"/>
              <a:gd name="T170" fmla="*/ 663 w 663"/>
              <a:gd name="T171" fmla="*/ 674 h 674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663" h="674">
                <a:moveTo>
                  <a:pt x="497" y="469"/>
                </a:moveTo>
                <a:lnTo>
                  <a:pt x="488" y="469"/>
                </a:lnTo>
                <a:lnTo>
                  <a:pt x="458" y="478"/>
                </a:lnTo>
                <a:lnTo>
                  <a:pt x="449" y="449"/>
                </a:lnTo>
                <a:lnTo>
                  <a:pt x="429" y="469"/>
                </a:lnTo>
                <a:lnTo>
                  <a:pt x="439" y="478"/>
                </a:lnTo>
                <a:lnTo>
                  <a:pt x="419" y="498"/>
                </a:lnTo>
                <a:lnTo>
                  <a:pt x="410" y="508"/>
                </a:lnTo>
                <a:lnTo>
                  <a:pt x="400" y="527"/>
                </a:lnTo>
                <a:lnTo>
                  <a:pt x="400" y="547"/>
                </a:lnTo>
                <a:lnTo>
                  <a:pt x="410" y="566"/>
                </a:lnTo>
                <a:lnTo>
                  <a:pt x="419" y="576"/>
                </a:lnTo>
                <a:lnTo>
                  <a:pt x="419" y="595"/>
                </a:lnTo>
                <a:lnTo>
                  <a:pt x="361" y="634"/>
                </a:lnTo>
                <a:lnTo>
                  <a:pt x="351" y="634"/>
                </a:lnTo>
                <a:lnTo>
                  <a:pt x="351" y="654"/>
                </a:lnTo>
                <a:lnTo>
                  <a:pt x="312" y="664"/>
                </a:lnTo>
                <a:lnTo>
                  <a:pt x="302" y="674"/>
                </a:lnTo>
                <a:lnTo>
                  <a:pt x="292" y="664"/>
                </a:lnTo>
                <a:lnTo>
                  <a:pt x="283" y="654"/>
                </a:lnTo>
                <a:lnTo>
                  <a:pt x="283" y="644"/>
                </a:lnTo>
                <a:lnTo>
                  <a:pt x="283" y="634"/>
                </a:lnTo>
                <a:lnTo>
                  <a:pt x="263" y="634"/>
                </a:lnTo>
                <a:lnTo>
                  <a:pt x="263" y="615"/>
                </a:lnTo>
                <a:lnTo>
                  <a:pt x="253" y="615"/>
                </a:lnTo>
                <a:lnTo>
                  <a:pt x="195" y="605"/>
                </a:lnTo>
                <a:lnTo>
                  <a:pt x="185" y="595"/>
                </a:lnTo>
                <a:lnTo>
                  <a:pt x="195" y="576"/>
                </a:lnTo>
                <a:lnTo>
                  <a:pt x="185" y="566"/>
                </a:lnTo>
                <a:lnTo>
                  <a:pt x="156" y="537"/>
                </a:lnTo>
                <a:lnTo>
                  <a:pt x="156" y="527"/>
                </a:lnTo>
                <a:lnTo>
                  <a:pt x="136" y="498"/>
                </a:lnTo>
                <a:lnTo>
                  <a:pt x="117" y="498"/>
                </a:lnTo>
                <a:lnTo>
                  <a:pt x="127" y="527"/>
                </a:lnTo>
                <a:lnTo>
                  <a:pt x="107" y="527"/>
                </a:lnTo>
                <a:lnTo>
                  <a:pt x="68" y="517"/>
                </a:lnTo>
                <a:lnTo>
                  <a:pt x="0" y="391"/>
                </a:lnTo>
                <a:lnTo>
                  <a:pt x="19" y="371"/>
                </a:lnTo>
                <a:lnTo>
                  <a:pt x="19" y="352"/>
                </a:lnTo>
                <a:lnTo>
                  <a:pt x="19" y="332"/>
                </a:lnTo>
                <a:lnTo>
                  <a:pt x="10" y="322"/>
                </a:lnTo>
                <a:lnTo>
                  <a:pt x="19" y="303"/>
                </a:lnTo>
                <a:lnTo>
                  <a:pt x="78" y="322"/>
                </a:lnTo>
                <a:lnTo>
                  <a:pt x="117" y="322"/>
                </a:lnTo>
                <a:lnTo>
                  <a:pt x="166" y="322"/>
                </a:lnTo>
                <a:lnTo>
                  <a:pt x="214" y="332"/>
                </a:lnTo>
                <a:lnTo>
                  <a:pt x="244" y="322"/>
                </a:lnTo>
                <a:lnTo>
                  <a:pt x="253" y="322"/>
                </a:lnTo>
                <a:lnTo>
                  <a:pt x="263" y="293"/>
                </a:lnTo>
                <a:lnTo>
                  <a:pt x="283" y="254"/>
                </a:lnTo>
                <a:lnTo>
                  <a:pt x="283" y="225"/>
                </a:lnTo>
                <a:lnTo>
                  <a:pt x="283" y="215"/>
                </a:lnTo>
                <a:lnTo>
                  <a:pt x="292" y="205"/>
                </a:lnTo>
                <a:lnTo>
                  <a:pt x="312" y="205"/>
                </a:lnTo>
                <a:lnTo>
                  <a:pt x="341" y="205"/>
                </a:lnTo>
                <a:lnTo>
                  <a:pt x="351" y="195"/>
                </a:lnTo>
                <a:lnTo>
                  <a:pt x="361" y="186"/>
                </a:lnTo>
                <a:lnTo>
                  <a:pt x="361" y="166"/>
                </a:lnTo>
                <a:lnTo>
                  <a:pt x="400" y="147"/>
                </a:lnTo>
                <a:lnTo>
                  <a:pt x="400" y="137"/>
                </a:lnTo>
                <a:lnTo>
                  <a:pt x="410" y="127"/>
                </a:lnTo>
                <a:lnTo>
                  <a:pt x="419" y="127"/>
                </a:lnTo>
                <a:lnTo>
                  <a:pt x="439" y="108"/>
                </a:lnTo>
                <a:lnTo>
                  <a:pt x="449" y="98"/>
                </a:lnTo>
                <a:lnTo>
                  <a:pt x="468" y="88"/>
                </a:lnTo>
                <a:lnTo>
                  <a:pt x="478" y="88"/>
                </a:lnTo>
                <a:lnTo>
                  <a:pt x="497" y="88"/>
                </a:lnTo>
                <a:lnTo>
                  <a:pt x="517" y="78"/>
                </a:lnTo>
                <a:lnTo>
                  <a:pt x="536" y="59"/>
                </a:lnTo>
                <a:lnTo>
                  <a:pt x="556" y="39"/>
                </a:lnTo>
                <a:lnTo>
                  <a:pt x="566" y="20"/>
                </a:lnTo>
                <a:lnTo>
                  <a:pt x="566" y="10"/>
                </a:lnTo>
                <a:lnTo>
                  <a:pt x="575" y="0"/>
                </a:lnTo>
                <a:lnTo>
                  <a:pt x="624" y="88"/>
                </a:lnTo>
                <a:lnTo>
                  <a:pt x="614" y="108"/>
                </a:lnTo>
                <a:lnTo>
                  <a:pt x="605" y="127"/>
                </a:lnTo>
                <a:lnTo>
                  <a:pt x="614" y="137"/>
                </a:lnTo>
                <a:lnTo>
                  <a:pt x="653" y="137"/>
                </a:lnTo>
                <a:lnTo>
                  <a:pt x="663" y="156"/>
                </a:lnTo>
                <a:lnTo>
                  <a:pt x="663" y="176"/>
                </a:lnTo>
                <a:lnTo>
                  <a:pt x="653" y="166"/>
                </a:lnTo>
                <a:lnTo>
                  <a:pt x="653" y="176"/>
                </a:lnTo>
                <a:lnTo>
                  <a:pt x="653" y="186"/>
                </a:lnTo>
                <a:lnTo>
                  <a:pt x="644" y="186"/>
                </a:lnTo>
                <a:lnTo>
                  <a:pt x="644" y="195"/>
                </a:lnTo>
                <a:lnTo>
                  <a:pt x="653" y="225"/>
                </a:lnTo>
                <a:lnTo>
                  <a:pt x="653" y="254"/>
                </a:lnTo>
                <a:lnTo>
                  <a:pt x="634" y="264"/>
                </a:lnTo>
                <a:lnTo>
                  <a:pt x="644" y="273"/>
                </a:lnTo>
                <a:lnTo>
                  <a:pt x="624" y="283"/>
                </a:lnTo>
                <a:lnTo>
                  <a:pt x="614" y="273"/>
                </a:lnTo>
                <a:lnTo>
                  <a:pt x="595" y="293"/>
                </a:lnTo>
                <a:lnTo>
                  <a:pt x="575" y="293"/>
                </a:lnTo>
                <a:lnTo>
                  <a:pt x="566" y="293"/>
                </a:lnTo>
                <a:lnTo>
                  <a:pt x="556" y="322"/>
                </a:lnTo>
                <a:lnTo>
                  <a:pt x="536" y="342"/>
                </a:lnTo>
                <a:lnTo>
                  <a:pt x="517" y="342"/>
                </a:lnTo>
                <a:lnTo>
                  <a:pt x="527" y="352"/>
                </a:lnTo>
                <a:lnTo>
                  <a:pt x="507" y="352"/>
                </a:lnTo>
                <a:lnTo>
                  <a:pt x="497" y="352"/>
                </a:lnTo>
                <a:lnTo>
                  <a:pt x="507" y="371"/>
                </a:lnTo>
                <a:lnTo>
                  <a:pt x="497" y="391"/>
                </a:lnTo>
                <a:lnTo>
                  <a:pt x="507" y="400"/>
                </a:lnTo>
                <a:lnTo>
                  <a:pt x="517" y="400"/>
                </a:lnTo>
                <a:lnTo>
                  <a:pt x="507" y="420"/>
                </a:lnTo>
                <a:lnTo>
                  <a:pt x="507" y="439"/>
                </a:lnTo>
                <a:lnTo>
                  <a:pt x="488" y="459"/>
                </a:lnTo>
                <a:lnTo>
                  <a:pt x="497" y="469"/>
                </a:lnTo>
                <a:close/>
              </a:path>
            </a:pathLst>
          </a:custGeom>
          <a:solidFill>
            <a:srgbClr val="FFCC99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74" name="Freeform 365"/>
          <p:cNvSpPr>
            <a:spLocks noChangeAspect="1"/>
          </p:cNvSpPr>
          <p:nvPr>
            <p:custDataLst>
              <p:tags r:id="rId40"/>
            </p:custDataLst>
          </p:nvPr>
        </p:nvSpPr>
        <p:spPr bwMode="auto">
          <a:xfrm>
            <a:off x="3381375" y="3802063"/>
            <a:ext cx="879475" cy="447675"/>
          </a:xfrm>
          <a:custGeom>
            <a:avLst/>
            <a:gdLst>
              <a:gd name="T0" fmla="*/ 247749 w 1317"/>
              <a:gd name="T1" fmla="*/ 399311 h 722"/>
              <a:gd name="T2" fmla="*/ 293158 w 1317"/>
              <a:gd name="T3" fmla="*/ 399311 h 722"/>
              <a:gd name="T4" fmla="*/ 325880 w 1317"/>
              <a:gd name="T5" fmla="*/ 405512 h 722"/>
              <a:gd name="T6" fmla="*/ 390655 w 1317"/>
              <a:gd name="T7" fmla="*/ 435274 h 722"/>
              <a:gd name="T8" fmla="*/ 449420 w 1317"/>
              <a:gd name="T9" fmla="*/ 417293 h 722"/>
              <a:gd name="T10" fmla="*/ 468786 w 1317"/>
              <a:gd name="T11" fmla="*/ 399311 h 722"/>
              <a:gd name="T12" fmla="*/ 494830 w 1317"/>
              <a:gd name="T13" fmla="*/ 350947 h 722"/>
              <a:gd name="T14" fmla="*/ 546917 w 1317"/>
              <a:gd name="T15" fmla="*/ 314365 h 722"/>
              <a:gd name="T16" fmla="*/ 560273 w 1317"/>
              <a:gd name="T17" fmla="*/ 283982 h 722"/>
              <a:gd name="T18" fmla="*/ 579639 w 1317"/>
              <a:gd name="T19" fmla="*/ 259800 h 722"/>
              <a:gd name="T20" fmla="*/ 599005 w 1317"/>
              <a:gd name="T21" fmla="*/ 272201 h 722"/>
              <a:gd name="T22" fmla="*/ 645082 w 1317"/>
              <a:gd name="T23" fmla="*/ 259800 h 722"/>
              <a:gd name="T24" fmla="*/ 697169 w 1317"/>
              <a:gd name="T25" fmla="*/ 254220 h 722"/>
              <a:gd name="T26" fmla="*/ 729223 w 1317"/>
              <a:gd name="T27" fmla="*/ 235618 h 722"/>
              <a:gd name="T28" fmla="*/ 749257 w 1317"/>
              <a:gd name="T29" fmla="*/ 223838 h 722"/>
              <a:gd name="T30" fmla="*/ 794666 w 1317"/>
              <a:gd name="T31" fmla="*/ 223838 h 722"/>
              <a:gd name="T32" fmla="*/ 827388 w 1317"/>
              <a:gd name="T33" fmla="*/ 211437 h 722"/>
              <a:gd name="T34" fmla="*/ 872797 w 1317"/>
              <a:gd name="T35" fmla="*/ 199656 h 722"/>
              <a:gd name="T36" fmla="*/ 872797 w 1317"/>
              <a:gd name="T37" fmla="*/ 193455 h 722"/>
              <a:gd name="T38" fmla="*/ 872797 w 1317"/>
              <a:gd name="T39" fmla="*/ 169273 h 722"/>
              <a:gd name="T40" fmla="*/ 872797 w 1317"/>
              <a:gd name="T41" fmla="*/ 138891 h 722"/>
              <a:gd name="T42" fmla="*/ 840076 w 1317"/>
              <a:gd name="T43" fmla="*/ 132690 h 722"/>
              <a:gd name="T44" fmla="*/ 820710 w 1317"/>
              <a:gd name="T45" fmla="*/ 151292 h 722"/>
              <a:gd name="T46" fmla="*/ 794666 w 1317"/>
              <a:gd name="T47" fmla="*/ 145091 h 722"/>
              <a:gd name="T48" fmla="*/ 768622 w 1317"/>
              <a:gd name="T49" fmla="*/ 156872 h 722"/>
              <a:gd name="T50" fmla="*/ 729223 w 1317"/>
              <a:gd name="T51" fmla="*/ 169273 h 722"/>
              <a:gd name="T52" fmla="*/ 671125 w 1317"/>
              <a:gd name="T53" fmla="*/ 145091 h 722"/>
              <a:gd name="T54" fmla="*/ 566283 w 1317"/>
              <a:gd name="T55" fmla="*/ 78746 h 722"/>
              <a:gd name="T56" fmla="*/ 520874 w 1317"/>
              <a:gd name="T57" fmla="*/ 42163 h 722"/>
              <a:gd name="T58" fmla="*/ 475464 w 1317"/>
              <a:gd name="T59" fmla="*/ 11781 h 722"/>
              <a:gd name="T60" fmla="*/ 397333 w 1317"/>
              <a:gd name="T61" fmla="*/ 6200 h 722"/>
              <a:gd name="T62" fmla="*/ 319202 w 1317"/>
              <a:gd name="T63" fmla="*/ 35963 h 722"/>
              <a:gd name="T64" fmla="*/ 331890 w 1317"/>
              <a:gd name="T65" fmla="*/ 66345 h 722"/>
              <a:gd name="T66" fmla="*/ 299836 w 1317"/>
              <a:gd name="T67" fmla="*/ 108508 h 722"/>
              <a:gd name="T68" fmla="*/ 273793 w 1317"/>
              <a:gd name="T69" fmla="*/ 84327 h 722"/>
              <a:gd name="T70" fmla="*/ 247749 w 1317"/>
              <a:gd name="T71" fmla="*/ 84327 h 722"/>
              <a:gd name="T72" fmla="*/ 227715 w 1317"/>
              <a:gd name="T73" fmla="*/ 60145 h 722"/>
              <a:gd name="T74" fmla="*/ 188984 w 1317"/>
              <a:gd name="T75" fmla="*/ 30382 h 722"/>
              <a:gd name="T76" fmla="*/ 168950 w 1317"/>
              <a:gd name="T77" fmla="*/ 30382 h 722"/>
              <a:gd name="T78" fmla="*/ 175628 w 1317"/>
              <a:gd name="T79" fmla="*/ 84327 h 722"/>
              <a:gd name="T80" fmla="*/ 149584 w 1317"/>
              <a:gd name="T81" fmla="*/ 102928 h 722"/>
              <a:gd name="T82" fmla="*/ 142906 w 1317"/>
              <a:gd name="T83" fmla="*/ 120909 h 722"/>
              <a:gd name="T84" fmla="*/ 110853 w 1317"/>
              <a:gd name="T85" fmla="*/ 138891 h 722"/>
              <a:gd name="T86" fmla="*/ 104175 w 1317"/>
              <a:gd name="T87" fmla="*/ 163073 h 722"/>
              <a:gd name="T88" fmla="*/ 136896 w 1317"/>
              <a:gd name="T89" fmla="*/ 175474 h 722"/>
              <a:gd name="T90" fmla="*/ 168950 w 1317"/>
              <a:gd name="T91" fmla="*/ 156872 h 722"/>
              <a:gd name="T92" fmla="*/ 156262 w 1317"/>
              <a:gd name="T93" fmla="*/ 211437 h 722"/>
              <a:gd name="T94" fmla="*/ 130218 w 1317"/>
              <a:gd name="T95" fmla="*/ 241819 h 722"/>
              <a:gd name="T96" fmla="*/ 97497 w 1317"/>
              <a:gd name="T97" fmla="*/ 254220 h 722"/>
              <a:gd name="T98" fmla="*/ 58765 w 1317"/>
              <a:gd name="T99" fmla="*/ 248019 h 722"/>
              <a:gd name="T100" fmla="*/ 38732 w 1317"/>
              <a:gd name="T101" fmla="*/ 290183 h 722"/>
              <a:gd name="T102" fmla="*/ 6678 w 1317"/>
              <a:gd name="T103" fmla="*/ 302584 h 722"/>
              <a:gd name="T104" fmla="*/ 12688 w 1317"/>
              <a:gd name="T105" fmla="*/ 326766 h 722"/>
              <a:gd name="T106" fmla="*/ 12688 w 1317"/>
              <a:gd name="T107" fmla="*/ 350947 h 722"/>
              <a:gd name="T108" fmla="*/ 6678 w 1317"/>
              <a:gd name="T109" fmla="*/ 368929 h 722"/>
              <a:gd name="T110" fmla="*/ 58765 w 1317"/>
              <a:gd name="T111" fmla="*/ 350947 h 722"/>
              <a:gd name="T112" fmla="*/ 97497 w 1317"/>
              <a:gd name="T113" fmla="*/ 362728 h 722"/>
              <a:gd name="T114" fmla="*/ 130218 w 1317"/>
              <a:gd name="T115" fmla="*/ 368929 h 722"/>
              <a:gd name="T116" fmla="*/ 149584 w 1317"/>
              <a:gd name="T117" fmla="*/ 344747 h 722"/>
              <a:gd name="T118" fmla="*/ 175628 w 1317"/>
              <a:gd name="T119" fmla="*/ 338547 h 722"/>
              <a:gd name="T120" fmla="*/ 215027 w 1317"/>
              <a:gd name="T121" fmla="*/ 356528 h 722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1317"/>
              <a:gd name="T184" fmla="*/ 0 h 722"/>
              <a:gd name="T185" fmla="*/ 1317 w 1317"/>
              <a:gd name="T186" fmla="*/ 722 h 722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1317" h="722">
                <a:moveTo>
                  <a:pt x="322" y="605"/>
                </a:moveTo>
                <a:lnTo>
                  <a:pt x="341" y="595"/>
                </a:lnTo>
                <a:lnTo>
                  <a:pt x="371" y="644"/>
                </a:lnTo>
                <a:lnTo>
                  <a:pt x="410" y="634"/>
                </a:lnTo>
                <a:lnTo>
                  <a:pt x="419" y="654"/>
                </a:lnTo>
                <a:lnTo>
                  <a:pt x="439" y="644"/>
                </a:lnTo>
                <a:lnTo>
                  <a:pt x="449" y="663"/>
                </a:lnTo>
                <a:lnTo>
                  <a:pt x="478" y="663"/>
                </a:lnTo>
                <a:lnTo>
                  <a:pt x="488" y="654"/>
                </a:lnTo>
                <a:lnTo>
                  <a:pt x="507" y="663"/>
                </a:lnTo>
                <a:lnTo>
                  <a:pt x="546" y="683"/>
                </a:lnTo>
                <a:lnTo>
                  <a:pt x="585" y="702"/>
                </a:lnTo>
                <a:lnTo>
                  <a:pt x="624" y="722"/>
                </a:lnTo>
                <a:lnTo>
                  <a:pt x="653" y="702"/>
                </a:lnTo>
                <a:lnTo>
                  <a:pt x="673" y="673"/>
                </a:lnTo>
                <a:lnTo>
                  <a:pt x="692" y="663"/>
                </a:lnTo>
                <a:lnTo>
                  <a:pt x="712" y="654"/>
                </a:lnTo>
                <a:lnTo>
                  <a:pt x="702" y="644"/>
                </a:lnTo>
                <a:lnTo>
                  <a:pt x="722" y="614"/>
                </a:lnTo>
                <a:lnTo>
                  <a:pt x="722" y="585"/>
                </a:lnTo>
                <a:lnTo>
                  <a:pt x="741" y="566"/>
                </a:lnTo>
                <a:lnTo>
                  <a:pt x="780" y="536"/>
                </a:lnTo>
                <a:lnTo>
                  <a:pt x="800" y="527"/>
                </a:lnTo>
                <a:lnTo>
                  <a:pt x="819" y="507"/>
                </a:lnTo>
                <a:lnTo>
                  <a:pt x="819" y="488"/>
                </a:lnTo>
                <a:lnTo>
                  <a:pt x="839" y="468"/>
                </a:lnTo>
                <a:lnTo>
                  <a:pt x="839" y="458"/>
                </a:lnTo>
                <a:lnTo>
                  <a:pt x="848" y="449"/>
                </a:lnTo>
                <a:lnTo>
                  <a:pt x="848" y="429"/>
                </a:lnTo>
                <a:lnTo>
                  <a:pt x="868" y="419"/>
                </a:lnTo>
                <a:lnTo>
                  <a:pt x="888" y="419"/>
                </a:lnTo>
                <a:lnTo>
                  <a:pt x="897" y="429"/>
                </a:lnTo>
                <a:lnTo>
                  <a:pt x="897" y="439"/>
                </a:lnTo>
                <a:lnTo>
                  <a:pt x="936" y="439"/>
                </a:lnTo>
                <a:lnTo>
                  <a:pt x="946" y="439"/>
                </a:lnTo>
                <a:lnTo>
                  <a:pt x="966" y="419"/>
                </a:lnTo>
                <a:lnTo>
                  <a:pt x="995" y="410"/>
                </a:lnTo>
                <a:lnTo>
                  <a:pt x="1024" y="410"/>
                </a:lnTo>
                <a:lnTo>
                  <a:pt x="1044" y="410"/>
                </a:lnTo>
                <a:lnTo>
                  <a:pt x="1063" y="400"/>
                </a:lnTo>
                <a:lnTo>
                  <a:pt x="1073" y="400"/>
                </a:lnTo>
                <a:lnTo>
                  <a:pt x="1092" y="380"/>
                </a:lnTo>
                <a:lnTo>
                  <a:pt x="1102" y="380"/>
                </a:lnTo>
                <a:lnTo>
                  <a:pt x="1122" y="371"/>
                </a:lnTo>
                <a:lnTo>
                  <a:pt x="1122" y="361"/>
                </a:lnTo>
                <a:lnTo>
                  <a:pt x="1141" y="361"/>
                </a:lnTo>
                <a:lnTo>
                  <a:pt x="1161" y="361"/>
                </a:lnTo>
                <a:lnTo>
                  <a:pt x="1190" y="361"/>
                </a:lnTo>
                <a:lnTo>
                  <a:pt x="1209" y="361"/>
                </a:lnTo>
                <a:lnTo>
                  <a:pt x="1229" y="351"/>
                </a:lnTo>
                <a:lnTo>
                  <a:pt x="1239" y="341"/>
                </a:lnTo>
                <a:lnTo>
                  <a:pt x="1258" y="341"/>
                </a:lnTo>
                <a:lnTo>
                  <a:pt x="1287" y="332"/>
                </a:lnTo>
                <a:lnTo>
                  <a:pt x="1307" y="322"/>
                </a:lnTo>
                <a:lnTo>
                  <a:pt x="1287" y="312"/>
                </a:lnTo>
                <a:lnTo>
                  <a:pt x="1307" y="312"/>
                </a:lnTo>
                <a:lnTo>
                  <a:pt x="1317" y="302"/>
                </a:lnTo>
                <a:lnTo>
                  <a:pt x="1317" y="293"/>
                </a:lnTo>
                <a:lnTo>
                  <a:pt x="1307" y="273"/>
                </a:lnTo>
                <a:lnTo>
                  <a:pt x="1297" y="253"/>
                </a:lnTo>
                <a:lnTo>
                  <a:pt x="1297" y="244"/>
                </a:lnTo>
                <a:lnTo>
                  <a:pt x="1307" y="224"/>
                </a:lnTo>
                <a:lnTo>
                  <a:pt x="1297" y="214"/>
                </a:lnTo>
                <a:lnTo>
                  <a:pt x="1268" y="205"/>
                </a:lnTo>
                <a:lnTo>
                  <a:pt x="1258" y="214"/>
                </a:lnTo>
                <a:lnTo>
                  <a:pt x="1248" y="224"/>
                </a:lnTo>
                <a:lnTo>
                  <a:pt x="1239" y="224"/>
                </a:lnTo>
                <a:lnTo>
                  <a:pt x="1229" y="244"/>
                </a:lnTo>
                <a:lnTo>
                  <a:pt x="1209" y="244"/>
                </a:lnTo>
                <a:lnTo>
                  <a:pt x="1200" y="234"/>
                </a:lnTo>
                <a:lnTo>
                  <a:pt x="1190" y="234"/>
                </a:lnTo>
                <a:lnTo>
                  <a:pt x="1170" y="234"/>
                </a:lnTo>
                <a:lnTo>
                  <a:pt x="1161" y="253"/>
                </a:lnTo>
                <a:lnTo>
                  <a:pt x="1151" y="253"/>
                </a:lnTo>
                <a:lnTo>
                  <a:pt x="1131" y="263"/>
                </a:lnTo>
                <a:lnTo>
                  <a:pt x="1112" y="263"/>
                </a:lnTo>
                <a:lnTo>
                  <a:pt x="1092" y="273"/>
                </a:lnTo>
                <a:lnTo>
                  <a:pt x="1083" y="273"/>
                </a:lnTo>
                <a:lnTo>
                  <a:pt x="1053" y="263"/>
                </a:lnTo>
                <a:lnTo>
                  <a:pt x="1005" y="234"/>
                </a:lnTo>
                <a:lnTo>
                  <a:pt x="956" y="195"/>
                </a:lnTo>
                <a:lnTo>
                  <a:pt x="907" y="166"/>
                </a:lnTo>
                <a:lnTo>
                  <a:pt x="848" y="127"/>
                </a:lnTo>
                <a:lnTo>
                  <a:pt x="839" y="107"/>
                </a:lnTo>
                <a:lnTo>
                  <a:pt x="819" y="97"/>
                </a:lnTo>
                <a:lnTo>
                  <a:pt x="780" y="68"/>
                </a:lnTo>
                <a:lnTo>
                  <a:pt x="761" y="49"/>
                </a:lnTo>
                <a:lnTo>
                  <a:pt x="741" y="19"/>
                </a:lnTo>
                <a:lnTo>
                  <a:pt x="712" y="19"/>
                </a:lnTo>
                <a:lnTo>
                  <a:pt x="692" y="19"/>
                </a:lnTo>
                <a:lnTo>
                  <a:pt x="663" y="19"/>
                </a:lnTo>
                <a:lnTo>
                  <a:pt x="595" y="10"/>
                </a:lnTo>
                <a:lnTo>
                  <a:pt x="546" y="0"/>
                </a:lnTo>
                <a:lnTo>
                  <a:pt x="497" y="49"/>
                </a:lnTo>
                <a:lnTo>
                  <a:pt x="478" y="58"/>
                </a:lnTo>
                <a:lnTo>
                  <a:pt x="468" y="78"/>
                </a:lnTo>
                <a:lnTo>
                  <a:pt x="497" y="88"/>
                </a:lnTo>
                <a:lnTo>
                  <a:pt x="497" y="107"/>
                </a:lnTo>
                <a:lnTo>
                  <a:pt x="478" y="136"/>
                </a:lnTo>
                <a:lnTo>
                  <a:pt x="478" y="156"/>
                </a:lnTo>
                <a:lnTo>
                  <a:pt x="449" y="175"/>
                </a:lnTo>
                <a:lnTo>
                  <a:pt x="439" y="146"/>
                </a:lnTo>
                <a:lnTo>
                  <a:pt x="429" y="156"/>
                </a:lnTo>
                <a:lnTo>
                  <a:pt x="410" y="136"/>
                </a:lnTo>
                <a:lnTo>
                  <a:pt x="390" y="136"/>
                </a:lnTo>
                <a:lnTo>
                  <a:pt x="380" y="136"/>
                </a:lnTo>
                <a:lnTo>
                  <a:pt x="371" y="136"/>
                </a:lnTo>
                <a:lnTo>
                  <a:pt x="361" y="127"/>
                </a:lnTo>
                <a:lnTo>
                  <a:pt x="361" y="117"/>
                </a:lnTo>
                <a:lnTo>
                  <a:pt x="341" y="97"/>
                </a:lnTo>
                <a:lnTo>
                  <a:pt x="322" y="78"/>
                </a:lnTo>
                <a:lnTo>
                  <a:pt x="292" y="58"/>
                </a:lnTo>
                <a:lnTo>
                  <a:pt x="283" y="49"/>
                </a:lnTo>
                <a:lnTo>
                  <a:pt x="273" y="39"/>
                </a:lnTo>
                <a:lnTo>
                  <a:pt x="253" y="39"/>
                </a:lnTo>
                <a:lnTo>
                  <a:pt x="253" y="49"/>
                </a:lnTo>
                <a:lnTo>
                  <a:pt x="253" y="68"/>
                </a:lnTo>
                <a:lnTo>
                  <a:pt x="263" y="107"/>
                </a:lnTo>
                <a:lnTo>
                  <a:pt x="263" y="136"/>
                </a:lnTo>
                <a:lnTo>
                  <a:pt x="253" y="146"/>
                </a:lnTo>
                <a:lnTo>
                  <a:pt x="234" y="156"/>
                </a:lnTo>
                <a:lnTo>
                  <a:pt x="224" y="166"/>
                </a:lnTo>
                <a:lnTo>
                  <a:pt x="244" y="185"/>
                </a:lnTo>
                <a:lnTo>
                  <a:pt x="244" y="195"/>
                </a:lnTo>
                <a:lnTo>
                  <a:pt x="214" y="195"/>
                </a:lnTo>
                <a:lnTo>
                  <a:pt x="195" y="205"/>
                </a:lnTo>
                <a:lnTo>
                  <a:pt x="185" y="224"/>
                </a:lnTo>
                <a:lnTo>
                  <a:pt x="166" y="224"/>
                </a:lnTo>
                <a:lnTo>
                  <a:pt x="166" y="244"/>
                </a:lnTo>
                <a:lnTo>
                  <a:pt x="166" y="253"/>
                </a:lnTo>
                <a:lnTo>
                  <a:pt x="156" y="263"/>
                </a:lnTo>
                <a:lnTo>
                  <a:pt x="166" y="273"/>
                </a:lnTo>
                <a:lnTo>
                  <a:pt x="175" y="263"/>
                </a:lnTo>
                <a:lnTo>
                  <a:pt x="205" y="283"/>
                </a:lnTo>
                <a:lnTo>
                  <a:pt x="234" y="263"/>
                </a:lnTo>
                <a:lnTo>
                  <a:pt x="234" y="273"/>
                </a:lnTo>
                <a:lnTo>
                  <a:pt x="253" y="253"/>
                </a:lnTo>
                <a:lnTo>
                  <a:pt x="292" y="293"/>
                </a:lnTo>
                <a:lnTo>
                  <a:pt x="283" y="312"/>
                </a:lnTo>
                <a:lnTo>
                  <a:pt x="234" y="341"/>
                </a:lnTo>
                <a:lnTo>
                  <a:pt x="195" y="351"/>
                </a:lnTo>
                <a:lnTo>
                  <a:pt x="175" y="371"/>
                </a:lnTo>
                <a:lnTo>
                  <a:pt x="195" y="390"/>
                </a:lnTo>
                <a:lnTo>
                  <a:pt x="166" y="419"/>
                </a:lnTo>
                <a:lnTo>
                  <a:pt x="146" y="419"/>
                </a:lnTo>
                <a:lnTo>
                  <a:pt x="146" y="410"/>
                </a:lnTo>
                <a:lnTo>
                  <a:pt x="127" y="400"/>
                </a:lnTo>
                <a:lnTo>
                  <a:pt x="97" y="400"/>
                </a:lnTo>
                <a:lnTo>
                  <a:pt x="88" y="400"/>
                </a:lnTo>
                <a:lnTo>
                  <a:pt x="68" y="429"/>
                </a:lnTo>
                <a:lnTo>
                  <a:pt x="58" y="449"/>
                </a:lnTo>
                <a:lnTo>
                  <a:pt x="58" y="468"/>
                </a:lnTo>
                <a:lnTo>
                  <a:pt x="49" y="468"/>
                </a:lnTo>
                <a:lnTo>
                  <a:pt x="39" y="468"/>
                </a:lnTo>
                <a:lnTo>
                  <a:pt x="10" y="488"/>
                </a:lnTo>
                <a:lnTo>
                  <a:pt x="10" y="497"/>
                </a:lnTo>
                <a:lnTo>
                  <a:pt x="10" y="507"/>
                </a:lnTo>
                <a:lnTo>
                  <a:pt x="19" y="527"/>
                </a:lnTo>
                <a:lnTo>
                  <a:pt x="10" y="546"/>
                </a:lnTo>
                <a:lnTo>
                  <a:pt x="19" y="566"/>
                </a:lnTo>
                <a:lnTo>
                  <a:pt x="0" y="575"/>
                </a:lnTo>
                <a:lnTo>
                  <a:pt x="10" y="585"/>
                </a:lnTo>
                <a:lnTo>
                  <a:pt x="10" y="595"/>
                </a:lnTo>
                <a:lnTo>
                  <a:pt x="29" y="575"/>
                </a:lnTo>
                <a:lnTo>
                  <a:pt x="58" y="556"/>
                </a:lnTo>
                <a:lnTo>
                  <a:pt x="88" y="566"/>
                </a:lnTo>
                <a:lnTo>
                  <a:pt x="117" y="585"/>
                </a:lnTo>
                <a:lnTo>
                  <a:pt x="136" y="575"/>
                </a:lnTo>
                <a:lnTo>
                  <a:pt x="146" y="585"/>
                </a:lnTo>
                <a:lnTo>
                  <a:pt x="146" y="605"/>
                </a:lnTo>
                <a:lnTo>
                  <a:pt x="175" y="595"/>
                </a:lnTo>
                <a:lnTo>
                  <a:pt x="195" y="595"/>
                </a:lnTo>
                <a:lnTo>
                  <a:pt x="205" y="614"/>
                </a:lnTo>
                <a:lnTo>
                  <a:pt x="224" y="595"/>
                </a:lnTo>
                <a:lnTo>
                  <a:pt x="224" y="556"/>
                </a:lnTo>
                <a:lnTo>
                  <a:pt x="234" y="546"/>
                </a:lnTo>
                <a:lnTo>
                  <a:pt x="253" y="556"/>
                </a:lnTo>
                <a:lnTo>
                  <a:pt x="263" y="546"/>
                </a:lnTo>
                <a:lnTo>
                  <a:pt x="273" y="556"/>
                </a:lnTo>
                <a:lnTo>
                  <a:pt x="292" y="546"/>
                </a:lnTo>
                <a:lnTo>
                  <a:pt x="322" y="575"/>
                </a:lnTo>
                <a:lnTo>
                  <a:pt x="312" y="585"/>
                </a:lnTo>
                <a:lnTo>
                  <a:pt x="322" y="605"/>
                </a:lnTo>
                <a:close/>
              </a:path>
            </a:pathLst>
          </a:custGeom>
          <a:solidFill>
            <a:srgbClr val="FFCC99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75" name="Freeform 364"/>
          <p:cNvSpPr>
            <a:spLocks noChangeAspect="1"/>
          </p:cNvSpPr>
          <p:nvPr>
            <p:custDataLst>
              <p:tags r:id="rId41"/>
            </p:custDataLst>
          </p:nvPr>
        </p:nvSpPr>
        <p:spPr bwMode="auto">
          <a:xfrm>
            <a:off x="3186113" y="3584575"/>
            <a:ext cx="558800" cy="477838"/>
          </a:xfrm>
          <a:custGeom>
            <a:avLst/>
            <a:gdLst>
              <a:gd name="T0" fmla="*/ 299048 w 839"/>
              <a:gd name="T1" fmla="*/ 472252 h 770"/>
              <a:gd name="T2" fmla="*/ 318363 w 839"/>
              <a:gd name="T3" fmla="*/ 448050 h 770"/>
              <a:gd name="T4" fmla="*/ 389628 w 839"/>
              <a:gd name="T5" fmla="*/ 399646 h 770"/>
              <a:gd name="T6" fmla="*/ 331683 w 839"/>
              <a:gd name="T7" fmla="*/ 393440 h 770"/>
              <a:gd name="T8" fmla="*/ 305708 w 839"/>
              <a:gd name="T9" fmla="*/ 374823 h 770"/>
              <a:gd name="T10" fmla="*/ 325023 w 839"/>
              <a:gd name="T11" fmla="*/ 345036 h 770"/>
              <a:gd name="T12" fmla="*/ 344338 w 839"/>
              <a:gd name="T13" fmla="*/ 320833 h 770"/>
              <a:gd name="T14" fmla="*/ 370313 w 839"/>
              <a:gd name="T15" fmla="*/ 284220 h 770"/>
              <a:gd name="T16" fmla="*/ 376974 w 839"/>
              <a:gd name="T17" fmla="*/ 242021 h 770"/>
              <a:gd name="T18" fmla="*/ 422264 w 839"/>
              <a:gd name="T19" fmla="*/ 278014 h 770"/>
              <a:gd name="T20" fmla="*/ 448239 w 839"/>
              <a:gd name="T21" fmla="*/ 302216 h 770"/>
              <a:gd name="T22" fmla="*/ 487535 w 839"/>
              <a:gd name="T23" fmla="*/ 308422 h 770"/>
              <a:gd name="T24" fmla="*/ 526164 w 839"/>
              <a:gd name="T25" fmla="*/ 284220 h 770"/>
              <a:gd name="T26" fmla="*/ 526164 w 839"/>
              <a:gd name="T27" fmla="*/ 248227 h 770"/>
              <a:gd name="T28" fmla="*/ 513510 w 839"/>
              <a:gd name="T29" fmla="*/ 205408 h 770"/>
              <a:gd name="T30" fmla="*/ 494195 w 839"/>
              <a:gd name="T31" fmla="*/ 163209 h 770"/>
              <a:gd name="T32" fmla="*/ 461560 w 839"/>
              <a:gd name="T33" fmla="*/ 114805 h 770"/>
              <a:gd name="T34" fmla="*/ 448239 w 839"/>
              <a:gd name="T35" fmla="*/ 114805 h 770"/>
              <a:gd name="T36" fmla="*/ 442245 w 839"/>
              <a:gd name="T37" fmla="*/ 102394 h 770"/>
              <a:gd name="T38" fmla="*/ 435584 w 839"/>
              <a:gd name="T39" fmla="*/ 66401 h 770"/>
              <a:gd name="T40" fmla="*/ 383634 w 839"/>
              <a:gd name="T41" fmla="*/ 60195 h 770"/>
              <a:gd name="T42" fmla="*/ 331683 w 839"/>
              <a:gd name="T43" fmla="*/ 48404 h 770"/>
              <a:gd name="T44" fmla="*/ 299048 w 839"/>
              <a:gd name="T45" fmla="*/ 96809 h 770"/>
              <a:gd name="T46" fmla="*/ 279733 w 839"/>
              <a:gd name="T47" fmla="*/ 96809 h 770"/>
              <a:gd name="T48" fmla="*/ 259752 w 839"/>
              <a:gd name="T49" fmla="*/ 84397 h 770"/>
              <a:gd name="T50" fmla="*/ 240437 w 839"/>
              <a:gd name="T51" fmla="*/ 53989 h 770"/>
              <a:gd name="T52" fmla="*/ 247098 w 839"/>
              <a:gd name="T53" fmla="*/ 48404 h 770"/>
              <a:gd name="T54" fmla="*/ 247098 w 839"/>
              <a:gd name="T55" fmla="*/ 5585 h 770"/>
              <a:gd name="T56" fmla="*/ 221122 w 839"/>
              <a:gd name="T57" fmla="*/ 5585 h 770"/>
              <a:gd name="T58" fmla="*/ 201807 w 839"/>
              <a:gd name="T59" fmla="*/ 29787 h 770"/>
              <a:gd name="T60" fmla="*/ 207802 w 839"/>
              <a:gd name="T61" fmla="*/ 66401 h 770"/>
              <a:gd name="T62" fmla="*/ 175832 w 839"/>
              <a:gd name="T63" fmla="*/ 78192 h 770"/>
              <a:gd name="T64" fmla="*/ 155851 w 839"/>
              <a:gd name="T65" fmla="*/ 48404 h 770"/>
              <a:gd name="T66" fmla="*/ 123882 w 839"/>
              <a:gd name="T67" fmla="*/ 35993 h 770"/>
              <a:gd name="T68" fmla="*/ 97907 w 839"/>
              <a:gd name="T69" fmla="*/ 72606 h 770"/>
              <a:gd name="T70" fmla="*/ 103901 w 839"/>
              <a:gd name="T71" fmla="*/ 114805 h 770"/>
              <a:gd name="T72" fmla="*/ 58611 w 839"/>
              <a:gd name="T73" fmla="*/ 150798 h 770"/>
              <a:gd name="T74" fmla="*/ 13321 w 839"/>
              <a:gd name="T75" fmla="*/ 187411 h 770"/>
              <a:gd name="T76" fmla="*/ 0 w 839"/>
              <a:gd name="T77" fmla="*/ 235816 h 770"/>
              <a:gd name="T78" fmla="*/ 32636 w 839"/>
              <a:gd name="T79" fmla="*/ 272429 h 770"/>
              <a:gd name="T80" fmla="*/ 58611 w 839"/>
              <a:gd name="T81" fmla="*/ 302216 h 770"/>
              <a:gd name="T82" fmla="*/ 84586 w 839"/>
              <a:gd name="T83" fmla="*/ 320833 h 770"/>
              <a:gd name="T84" fmla="*/ 123882 w 839"/>
              <a:gd name="T85" fmla="*/ 356826 h 770"/>
              <a:gd name="T86" fmla="*/ 149857 w 839"/>
              <a:gd name="T87" fmla="*/ 369238 h 770"/>
              <a:gd name="T88" fmla="*/ 181826 w 839"/>
              <a:gd name="T89" fmla="*/ 387234 h 770"/>
              <a:gd name="T90" fmla="*/ 201807 w 839"/>
              <a:gd name="T91" fmla="*/ 411436 h 770"/>
              <a:gd name="T92" fmla="*/ 221122 w 839"/>
              <a:gd name="T93" fmla="*/ 435638 h 770"/>
              <a:gd name="T94" fmla="*/ 253758 w 839"/>
              <a:gd name="T95" fmla="*/ 466046 h 770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839"/>
              <a:gd name="T145" fmla="*/ 0 h 770"/>
              <a:gd name="T146" fmla="*/ 839 w 839"/>
              <a:gd name="T147" fmla="*/ 770 h 770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839" h="770">
                <a:moveTo>
                  <a:pt x="381" y="751"/>
                </a:moveTo>
                <a:lnTo>
                  <a:pt x="390" y="751"/>
                </a:lnTo>
                <a:lnTo>
                  <a:pt x="420" y="751"/>
                </a:lnTo>
                <a:lnTo>
                  <a:pt x="449" y="761"/>
                </a:lnTo>
                <a:lnTo>
                  <a:pt x="449" y="770"/>
                </a:lnTo>
                <a:lnTo>
                  <a:pt x="459" y="770"/>
                </a:lnTo>
                <a:lnTo>
                  <a:pt x="488" y="741"/>
                </a:lnTo>
                <a:lnTo>
                  <a:pt x="478" y="722"/>
                </a:lnTo>
                <a:lnTo>
                  <a:pt x="488" y="702"/>
                </a:lnTo>
                <a:lnTo>
                  <a:pt x="537" y="692"/>
                </a:lnTo>
                <a:lnTo>
                  <a:pt x="576" y="663"/>
                </a:lnTo>
                <a:lnTo>
                  <a:pt x="585" y="644"/>
                </a:lnTo>
                <a:lnTo>
                  <a:pt x="546" y="614"/>
                </a:lnTo>
                <a:lnTo>
                  <a:pt x="537" y="624"/>
                </a:lnTo>
                <a:lnTo>
                  <a:pt x="527" y="614"/>
                </a:lnTo>
                <a:lnTo>
                  <a:pt x="498" y="634"/>
                </a:lnTo>
                <a:lnTo>
                  <a:pt x="478" y="624"/>
                </a:lnTo>
                <a:lnTo>
                  <a:pt x="459" y="624"/>
                </a:lnTo>
                <a:lnTo>
                  <a:pt x="449" y="614"/>
                </a:lnTo>
                <a:lnTo>
                  <a:pt x="459" y="604"/>
                </a:lnTo>
                <a:lnTo>
                  <a:pt x="459" y="595"/>
                </a:lnTo>
                <a:lnTo>
                  <a:pt x="468" y="575"/>
                </a:lnTo>
                <a:lnTo>
                  <a:pt x="478" y="575"/>
                </a:lnTo>
                <a:lnTo>
                  <a:pt x="488" y="556"/>
                </a:lnTo>
                <a:lnTo>
                  <a:pt x="507" y="556"/>
                </a:lnTo>
                <a:lnTo>
                  <a:pt x="537" y="546"/>
                </a:lnTo>
                <a:lnTo>
                  <a:pt x="537" y="536"/>
                </a:lnTo>
                <a:lnTo>
                  <a:pt x="517" y="517"/>
                </a:lnTo>
                <a:lnTo>
                  <a:pt x="537" y="507"/>
                </a:lnTo>
                <a:lnTo>
                  <a:pt x="546" y="497"/>
                </a:lnTo>
                <a:lnTo>
                  <a:pt x="556" y="487"/>
                </a:lnTo>
                <a:lnTo>
                  <a:pt x="556" y="458"/>
                </a:lnTo>
                <a:lnTo>
                  <a:pt x="546" y="419"/>
                </a:lnTo>
                <a:lnTo>
                  <a:pt x="546" y="400"/>
                </a:lnTo>
                <a:lnTo>
                  <a:pt x="546" y="390"/>
                </a:lnTo>
                <a:lnTo>
                  <a:pt x="566" y="390"/>
                </a:lnTo>
                <a:lnTo>
                  <a:pt x="576" y="400"/>
                </a:lnTo>
                <a:lnTo>
                  <a:pt x="595" y="419"/>
                </a:lnTo>
                <a:lnTo>
                  <a:pt x="615" y="429"/>
                </a:lnTo>
                <a:lnTo>
                  <a:pt x="634" y="448"/>
                </a:lnTo>
                <a:lnTo>
                  <a:pt x="654" y="468"/>
                </a:lnTo>
                <a:lnTo>
                  <a:pt x="654" y="478"/>
                </a:lnTo>
                <a:lnTo>
                  <a:pt x="664" y="487"/>
                </a:lnTo>
                <a:lnTo>
                  <a:pt x="673" y="487"/>
                </a:lnTo>
                <a:lnTo>
                  <a:pt x="693" y="497"/>
                </a:lnTo>
                <a:lnTo>
                  <a:pt x="703" y="487"/>
                </a:lnTo>
                <a:lnTo>
                  <a:pt x="722" y="507"/>
                </a:lnTo>
                <a:lnTo>
                  <a:pt x="732" y="497"/>
                </a:lnTo>
                <a:lnTo>
                  <a:pt x="751" y="526"/>
                </a:lnTo>
                <a:lnTo>
                  <a:pt x="781" y="507"/>
                </a:lnTo>
                <a:lnTo>
                  <a:pt x="771" y="487"/>
                </a:lnTo>
                <a:lnTo>
                  <a:pt x="790" y="458"/>
                </a:lnTo>
                <a:lnTo>
                  <a:pt x="790" y="439"/>
                </a:lnTo>
                <a:lnTo>
                  <a:pt x="761" y="429"/>
                </a:lnTo>
                <a:lnTo>
                  <a:pt x="771" y="419"/>
                </a:lnTo>
                <a:lnTo>
                  <a:pt x="790" y="400"/>
                </a:lnTo>
                <a:lnTo>
                  <a:pt x="839" y="351"/>
                </a:lnTo>
                <a:lnTo>
                  <a:pt x="820" y="341"/>
                </a:lnTo>
                <a:lnTo>
                  <a:pt x="800" y="322"/>
                </a:lnTo>
                <a:lnTo>
                  <a:pt x="771" y="331"/>
                </a:lnTo>
                <a:lnTo>
                  <a:pt x="751" y="312"/>
                </a:lnTo>
                <a:lnTo>
                  <a:pt x="742" y="292"/>
                </a:lnTo>
                <a:lnTo>
                  <a:pt x="742" y="263"/>
                </a:lnTo>
                <a:lnTo>
                  <a:pt x="722" y="243"/>
                </a:lnTo>
                <a:lnTo>
                  <a:pt x="712" y="204"/>
                </a:lnTo>
                <a:lnTo>
                  <a:pt x="703" y="175"/>
                </a:lnTo>
                <a:lnTo>
                  <a:pt x="693" y="185"/>
                </a:lnTo>
                <a:lnTo>
                  <a:pt x="673" y="204"/>
                </a:lnTo>
                <a:lnTo>
                  <a:pt x="654" y="214"/>
                </a:lnTo>
                <a:lnTo>
                  <a:pt x="654" y="204"/>
                </a:lnTo>
                <a:lnTo>
                  <a:pt x="673" y="185"/>
                </a:lnTo>
                <a:lnTo>
                  <a:pt x="664" y="175"/>
                </a:lnTo>
                <a:lnTo>
                  <a:pt x="644" y="175"/>
                </a:lnTo>
                <a:lnTo>
                  <a:pt x="644" y="165"/>
                </a:lnTo>
                <a:lnTo>
                  <a:pt x="664" y="165"/>
                </a:lnTo>
                <a:lnTo>
                  <a:pt x="673" y="165"/>
                </a:lnTo>
                <a:lnTo>
                  <a:pt x="673" y="136"/>
                </a:lnTo>
                <a:lnTo>
                  <a:pt x="654" y="126"/>
                </a:lnTo>
                <a:lnTo>
                  <a:pt x="654" y="107"/>
                </a:lnTo>
                <a:lnTo>
                  <a:pt x="644" y="107"/>
                </a:lnTo>
                <a:lnTo>
                  <a:pt x="634" y="97"/>
                </a:lnTo>
                <a:lnTo>
                  <a:pt x="595" y="97"/>
                </a:lnTo>
                <a:lnTo>
                  <a:pt x="576" y="97"/>
                </a:lnTo>
                <a:lnTo>
                  <a:pt x="556" y="87"/>
                </a:lnTo>
                <a:lnTo>
                  <a:pt x="546" y="87"/>
                </a:lnTo>
                <a:lnTo>
                  <a:pt x="517" y="87"/>
                </a:lnTo>
                <a:lnTo>
                  <a:pt x="498" y="78"/>
                </a:lnTo>
                <a:lnTo>
                  <a:pt x="459" y="97"/>
                </a:lnTo>
                <a:lnTo>
                  <a:pt x="459" y="117"/>
                </a:lnTo>
                <a:lnTo>
                  <a:pt x="449" y="136"/>
                </a:lnTo>
                <a:lnTo>
                  <a:pt x="449" y="156"/>
                </a:lnTo>
                <a:lnTo>
                  <a:pt x="429" y="165"/>
                </a:lnTo>
                <a:lnTo>
                  <a:pt x="429" y="156"/>
                </a:lnTo>
                <a:lnTo>
                  <a:pt x="429" y="146"/>
                </a:lnTo>
                <a:lnTo>
                  <a:pt x="420" y="156"/>
                </a:lnTo>
                <a:lnTo>
                  <a:pt x="410" y="156"/>
                </a:lnTo>
                <a:lnTo>
                  <a:pt x="400" y="156"/>
                </a:lnTo>
                <a:lnTo>
                  <a:pt x="390" y="156"/>
                </a:lnTo>
                <a:lnTo>
                  <a:pt x="390" y="136"/>
                </a:lnTo>
                <a:lnTo>
                  <a:pt x="390" y="126"/>
                </a:lnTo>
                <a:lnTo>
                  <a:pt x="371" y="87"/>
                </a:lnTo>
                <a:lnTo>
                  <a:pt x="361" y="87"/>
                </a:lnTo>
                <a:lnTo>
                  <a:pt x="342" y="87"/>
                </a:lnTo>
                <a:lnTo>
                  <a:pt x="351" y="78"/>
                </a:lnTo>
                <a:lnTo>
                  <a:pt x="361" y="87"/>
                </a:lnTo>
                <a:lnTo>
                  <a:pt x="371" y="78"/>
                </a:lnTo>
                <a:lnTo>
                  <a:pt x="371" y="68"/>
                </a:lnTo>
                <a:lnTo>
                  <a:pt x="371" y="48"/>
                </a:lnTo>
                <a:lnTo>
                  <a:pt x="371" y="29"/>
                </a:lnTo>
                <a:lnTo>
                  <a:pt x="371" y="9"/>
                </a:lnTo>
                <a:lnTo>
                  <a:pt x="361" y="0"/>
                </a:lnTo>
                <a:lnTo>
                  <a:pt x="342" y="9"/>
                </a:lnTo>
                <a:lnTo>
                  <a:pt x="332" y="9"/>
                </a:lnTo>
                <a:lnTo>
                  <a:pt x="312" y="19"/>
                </a:lnTo>
                <a:lnTo>
                  <a:pt x="312" y="29"/>
                </a:lnTo>
                <a:lnTo>
                  <a:pt x="303" y="39"/>
                </a:lnTo>
                <a:lnTo>
                  <a:pt x="303" y="48"/>
                </a:lnTo>
                <a:lnTo>
                  <a:pt x="303" y="68"/>
                </a:lnTo>
                <a:lnTo>
                  <a:pt x="312" y="78"/>
                </a:lnTo>
                <a:lnTo>
                  <a:pt x="322" y="87"/>
                </a:lnTo>
                <a:lnTo>
                  <a:pt x="312" y="107"/>
                </a:lnTo>
                <a:lnTo>
                  <a:pt x="293" y="107"/>
                </a:lnTo>
                <a:lnTo>
                  <a:pt x="293" y="126"/>
                </a:lnTo>
                <a:lnTo>
                  <a:pt x="283" y="126"/>
                </a:lnTo>
                <a:lnTo>
                  <a:pt x="264" y="126"/>
                </a:lnTo>
                <a:lnTo>
                  <a:pt x="244" y="117"/>
                </a:lnTo>
                <a:lnTo>
                  <a:pt x="244" y="107"/>
                </a:lnTo>
                <a:lnTo>
                  <a:pt x="244" y="87"/>
                </a:lnTo>
                <a:lnTo>
                  <a:pt x="234" y="78"/>
                </a:lnTo>
                <a:lnTo>
                  <a:pt x="225" y="78"/>
                </a:lnTo>
                <a:lnTo>
                  <a:pt x="205" y="78"/>
                </a:lnTo>
                <a:lnTo>
                  <a:pt x="186" y="58"/>
                </a:lnTo>
                <a:lnTo>
                  <a:pt x="166" y="78"/>
                </a:lnTo>
                <a:lnTo>
                  <a:pt x="176" y="87"/>
                </a:lnTo>
                <a:lnTo>
                  <a:pt x="156" y="107"/>
                </a:lnTo>
                <a:lnTo>
                  <a:pt x="147" y="117"/>
                </a:lnTo>
                <a:lnTo>
                  <a:pt x="137" y="136"/>
                </a:lnTo>
                <a:lnTo>
                  <a:pt x="137" y="156"/>
                </a:lnTo>
                <a:lnTo>
                  <a:pt x="147" y="175"/>
                </a:lnTo>
                <a:lnTo>
                  <a:pt x="156" y="185"/>
                </a:lnTo>
                <a:lnTo>
                  <a:pt x="156" y="204"/>
                </a:lnTo>
                <a:lnTo>
                  <a:pt x="137" y="214"/>
                </a:lnTo>
                <a:lnTo>
                  <a:pt x="98" y="243"/>
                </a:lnTo>
                <a:lnTo>
                  <a:pt x="88" y="243"/>
                </a:lnTo>
                <a:lnTo>
                  <a:pt x="88" y="263"/>
                </a:lnTo>
                <a:lnTo>
                  <a:pt x="49" y="273"/>
                </a:lnTo>
                <a:lnTo>
                  <a:pt x="29" y="292"/>
                </a:lnTo>
                <a:lnTo>
                  <a:pt x="20" y="302"/>
                </a:lnTo>
                <a:lnTo>
                  <a:pt x="20" y="322"/>
                </a:lnTo>
                <a:lnTo>
                  <a:pt x="0" y="331"/>
                </a:lnTo>
                <a:lnTo>
                  <a:pt x="0" y="361"/>
                </a:lnTo>
                <a:lnTo>
                  <a:pt x="0" y="380"/>
                </a:lnTo>
                <a:lnTo>
                  <a:pt x="10" y="400"/>
                </a:lnTo>
                <a:lnTo>
                  <a:pt x="20" y="409"/>
                </a:lnTo>
                <a:lnTo>
                  <a:pt x="29" y="439"/>
                </a:lnTo>
                <a:lnTo>
                  <a:pt x="49" y="439"/>
                </a:lnTo>
                <a:lnTo>
                  <a:pt x="59" y="448"/>
                </a:lnTo>
                <a:lnTo>
                  <a:pt x="69" y="458"/>
                </a:lnTo>
                <a:lnTo>
                  <a:pt x="78" y="487"/>
                </a:lnTo>
                <a:lnTo>
                  <a:pt x="88" y="487"/>
                </a:lnTo>
                <a:lnTo>
                  <a:pt x="108" y="487"/>
                </a:lnTo>
                <a:lnTo>
                  <a:pt x="127" y="497"/>
                </a:lnTo>
                <a:lnTo>
                  <a:pt x="137" y="507"/>
                </a:lnTo>
                <a:lnTo>
                  <a:pt x="127" y="517"/>
                </a:lnTo>
                <a:lnTo>
                  <a:pt x="137" y="526"/>
                </a:lnTo>
                <a:lnTo>
                  <a:pt x="147" y="536"/>
                </a:lnTo>
                <a:lnTo>
                  <a:pt x="156" y="556"/>
                </a:lnTo>
                <a:lnTo>
                  <a:pt x="186" y="575"/>
                </a:lnTo>
                <a:lnTo>
                  <a:pt x="205" y="575"/>
                </a:lnTo>
                <a:lnTo>
                  <a:pt x="215" y="575"/>
                </a:lnTo>
                <a:lnTo>
                  <a:pt x="234" y="585"/>
                </a:lnTo>
                <a:lnTo>
                  <a:pt x="225" y="595"/>
                </a:lnTo>
                <a:lnTo>
                  <a:pt x="234" y="604"/>
                </a:lnTo>
                <a:lnTo>
                  <a:pt x="244" y="624"/>
                </a:lnTo>
                <a:lnTo>
                  <a:pt x="254" y="634"/>
                </a:lnTo>
                <a:lnTo>
                  <a:pt x="273" y="624"/>
                </a:lnTo>
                <a:lnTo>
                  <a:pt x="293" y="614"/>
                </a:lnTo>
                <a:lnTo>
                  <a:pt x="303" y="634"/>
                </a:lnTo>
                <a:lnTo>
                  <a:pt x="293" y="644"/>
                </a:lnTo>
                <a:lnTo>
                  <a:pt x="303" y="663"/>
                </a:lnTo>
                <a:lnTo>
                  <a:pt x="312" y="673"/>
                </a:lnTo>
                <a:lnTo>
                  <a:pt x="322" y="673"/>
                </a:lnTo>
                <a:lnTo>
                  <a:pt x="332" y="683"/>
                </a:lnTo>
                <a:lnTo>
                  <a:pt x="332" y="702"/>
                </a:lnTo>
                <a:lnTo>
                  <a:pt x="351" y="692"/>
                </a:lnTo>
                <a:lnTo>
                  <a:pt x="381" y="722"/>
                </a:lnTo>
                <a:lnTo>
                  <a:pt x="351" y="741"/>
                </a:lnTo>
                <a:lnTo>
                  <a:pt x="381" y="751"/>
                </a:lnTo>
                <a:close/>
              </a:path>
            </a:pathLst>
          </a:custGeom>
          <a:solidFill>
            <a:srgbClr val="FFCC99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76" name="Freeform 363"/>
          <p:cNvSpPr>
            <a:spLocks noChangeAspect="1"/>
          </p:cNvSpPr>
          <p:nvPr>
            <p:custDataLst>
              <p:tags r:id="rId42"/>
            </p:custDataLst>
          </p:nvPr>
        </p:nvSpPr>
        <p:spPr bwMode="auto">
          <a:xfrm>
            <a:off x="2455863" y="4038600"/>
            <a:ext cx="168275" cy="169863"/>
          </a:xfrm>
          <a:custGeom>
            <a:avLst/>
            <a:gdLst>
              <a:gd name="T0" fmla="*/ 129698 w 253"/>
              <a:gd name="T1" fmla="*/ 163663 h 274"/>
              <a:gd name="T2" fmla="*/ 116396 w 253"/>
              <a:gd name="T3" fmla="*/ 157463 h 274"/>
              <a:gd name="T4" fmla="*/ 103759 w 253"/>
              <a:gd name="T5" fmla="*/ 139485 h 274"/>
              <a:gd name="T6" fmla="*/ 90456 w 253"/>
              <a:gd name="T7" fmla="*/ 127087 h 274"/>
              <a:gd name="T8" fmla="*/ 77819 w 253"/>
              <a:gd name="T9" fmla="*/ 127087 h 274"/>
              <a:gd name="T10" fmla="*/ 64517 w 253"/>
              <a:gd name="T11" fmla="*/ 115308 h 274"/>
              <a:gd name="T12" fmla="*/ 45228 w 253"/>
              <a:gd name="T13" fmla="*/ 109108 h 274"/>
              <a:gd name="T14" fmla="*/ 45228 w 253"/>
              <a:gd name="T15" fmla="*/ 96710 h 274"/>
              <a:gd name="T16" fmla="*/ 38577 w 253"/>
              <a:gd name="T17" fmla="*/ 96710 h 274"/>
              <a:gd name="T18" fmla="*/ 25940 w 253"/>
              <a:gd name="T19" fmla="*/ 96710 h 274"/>
              <a:gd name="T20" fmla="*/ 19288 w 253"/>
              <a:gd name="T21" fmla="*/ 84931 h 274"/>
              <a:gd name="T22" fmla="*/ 19288 w 253"/>
              <a:gd name="T23" fmla="*/ 84931 h 274"/>
              <a:gd name="T24" fmla="*/ 12637 w 253"/>
              <a:gd name="T25" fmla="*/ 78732 h 274"/>
              <a:gd name="T26" fmla="*/ 12637 w 253"/>
              <a:gd name="T27" fmla="*/ 72532 h 274"/>
              <a:gd name="T28" fmla="*/ 19288 w 253"/>
              <a:gd name="T29" fmla="*/ 72532 h 274"/>
              <a:gd name="T30" fmla="*/ 19288 w 253"/>
              <a:gd name="T31" fmla="*/ 60754 h 274"/>
              <a:gd name="T32" fmla="*/ 19288 w 253"/>
              <a:gd name="T33" fmla="*/ 54554 h 274"/>
              <a:gd name="T34" fmla="*/ 12637 w 253"/>
              <a:gd name="T35" fmla="*/ 48355 h 274"/>
              <a:gd name="T36" fmla="*/ 12637 w 253"/>
              <a:gd name="T37" fmla="*/ 42775 h 274"/>
              <a:gd name="T38" fmla="*/ 6651 w 253"/>
              <a:gd name="T39" fmla="*/ 36576 h 274"/>
              <a:gd name="T40" fmla="*/ 0 w 253"/>
              <a:gd name="T41" fmla="*/ 24177 h 274"/>
              <a:gd name="T42" fmla="*/ 0 w 253"/>
              <a:gd name="T43" fmla="*/ 24177 h 274"/>
              <a:gd name="T44" fmla="*/ 6651 w 253"/>
              <a:gd name="T45" fmla="*/ 24177 h 274"/>
              <a:gd name="T46" fmla="*/ 12637 w 253"/>
              <a:gd name="T47" fmla="*/ 24177 h 274"/>
              <a:gd name="T48" fmla="*/ 19288 w 253"/>
              <a:gd name="T49" fmla="*/ 18598 h 274"/>
              <a:gd name="T50" fmla="*/ 25940 w 253"/>
              <a:gd name="T51" fmla="*/ 12399 h 274"/>
              <a:gd name="T52" fmla="*/ 32591 w 253"/>
              <a:gd name="T53" fmla="*/ 18598 h 274"/>
              <a:gd name="T54" fmla="*/ 38577 w 253"/>
              <a:gd name="T55" fmla="*/ 24177 h 274"/>
              <a:gd name="T56" fmla="*/ 45228 w 253"/>
              <a:gd name="T57" fmla="*/ 18598 h 274"/>
              <a:gd name="T58" fmla="*/ 45228 w 253"/>
              <a:gd name="T59" fmla="*/ 6199 h 274"/>
              <a:gd name="T60" fmla="*/ 45228 w 253"/>
              <a:gd name="T61" fmla="*/ 0 h 274"/>
              <a:gd name="T62" fmla="*/ 71168 w 253"/>
              <a:gd name="T63" fmla="*/ 6199 h 274"/>
              <a:gd name="T64" fmla="*/ 77819 w 253"/>
              <a:gd name="T65" fmla="*/ 6199 h 274"/>
              <a:gd name="T66" fmla="*/ 84470 w 253"/>
              <a:gd name="T67" fmla="*/ 6199 h 274"/>
              <a:gd name="T68" fmla="*/ 90456 w 253"/>
              <a:gd name="T69" fmla="*/ 6199 h 274"/>
              <a:gd name="T70" fmla="*/ 90456 w 253"/>
              <a:gd name="T71" fmla="*/ 6199 h 274"/>
              <a:gd name="T72" fmla="*/ 103759 w 253"/>
              <a:gd name="T73" fmla="*/ 18598 h 274"/>
              <a:gd name="T74" fmla="*/ 116396 w 253"/>
              <a:gd name="T75" fmla="*/ 24177 h 274"/>
              <a:gd name="T76" fmla="*/ 110410 w 253"/>
              <a:gd name="T77" fmla="*/ 30377 h 274"/>
              <a:gd name="T78" fmla="*/ 103759 w 253"/>
              <a:gd name="T79" fmla="*/ 36576 h 274"/>
              <a:gd name="T80" fmla="*/ 103759 w 253"/>
              <a:gd name="T81" fmla="*/ 36576 h 274"/>
              <a:gd name="T82" fmla="*/ 116396 w 253"/>
              <a:gd name="T83" fmla="*/ 42775 h 274"/>
              <a:gd name="T84" fmla="*/ 129698 w 253"/>
              <a:gd name="T85" fmla="*/ 48355 h 274"/>
              <a:gd name="T86" fmla="*/ 129698 w 253"/>
              <a:gd name="T87" fmla="*/ 66953 h 274"/>
              <a:gd name="T88" fmla="*/ 136349 w 253"/>
              <a:gd name="T89" fmla="*/ 78732 h 274"/>
              <a:gd name="T90" fmla="*/ 136349 w 253"/>
              <a:gd name="T91" fmla="*/ 96710 h 274"/>
              <a:gd name="T92" fmla="*/ 136349 w 253"/>
              <a:gd name="T93" fmla="*/ 109108 h 274"/>
              <a:gd name="T94" fmla="*/ 136349 w 253"/>
              <a:gd name="T95" fmla="*/ 96710 h 274"/>
              <a:gd name="T96" fmla="*/ 136349 w 253"/>
              <a:gd name="T97" fmla="*/ 109108 h 274"/>
              <a:gd name="T98" fmla="*/ 148987 w 253"/>
              <a:gd name="T99" fmla="*/ 115308 h 274"/>
              <a:gd name="T100" fmla="*/ 148987 w 253"/>
              <a:gd name="T101" fmla="*/ 127087 h 274"/>
              <a:gd name="T102" fmla="*/ 148987 w 253"/>
              <a:gd name="T103" fmla="*/ 127087 h 274"/>
              <a:gd name="T104" fmla="*/ 168275 w 253"/>
              <a:gd name="T105" fmla="*/ 133286 h 274"/>
              <a:gd name="T106" fmla="*/ 168275 w 253"/>
              <a:gd name="T107" fmla="*/ 139485 h 274"/>
              <a:gd name="T108" fmla="*/ 162289 w 253"/>
              <a:gd name="T109" fmla="*/ 145065 h 274"/>
              <a:gd name="T110" fmla="*/ 162289 w 253"/>
              <a:gd name="T111" fmla="*/ 157463 h 274"/>
              <a:gd name="T112" fmla="*/ 155638 w 253"/>
              <a:gd name="T113" fmla="*/ 151264 h 274"/>
              <a:gd name="T114" fmla="*/ 148987 w 253"/>
              <a:gd name="T115" fmla="*/ 145065 h 274"/>
              <a:gd name="T116" fmla="*/ 142335 w 253"/>
              <a:gd name="T117" fmla="*/ 151264 h 274"/>
              <a:gd name="T118" fmla="*/ 136349 w 253"/>
              <a:gd name="T119" fmla="*/ 163663 h 274"/>
              <a:gd name="T120" fmla="*/ 129698 w 253"/>
              <a:gd name="T121" fmla="*/ 169862 h 274"/>
              <a:gd name="T122" fmla="*/ 129698 w 253"/>
              <a:gd name="T123" fmla="*/ 163663 h 274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253"/>
              <a:gd name="T187" fmla="*/ 0 h 274"/>
              <a:gd name="T188" fmla="*/ 253 w 253"/>
              <a:gd name="T189" fmla="*/ 274 h 274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253" h="274">
                <a:moveTo>
                  <a:pt x="195" y="264"/>
                </a:moveTo>
                <a:lnTo>
                  <a:pt x="175" y="254"/>
                </a:lnTo>
                <a:lnTo>
                  <a:pt x="156" y="225"/>
                </a:lnTo>
                <a:lnTo>
                  <a:pt x="136" y="205"/>
                </a:lnTo>
                <a:lnTo>
                  <a:pt x="117" y="205"/>
                </a:lnTo>
                <a:lnTo>
                  <a:pt x="97" y="186"/>
                </a:lnTo>
                <a:lnTo>
                  <a:pt x="68" y="176"/>
                </a:lnTo>
                <a:lnTo>
                  <a:pt x="68" y="156"/>
                </a:lnTo>
                <a:lnTo>
                  <a:pt x="58" y="156"/>
                </a:lnTo>
                <a:lnTo>
                  <a:pt x="39" y="156"/>
                </a:lnTo>
                <a:lnTo>
                  <a:pt x="29" y="137"/>
                </a:lnTo>
                <a:lnTo>
                  <a:pt x="19" y="127"/>
                </a:lnTo>
                <a:lnTo>
                  <a:pt x="19" y="117"/>
                </a:lnTo>
                <a:lnTo>
                  <a:pt x="29" y="117"/>
                </a:lnTo>
                <a:lnTo>
                  <a:pt x="29" y="98"/>
                </a:lnTo>
                <a:lnTo>
                  <a:pt x="29" y="88"/>
                </a:lnTo>
                <a:lnTo>
                  <a:pt x="19" y="78"/>
                </a:lnTo>
                <a:lnTo>
                  <a:pt x="19" y="69"/>
                </a:lnTo>
                <a:lnTo>
                  <a:pt x="10" y="59"/>
                </a:lnTo>
                <a:lnTo>
                  <a:pt x="0" y="39"/>
                </a:lnTo>
                <a:lnTo>
                  <a:pt x="10" y="39"/>
                </a:lnTo>
                <a:lnTo>
                  <a:pt x="19" y="39"/>
                </a:lnTo>
                <a:lnTo>
                  <a:pt x="29" y="30"/>
                </a:lnTo>
                <a:lnTo>
                  <a:pt x="39" y="20"/>
                </a:lnTo>
                <a:lnTo>
                  <a:pt x="49" y="30"/>
                </a:lnTo>
                <a:lnTo>
                  <a:pt x="58" y="39"/>
                </a:lnTo>
                <a:lnTo>
                  <a:pt x="68" y="30"/>
                </a:lnTo>
                <a:lnTo>
                  <a:pt x="68" y="10"/>
                </a:lnTo>
                <a:lnTo>
                  <a:pt x="68" y="0"/>
                </a:lnTo>
                <a:lnTo>
                  <a:pt x="107" y="10"/>
                </a:lnTo>
                <a:lnTo>
                  <a:pt x="117" y="10"/>
                </a:lnTo>
                <a:lnTo>
                  <a:pt x="127" y="10"/>
                </a:lnTo>
                <a:lnTo>
                  <a:pt x="136" y="10"/>
                </a:lnTo>
                <a:lnTo>
                  <a:pt x="156" y="30"/>
                </a:lnTo>
                <a:lnTo>
                  <a:pt x="175" y="39"/>
                </a:lnTo>
                <a:lnTo>
                  <a:pt x="166" y="49"/>
                </a:lnTo>
                <a:lnTo>
                  <a:pt x="156" y="59"/>
                </a:lnTo>
                <a:lnTo>
                  <a:pt x="175" y="69"/>
                </a:lnTo>
                <a:lnTo>
                  <a:pt x="195" y="78"/>
                </a:lnTo>
                <a:lnTo>
                  <a:pt x="195" y="108"/>
                </a:lnTo>
                <a:lnTo>
                  <a:pt x="205" y="127"/>
                </a:lnTo>
                <a:lnTo>
                  <a:pt x="205" y="156"/>
                </a:lnTo>
                <a:lnTo>
                  <a:pt x="205" y="176"/>
                </a:lnTo>
                <a:lnTo>
                  <a:pt x="205" y="156"/>
                </a:lnTo>
                <a:lnTo>
                  <a:pt x="205" y="176"/>
                </a:lnTo>
                <a:lnTo>
                  <a:pt x="224" y="186"/>
                </a:lnTo>
                <a:lnTo>
                  <a:pt x="224" y="205"/>
                </a:lnTo>
                <a:lnTo>
                  <a:pt x="253" y="215"/>
                </a:lnTo>
                <a:lnTo>
                  <a:pt x="253" y="225"/>
                </a:lnTo>
                <a:lnTo>
                  <a:pt x="244" y="234"/>
                </a:lnTo>
                <a:lnTo>
                  <a:pt x="244" y="254"/>
                </a:lnTo>
                <a:lnTo>
                  <a:pt x="234" y="244"/>
                </a:lnTo>
                <a:lnTo>
                  <a:pt x="224" y="234"/>
                </a:lnTo>
                <a:lnTo>
                  <a:pt x="214" y="244"/>
                </a:lnTo>
                <a:lnTo>
                  <a:pt x="205" y="264"/>
                </a:lnTo>
                <a:lnTo>
                  <a:pt x="195" y="274"/>
                </a:lnTo>
                <a:lnTo>
                  <a:pt x="195" y="264"/>
                </a:lnTo>
                <a:close/>
              </a:path>
            </a:pathLst>
          </a:custGeom>
          <a:solidFill>
            <a:srgbClr val="CCECFF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77" name="Freeform 362"/>
          <p:cNvSpPr>
            <a:spLocks noChangeAspect="1"/>
          </p:cNvSpPr>
          <p:nvPr>
            <p:custDataLst>
              <p:tags r:id="rId43"/>
            </p:custDataLst>
          </p:nvPr>
        </p:nvSpPr>
        <p:spPr bwMode="auto">
          <a:xfrm>
            <a:off x="2435225" y="4124325"/>
            <a:ext cx="150813" cy="180975"/>
          </a:xfrm>
          <a:custGeom>
            <a:avLst/>
            <a:gdLst>
              <a:gd name="T0" fmla="*/ 91828 w 225"/>
              <a:gd name="T1" fmla="*/ 174798 h 293"/>
              <a:gd name="T2" fmla="*/ 98531 w 225"/>
              <a:gd name="T3" fmla="*/ 162445 h 293"/>
              <a:gd name="T4" fmla="*/ 111266 w 225"/>
              <a:gd name="T5" fmla="*/ 150710 h 293"/>
              <a:gd name="T6" fmla="*/ 124672 w 225"/>
              <a:gd name="T7" fmla="*/ 150710 h 293"/>
              <a:gd name="T8" fmla="*/ 124672 w 225"/>
              <a:gd name="T9" fmla="*/ 138356 h 293"/>
              <a:gd name="T10" fmla="*/ 124672 w 225"/>
              <a:gd name="T11" fmla="*/ 132797 h 293"/>
              <a:gd name="T12" fmla="*/ 124672 w 225"/>
              <a:gd name="T13" fmla="*/ 126621 h 293"/>
              <a:gd name="T14" fmla="*/ 124672 w 225"/>
              <a:gd name="T15" fmla="*/ 126621 h 293"/>
              <a:gd name="T16" fmla="*/ 131375 w 225"/>
              <a:gd name="T17" fmla="*/ 126621 h 293"/>
              <a:gd name="T18" fmla="*/ 137407 w 225"/>
              <a:gd name="T19" fmla="*/ 120444 h 293"/>
              <a:gd name="T20" fmla="*/ 144110 w 225"/>
              <a:gd name="T21" fmla="*/ 114267 h 293"/>
              <a:gd name="T22" fmla="*/ 144110 w 225"/>
              <a:gd name="T23" fmla="*/ 108709 h 293"/>
              <a:gd name="T24" fmla="*/ 137407 w 225"/>
              <a:gd name="T25" fmla="*/ 102532 h 293"/>
              <a:gd name="T26" fmla="*/ 144110 w 225"/>
              <a:gd name="T27" fmla="*/ 96355 h 293"/>
              <a:gd name="T28" fmla="*/ 150813 w 225"/>
              <a:gd name="T29" fmla="*/ 96355 h 293"/>
              <a:gd name="T30" fmla="*/ 150813 w 225"/>
              <a:gd name="T31" fmla="*/ 84620 h 293"/>
              <a:gd name="T32" fmla="*/ 150813 w 225"/>
              <a:gd name="T33" fmla="*/ 78443 h 293"/>
              <a:gd name="T34" fmla="*/ 144110 w 225"/>
              <a:gd name="T35" fmla="*/ 72266 h 293"/>
              <a:gd name="T36" fmla="*/ 124672 w 225"/>
              <a:gd name="T37" fmla="*/ 54354 h 293"/>
              <a:gd name="T38" fmla="*/ 111266 w 225"/>
              <a:gd name="T39" fmla="*/ 48178 h 293"/>
              <a:gd name="T40" fmla="*/ 98531 w 225"/>
              <a:gd name="T41" fmla="*/ 42001 h 293"/>
              <a:gd name="T42" fmla="*/ 85126 w 225"/>
              <a:gd name="T43" fmla="*/ 35824 h 293"/>
              <a:gd name="T44" fmla="*/ 72390 w 225"/>
              <a:gd name="T45" fmla="*/ 24089 h 293"/>
              <a:gd name="T46" fmla="*/ 65687 w 225"/>
              <a:gd name="T47" fmla="*/ 11736 h 293"/>
              <a:gd name="T48" fmla="*/ 58985 w 225"/>
              <a:gd name="T49" fmla="*/ 11736 h 293"/>
              <a:gd name="T50" fmla="*/ 52952 w 225"/>
              <a:gd name="T51" fmla="*/ 11736 h 293"/>
              <a:gd name="T52" fmla="*/ 46249 w 225"/>
              <a:gd name="T53" fmla="*/ 0 h 293"/>
              <a:gd name="T54" fmla="*/ 39547 w 225"/>
              <a:gd name="T55" fmla="*/ 0 h 293"/>
              <a:gd name="T56" fmla="*/ 32844 w 225"/>
              <a:gd name="T57" fmla="*/ 0 h 293"/>
              <a:gd name="T58" fmla="*/ 26811 w 225"/>
              <a:gd name="T59" fmla="*/ 6177 h 293"/>
              <a:gd name="T60" fmla="*/ 26811 w 225"/>
              <a:gd name="T61" fmla="*/ 11736 h 293"/>
              <a:gd name="T62" fmla="*/ 6703 w 225"/>
              <a:gd name="T63" fmla="*/ 11736 h 293"/>
              <a:gd name="T64" fmla="*/ 0 w 225"/>
              <a:gd name="T65" fmla="*/ 30265 h 293"/>
              <a:gd name="T66" fmla="*/ 0 w 225"/>
              <a:gd name="T67" fmla="*/ 35824 h 293"/>
              <a:gd name="T68" fmla="*/ 13406 w 225"/>
              <a:gd name="T69" fmla="*/ 35824 h 293"/>
              <a:gd name="T70" fmla="*/ 20108 w 225"/>
              <a:gd name="T71" fmla="*/ 42001 h 293"/>
              <a:gd name="T72" fmla="*/ 20108 w 225"/>
              <a:gd name="T73" fmla="*/ 54354 h 293"/>
              <a:gd name="T74" fmla="*/ 20108 w 225"/>
              <a:gd name="T75" fmla="*/ 72266 h 293"/>
              <a:gd name="T76" fmla="*/ 32844 w 225"/>
              <a:gd name="T77" fmla="*/ 78443 h 293"/>
              <a:gd name="T78" fmla="*/ 39547 w 225"/>
              <a:gd name="T79" fmla="*/ 78443 h 293"/>
              <a:gd name="T80" fmla="*/ 52952 w 225"/>
              <a:gd name="T81" fmla="*/ 90179 h 293"/>
              <a:gd name="T82" fmla="*/ 58985 w 225"/>
              <a:gd name="T83" fmla="*/ 90179 h 293"/>
              <a:gd name="T84" fmla="*/ 58985 w 225"/>
              <a:gd name="T85" fmla="*/ 96355 h 293"/>
              <a:gd name="T86" fmla="*/ 52952 w 225"/>
              <a:gd name="T87" fmla="*/ 102532 h 293"/>
              <a:gd name="T88" fmla="*/ 52952 w 225"/>
              <a:gd name="T89" fmla="*/ 114267 h 293"/>
              <a:gd name="T90" fmla="*/ 46249 w 225"/>
              <a:gd name="T91" fmla="*/ 126621 h 293"/>
              <a:gd name="T92" fmla="*/ 52952 w 225"/>
              <a:gd name="T93" fmla="*/ 138356 h 293"/>
              <a:gd name="T94" fmla="*/ 58985 w 225"/>
              <a:gd name="T95" fmla="*/ 144533 h 293"/>
              <a:gd name="T96" fmla="*/ 65687 w 225"/>
              <a:gd name="T97" fmla="*/ 138356 h 293"/>
              <a:gd name="T98" fmla="*/ 65687 w 225"/>
              <a:gd name="T99" fmla="*/ 144533 h 293"/>
              <a:gd name="T100" fmla="*/ 72390 w 225"/>
              <a:gd name="T101" fmla="*/ 156886 h 293"/>
              <a:gd name="T102" fmla="*/ 72390 w 225"/>
              <a:gd name="T103" fmla="*/ 174798 h 293"/>
              <a:gd name="T104" fmla="*/ 72390 w 225"/>
              <a:gd name="T105" fmla="*/ 180975 h 293"/>
              <a:gd name="T106" fmla="*/ 85126 w 225"/>
              <a:gd name="T107" fmla="*/ 174798 h 293"/>
              <a:gd name="T108" fmla="*/ 91828 w 225"/>
              <a:gd name="T109" fmla="*/ 174798 h 293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225"/>
              <a:gd name="T166" fmla="*/ 0 h 293"/>
              <a:gd name="T167" fmla="*/ 225 w 225"/>
              <a:gd name="T168" fmla="*/ 293 h 293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225" h="293">
                <a:moveTo>
                  <a:pt x="137" y="283"/>
                </a:moveTo>
                <a:lnTo>
                  <a:pt x="147" y="263"/>
                </a:lnTo>
                <a:lnTo>
                  <a:pt x="166" y="244"/>
                </a:lnTo>
                <a:lnTo>
                  <a:pt x="186" y="244"/>
                </a:lnTo>
                <a:lnTo>
                  <a:pt x="186" y="224"/>
                </a:lnTo>
                <a:lnTo>
                  <a:pt x="186" y="215"/>
                </a:lnTo>
                <a:lnTo>
                  <a:pt x="186" y="205"/>
                </a:lnTo>
                <a:lnTo>
                  <a:pt x="196" y="205"/>
                </a:lnTo>
                <a:lnTo>
                  <a:pt x="205" y="195"/>
                </a:lnTo>
                <a:lnTo>
                  <a:pt x="215" y="185"/>
                </a:lnTo>
                <a:lnTo>
                  <a:pt x="215" y="176"/>
                </a:lnTo>
                <a:lnTo>
                  <a:pt x="205" y="166"/>
                </a:lnTo>
                <a:lnTo>
                  <a:pt x="215" y="156"/>
                </a:lnTo>
                <a:lnTo>
                  <a:pt x="225" y="156"/>
                </a:lnTo>
                <a:lnTo>
                  <a:pt x="225" y="137"/>
                </a:lnTo>
                <a:lnTo>
                  <a:pt x="225" y="127"/>
                </a:lnTo>
                <a:lnTo>
                  <a:pt x="215" y="117"/>
                </a:lnTo>
                <a:lnTo>
                  <a:pt x="186" y="88"/>
                </a:lnTo>
                <a:lnTo>
                  <a:pt x="166" y="78"/>
                </a:lnTo>
                <a:lnTo>
                  <a:pt x="147" y="68"/>
                </a:lnTo>
                <a:lnTo>
                  <a:pt x="127" y="58"/>
                </a:lnTo>
                <a:lnTo>
                  <a:pt x="108" y="39"/>
                </a:lnTo>
                <a:lnTo>
                  <a:pt x="98" y="19"/>
                </a:lnTo>
                <a:lnTo>
                  <a:pt x="88" y="19"/>
                </a:lnTo>
                <a:lnTo>
                  <a:pt x="79" y="19"/>
                </a:lnTo>
                <a:lnTo>
                  <a:pt x="69" y="0"/>
                </a:lnTo>
                <a:lnTo>
                  <a:pt x="59" y="0"/>
                </a:lnTo>
                <a:lnTo>
                  <a:pt x="49" y="0"/>
                </a:lnTo>
                <a:lnTo>
                  <a:pt x="40" y="10"/>
                </a:lnTo>
                <a:lnTo>
                  <a:pt x="40" y="19"/>
                </a:lnTo>
                <a:lnTo>
                  <a:pt x="10" y="19"/>
                </a:lnTo>
                <a:lnTo>
                  <a:pt x="0" y="49"/>
                </a:lnTo>
                <a:lnTo>
                  <a:pt x="0" y="58"/>
                </a:lnTo>
                <a:lnTo>
                  <a:pt x="20" y="58"/>
                </a:lnTo>
                <a:lnTo>
                  <a:pt x="30" y="68"/>
                </a:lnTo>
                <a:lnTo>
                  <a:pt x="30" y="88"/>
                </a:lnTo>
                <a:lnTo>
                  <a:pt x="30" y="117"/>
                </a:lnTo>
                <a:lnTo>
                  <a:pt x="49" y="127"/>
                </a:lnTo>
                <a:lnTo>
                  <a:pt x="59" y="127"/>
                </a:lnTo>
                <a:lnTo>
                  <a:pt x="79" y="146"/>
                </a:lnTo>
                <a:lnTo>
                  <a:pt x="88" y="146"/>
                </a:lnTo>
                <a:lnTo>
                  <a:pt x="88" y="156"/>
                </a:lnTo>
                <a:lnTo>
                  <a:pt x="79" y="166"/>
                </a:lnTo>
                <a:lnTo>
                  <a:pt x="79" y="185"/>
                </a:lnTo>
                <a:lnTo>
                  <a:pt x="69" y="205"/>
                </a:lnTo>
                <a:lnTo>
                  <a:pt x="79" y="224"/>
                </a:lnTo>
                <a:lnTo>
                  <a:pt x="88" y="234"/>
                </a:lnTo>
                <a:lnTo>
                  <a:pt x="98" y="224"/>
                </a:lnTo>
                <a:lnTo>
                  <a:pt x="98" y="234"/>
                </a:lnTo>
                <a:lnTo>
                  <a:pt x="108" y="254"/>
                </a:lnTo>
                <a:lnTo>
                  <a:pt x="108" y="283"/>
                </a:lnTo>
                <a:lnTo>
                  <a:pt x="108" y="293"/>
                </a:lnTo>
                <a:lnTo>
                  <a:pt x="127" y="283"/>
                </a:lnTo>
                <a:lnTo>
                  <a:pt x="137" y="283"/>
                </a:lnTo>
                <a:close/>
              </a:path>
            </a:pathLst>
          </a:custGeom>
          <a:solidFill>
            <a:srgbClr val="CCECFF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78" name="Freeform 361"/>
          <p:cNvSpPr>
            <a:spLocks noChangeAspect="1"/>
          </p:cNvSpPr>
          <p:nvPr>
            <p:custDataLst>
              <p:tags r:id="rId44"/>
            </p:custDataLst>
          </p:nvPr>
        </p:nvSpPr>
        <p:spPr bwMode="auto">
          <a:xfrm>
            <a:off x="2541588" y="4008438"/>
            <a:ext cx="136525" cy="144462"/>
          </a:xfrm>
          <a:custGeom>
            <a:avLst/>
            <a:gdLst>
              <a:gd name="T0" fmla="*/ 117117 w 204"/>
              <a:gd name="T1" fmla="*/ 48154 h 234"/>
              <a:gd name="T2" fmla="*/ 110425 w 204"/>
              <a:gd name="T3" fmla="*/ 59884 h 234"/>
              <a:gd name="T4" fmla="*/ 117117 w 204"/>
              <a:gd name="T5" fmla="*/ 77788 h 234"/>
              <a:gd name="T6" fmla="*/ 130502 w 204"/>
              <a:gd name="T7" fmla="*/ 83961 h 234"/>
              <a:gd name="T8" fmla="*/ 130502 w 204"/>
              <a:gd name="T9" fmla="*/ 90135 h 234"/>
              <a:gd name="T10" fmla="*/ 130502 w 204"/>
              <a:gd name="T11" fmla="*/ 96309 h 234"/>
              <a:gd name="T12" fmla="*/ 136525 w 204"/>
              <a:gd name="T13" fmla="*/ 108039 h 234"/>
              <a:gd name="T14" fmla="*/ 123809 w 204"/>
              <a:gd name="T15" fmla="*/ 114212 h 234"/>
              <a:gd name="T16" fmla="*/ 110425 w 204"/>
              <a:gd name="T17" fmla="*/ 120386 h 234"/>
              <a:gd name="T18" fmla="*/ 97709 w 204"/>
              <a:gd name="T19" fmla="*/ 120386 h 234"/>
              <a:gd name="T20" fmla="*/ 97709 w 204"/>
              <a:gd name="T21" fmla="*/ 125942 h 234"/>
              <a:gd name="T22" fmla="*/ 104401 w 204"/>
              <a:gd name="T23" fmla="*/ 132116 h 234"/>
              <a:gd name="T24" fmla="*/ 97709 w 204"/>
              <a:gd name="T25" fmla="*/ 138289 h 234"/>
              <a:gd name="T26" fmla="*/ 91017 w 204"/>
              <a:gd name="T27" fmla="*/ 144463 h 234"/>
              <a:gd name="T28" fmla="*/ 78301 w 204"/>
              <a:gd name="T29" fmla="*/ 144463 h 234"/>
              <a:gd name="T30" fmla="*/ 64916 w 204"/>
              <a:gd name="T31" fmla="*/ 144463 h 234"/>
              <a:gd name="T32" fmla="*/ 52201 w 204"/>
              <a:gd name="T33" fmla="*/ 138289 h 234"/>
              <a:gd name="T34" fmla="*/ 58224 w 204"/>
              <a:gd name="T35" fmla="*/ 125942 h 234"/>
              <a:gd name="T36" fmla="*/ 52201 w 204"/>
              <a:gd name="T37" fmla="*/ 138289 h 234"/>
              <a:gd name="T38" fmla="*/ 58224 w 204"/>
              <a:gd name="T39" fmla="*/ 125942 h 234"/>
              <a:gd name="T40" fmla="*/ 52201 w 204"/>
              <a:gd name="T41" fmla="*/ 108039 h 234"/>
              <a:gd name="T42" fmla="*/ 45508 w 204"/>
              <a:gd name="T43" fmla="*/ 96309 h 234"/>
              <a:gd name="T44" fmla="*/ 45508 w 204"/>
              <a:gd name="T45" fmla="*/ 77788 h 234"/>
              <a:gd name="T46" fmla="*/ 32124 w 204"/>
              <a:gd name="T47" fmla="*/ 72232 h 234"/>
              <a:gd name="T48" fmla="*/ 19408 w 204"/>
              <a:gd name="T49" fmla="*/ 66058 h 234"/>
              <a:gd name="T50" fmla="*/ 19408 w 204"/>
              <a:gd name="T51" fmla="*/ 66058 h 234"/>
              <a:gd name="T52" fmla="*/ 26100 w 204"/>
              <a:gd name="T53" fmla="*/ 59884 h 234"/>
              <a:gd name="T54" fmla="*/ 32124 w 204"/>
              <a:gd name="T55" fmla="*/ 53711 h 234"/>
              <a:gd name="T56" fmla="*/ 19408 w 204"/>
              <a:gd name="T57" fmla="*/ 48154 h 234"/>
              <a:gd name="T58" fmla="*/ 6023 w 204"/>
              <a:gd name="T59" fmla="*/ 41981 h 234"/>
              <a:gd name="T60" fmla="*/ 6023 w 204"/>
              <a:gd name="T61" fmla="*/ 35807 h 234"/>
              <a:gd name="T62" fmla="*/ 0 w 204"/>
              <a:gd name="T63" fmla="*/ 29633 h 234"/>
              <a:gd name="T64" fmla="*/ 0 w 204"/>
              <a:gd name="T65" fmla="*/ 24077 h 234"/>
              <a:gd name="T66" fmla="*/ 12716 w 204"/>
              <a:gd name="T67" fmla="*/ 24077 h 234"/>
              <a:gd name="T68" fmla="*/ 19408 w 204"/>
              <a:gd name="T69" fmla="*/ 24077 h 234"/>
              <a:gd name="T70" fmla="*/ 32124 w 204"/>
              <a:gd name="T71" fmla="*/ 24077 h 234"/>
              <a:gd name="T72" fmla="*/ 32124 w 204"/>
              <a:gd name="T73" fmla="*/ 17904 h 234"/>
              <a:gd name="T74" fmla="*/ 32124 w 204"/>
              <a:gd name="T75" fmla="*/ 11730 h 234"/>
              <a:gd name="T76" fmla="*/ 38816 w 204"/>
              <a:gd name="T77" fmla="*/ 5556 h 234"/>
              <a:gd name="T78" fmla="*/ 38816 w 204"/>
              <a:gd name="T79" fmla="*/ 5556 h 234"/>
              <a:gd name="T80" fmla="*/ 52201 w 204"/>
              <a:gd name="T81" fmla="*/ 17904 h 234"/>
              <a:gd name="T82" fmla="*/ 58224 w 204"/>
              <a:gd name="T83" fmla="*/ 17904 h 234"/>
              <a:gd name="T84" fmla="*/ 64916 w 204"/>
              <a:gd name="T85" fmla="*/ 5556 h 234"/>
              <a:gd name="T86" fmla="*/ 71609 w 204"/>
              <a:gd name="T87" fmla="*/ 0 h 234"/>
              <a:gd name="T88" fmla="*/ 104401 w 204"/>
              <a:gd name="T89" fmla="*/ 17904 h 234"/>
              <a:gd name="T90" fmla="*/ 104401 w 204"/>
              <a:gd name="T91" fmla="*/ 24077 h 234"/>
              <a:gd name="T92" fmla="*/ 117117 w 204"/>
              <a:gd name="T93" fmla="*/ 24077 h 234"/>
              <a:gd name="T94" fmla="*/ 117117 w 204"/>
              <a:gd name="T95" fmla="*/ 29633 h 234"/>
              <a:gd name="T96" fmla="*/ 117117 w 204"/>
              <a:gd name="T97" fmla="*/ 35807 h 234"/>
              <a:gd name="T98" fmla="*/ 117117 w 204"/>
              <a:gd name="T99" fmla="*/ 48154 h 234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204"/>
              <a:gd name="T151" fmla="*/ 0 h 234"/>
              <a:gd name="T152" fmla="*/ 204 w 204"/>
              <a:gd name="T153" fmla="*/ 234 h 234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204" h="234">
                <a:moveTo>
                  <a:pt x="175" y="78"/>
                </a:moveTo>
                <a:lnTo>
                  <a:pt x="165" y="97"/>
                </a:lnTo>
                <a:lnTo>
                  <a:pt x="175" y="126"/>
                </a:lnTo>
                <a:lnTo>
                  <a:pt x="195" y="136"/>
                </a:lnTo>
                <a:lnTo>
                  <a:pt x="195" y="146"/>
                </a:lnTo>
                <a:lnTo>
                  <a:pt x="195" y="156"/>
                </a:lnTo>
                <a:lnTo>
                  <a:pt x="204" y="175"/>
                </a:lnTo>
                <a:lnTo>
                  <a:pt x="185" y="185"/>
                </a:lnTo>
                <a:lnTo>
                  <a:pt x="165" y="195"/>
                </a:lnTo>
                <a:lnTo>
                  <a:pt x="146" y="195"/>
                </a:lnTo>
                <a:lnTo>
                  <a:pt x="146" y="204"/>
                </a:lnTo>
                <a:lnTo>
                  <a:pt x="156" y="214"/>
                </a:lnTo>
                <a:lnTo>
                  <a:pt x="146" y="224"/>
                </a:lnTo>
                <a:lnTo>
                  <a:pt x="136" y="234"/>
                </a:lnTo>
                <a:lnTo>
                  <a:pt x="117" y="234"/>
                </a:lnTo>
                <a:lnTo>
                  <a:pt x="97" y="234"/>
                </a:lnTo>
                <a:lnTo>
                  <a:pt x="78" y="224"/>
                </a:lnTo>
                <a:lnTo>
                  <a:pt x="87" y="204"/>
                </a:lnTo>
                <a:lnTo>
                  <a:pt x="78" y="224"/>
                </a:lnTo>
                <a:lnTo>
                  <a:pt x="87" y="204"/>
                </a:lnTo>
                <a:lnTo>
                  <a:pt x="78" y="175"/>
                </a:lnTo>
                <a:lnTo>
                  <a:pt x="68" y="156"/>
                </a:lnTo>
                <a:lnTo>
                  <a:pt x="68" y="126"/>
                </a:lnTo>
                <a:lnTo>
                  <a:pt x="48" y="117"/>
                </a:lnTo>
                <a:lnTo>
                  <a:pt x="29" y="107"/>
                </a:lnTo>
                <a:lnTo>
                  <a:pt x="39" y="97"/>
                </a:lnTo>
                <a:lnTo>
                  <a:pt x="48" y="87"/>
                </a:lnTo>
                <a:lnTo>
                  <a:pt x="29" y="78"/>
                </a:lnTo>
                <a:lnTo>
                  <a:pt x="9" y="68"/>
                </a:lnTo>
                <a:lnTo>
                  <a:pt x="9" y="58"/>
                </a:lnTo>
                <a:lnTo>
                  <a:pt x="0" y="48"/>
                </a:lnTo>
                <a:lnTo>
                  <a:pt x="0" y="39"/>
                </a:lnTo>
                <a:lnTo>
                  <a:pt x="19" y="39"/>
                </a:lnTo>
                <a:lnTo>
                  <a:pt x="29" y="39"/>
                </a:lnTo>
                <a:lnTo>
                  <a:pt x="48" y="39"/>
                </a:lnTo>
                <a:lnTo>
                  <a:pt x="48" y="29"/>
                </a:lnTo>
                <a:lnTo>
                  <a:pt x="48" y="19"/>
                </a:lnTo>
                <a:lnTo>
                  <a:pt x="58" y="9"/>
                </a:lnTo>
                <a:lnTo>
                  <a:pt x="78" y="29"/>
                </a:lnTo>
                <a:lnTo>
                  <a:pt x="87" y="29"/>
                </a:lnTo>
                <a:lnTo>
                  <a:pt x="97" y="9"/>
                </a:lnTo>
                <a:lnTo>
                  <a:pt x="107" y="0"/>
                </a:lnTo>
                <a:lnTo>
                  <a:pt x="156" y="29"/>
                </a:lnTo>
                <a:lnTo>
                  <a:pt x="156" y="39"/>
                </a:lnTo>
                <a:lnTo>
                  <a:pt x="175" y="39"/>
                </a:lnTo>
                <a:lnTo>
                  <a:pt x="175" y="48"/>
                </a:lnTo>
                <a:lnTo>
                  <a:pt x="175" y="58"/>
                </a:lnTo>
                <a:lnTo>
                  <a:pt x="175" y="78"/>
                </a:lnTo>
                <a:close/>
              </a:path>
            </a:pathLst>
          </a:custGeom>
          <a:solidFill>
            <a:srgbClr val="CCECFF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79" name="Freeform 360"/>
          <p:cNvSpPr>
            <a:spLocks noChangeAspect="1"/>
          </p:cNvSpPr>
          <p:nvPr>
            <p:custDataLst>
              <p:tags r:id="rId45"/>
            </p:custDataLst>
          </p:nvPr>
        </p:nvSpPr>
        <p:spPr bwMode="auto">
          <a:xfrm>
            <a:off x="2541588" y="4008438"/>
            <a:ext cx="136525" cy="144462"/>
          </a:xfrm>
          <a:custGeom>
            <a:avLst/>
            <a:gdLst>
              <a:gd name="T0" fmla="*/ 117117 w 204"/>
              <a:gd name="T1" fmla="*/ 48154 h 234"/>
              <a:gd name="T2" fmla="*/ 110425 w 204"/>
              <a:gd name="T3" fmla="*/ 59884 h 234"/>
              <a:gd name="T4" fmla="*/ 117117 w 204"/>
              <a:gd name="T5" fmla="*/ 77788 h 234"/>
              <a:gd name="T6" fmla="*/ 130502 w 204"/>
              <a:gd name="T7" fmla="*/ 83961 h 234"/>
              <a:gd name="T8" fmla="*/ 130502 w 204"/>
              <a:gd name="T9" fmla="*/ 90135 h 234"/>
              <a:gd name="T10" fmla="*/ 130502 w 204"/>
              <a:gd name="T11" fmla="*/ 96309 h 234"/>
              <a:gd name="T12" fmla="*/ 136525 w 204"/>
              <a:gd name="T13" fmla="*/ 108039 h 234"/>
              <a:gd name="T14" fmla="*/ 123809 w 204"/>
              <a:gd name="T15" fmla="*/ 114212 h 234"/>
              <a:gd name="T16" fmla="*/ 110425 w 204"/>
              <a:gd name="T17" fmla="*/ 120386 h 234"/>
              <a:gd name="T18" fmla="*/ 97709 w 204"/>
              <a:gd name="T19" fmla="*/ 120386 h 234"/>
              <a:gd name="T20" fmla="*/ 97709 w 204"/>
              <a:gd name="T21" fmla="*/ 125942 h 234"/>
              <a:gd name="T22" fmla="*/ 104401 w 204"/>
              <a:gd name="T23" fmla="*/ 132116 h 234"/>
              <a:gd name="T24" fmla="*/ 97709 w 204"/>
              <a:gd name="T25" fmla="*/ 138289 h 234"/>
              <a:gd name="T26" fmla="*/ 91017 w 204"/>
              <a:gd name="T27" fmla="*/ 144463 h 234"/>
              <a:gd name="T28" fmla="*/ 78301 w 204"/>
              <a:gd name="T29" fmla="*/ 144463 h 234"/>
              <a:gd name="T30" fmla="*/ 64916 w 204"/>
              <a:gd name="T31" fmla="*/ 144463 h 234"/>
              <a:gd name="T32" fmla="*/ 52201 w 204"/>
              <a:gd name="T33" fmla="*/ 138289 h 234"/>
              <a:gd name="T34" fmla="*/ 58224 w 204"/>
              <a:gd name="T35" fmla="*/ 125942 h 234"/>
              <a:gd name="T36" fmla="*/ 52201 w 204"/>
              <a:gd name="T37" fmla="*/ 138289 h 234"/>
              <a:gd name="T38" fmla="*/ 58224 w 204"/>
              <a:gd name="T39" fmla="*/ 125942 h 234"/>
              <a:gd name="T40" fmla="*/ 52201 w 204"/>
              <a:gd name="T41" fmla="*/ 108039 h 234"/>
              <a:gd name="T42" fmla="*/ 45508 w 204"/>
              <a:gd name="T43" fmla="*/ 96309 h 234"/>
              <a:gd name="T44" fmla="*/ 45508 w 204"/>
              <a:gd name="T45" fmla="*/ 77788 h 234"/>
              <a:gd name="T46" fmla="*/ 32124 w 204"/>
              <a:gd name="T47" fmla="*/ 72232 h 234"/>
              <a:gd name="T48" fmla="*/ 19408 w 204"/>
              <a:gd name="T49" fmla="*/ 66058 h 234"/>
              <a:gd name="T50" fmla="*/ 19408 w 204"/>
              <a:gd name="T51" fmla="*/ 66058 h 234"/>
              <a:gd name="T52" fmla="*/ 26100 w 204"/>
              <a:gd name="T53" fmla="*/ 59884 h 234"/>
              <a:gd name="T54" fmla="*/ 32124 w 204"/>
              <a:gd name="T55" fmla="*/ 53711 h 234"/>
              <a:gd name="T56" fmla="*/ 19408 w 204"/>
              <a:gd name="T57" fmla="*/ 48154 h 234"/>
              <a:gd name="T58" fmla="*/ 6023 w 204"/>
              <a:gd name="T59" fmla="*/ 41981 h 234"/>
              <a:gd name="T60" fmla="*/ 6023 w 204"/>
              <a:gd name="T61" fmla="*/ 35807 h 234"/>
              <a:gd name="T62" fmla="*/ 0 w 204"/>
              <a:gd name="T63" fmla="*/ 29633 h 234"/>
              <a:gd name="T64" fmla="*/ 0 w 204"/>
              <a:gd name="T65" fmla="*/ 24077 h 234"/>
              <a:gd name="T66" fmla="*/ 12716 w 204"/>
              <a:gd name="T67" fmla="*/ 24077 h 234"/>
              <a:gd name="T68" fmla="*/ 19408 w 204"/>
              <a:gd name="T69" fmla="*/ 24077 h 234"/>
              <a:gd name="T70" fmla="*/ 32124 w 204"/>
              <a:gd name="T71" fmla="*/ 24077 h 234"/>
              <a:gd name="T72" fmla="*/ 32124 w 204"/>
              <a:gd name="T73" fmla="*/ 17904 h 234"/>
              <a:gd name="T74" fmla="*/ 32124 w 204"/>
              <a:gd name="T75" fmla="*/ 11730 h 234"/>
              <a:gd name="T76" fmla="*/ 32124 w 204"/>
              <a:gd name="T77" fmla="*/ 5556 h 234"/>
              <a:gd name="T78" fmla="*/ 38816 w 204"/>
              <a:gd name="T79" fmla="*/ 5556 h 234"/>
              <a:gd name="T80" fmla="*/ 52201 w 204"/>
              <a:gd name="T81" fmla="*/ 17904 h 234"/>
              <a:gd name="T82" fmla="*/ 64916 w 204"/>
              <a:gd name="T83" fmla="*/ 17904 h 234"/>
              <a:gd name="T84" fmla="*/ 64916 w 204"/>
              <a:gd name="T85" fmla="*/ 5556 h 234"/>
              <a:gd name="T86" fmla="*/ 71609 w 204"/>
              <a:gd name="T87" fmla="*/ 0 h 234"/>
              <a:gd name="T88" fmla="*/ 104401 w 204"/>
              <a:gd name="T89" fmla="*/ 17904 h 234"/>
              <a:gd name="T90" fmla="*/ 104401 w 204"/>
              <a:gd name="T91" fmla="*/ 24077 h 234"/>
              <a:gd name="T92" fmla="*/ 117117 w 204"/>
              <a:gd name="T93" fmla="*/ 24077 h 234"/>
              <a:gd name="T94" fmla="*/ 117117 w 204"/>
              <a:gd name="T95" fmla="*/ 29633 h 234"/>
              <a:gd name="T96" fmla="*/ 117117 w 204"/>
              <a:gd name="T97" fmla="*/ 35807 h 23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204"/>
              <a:gd name="T148" fmla="*/ 0 h 234"/>
              <a:gd name="T149" fmla="*/ 204 w 204"/>
              <a:gd name="T150" fmla="*/ 234 h 234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204" h="234">
                <a:moveTo>
                  <a:pt x="175" y="78"/>
                </a:moveTo>
                <a:lnTo>
                  <a:pt x="165" y="97"/>
                </a:lnTo>
                <a:lnTo>
                  <a:pt x="175" y="126"/>
                </a:lnTo>
                <a:lnTo>
                  <a:pt x="195" y="136"/>
                </a:lnTo>
                <a:lnTo>
                  <a:pt x="195" y="146"/>
                </a:lnTo>
                <a:lnTo>
                  <a:pt x="195" y="156"/>
                </a:lnTo>
                <a:lnTo>
                  <a:pt x="204" y="175"/>
                </a:lnTo>
                <a:lnTo>
                  <a:pt x="185" y="185"/>
                </a:lnTo>
                <a:lnTo>
                  <a:pt x="165" y="195"/>
                </a:lnTo>
                <a:lnTo>
                  <a:pt x="146" y="195"/>
                </a:lnTo>
                <a:lnTo>
                  <a:pt x="146" y="204"/>
                </a:lnTo>
                <a:lnTo>
                  <a:pt x="156" y="214"/>
                </a:lnTo>
                <a:lnTo>
                  <a:pt x="146" y="224"/>
                </a:lnTo>
                <a:lnTo>
                  <a:pt x="136" y="234"/>
                </a:lnTo>
                <a:lnTo>
                  <a:pt x="117" y="234"/>
                </a:lnTo>
                <a:lnTo>
                  <a:pt x="97" y="234"/>
                </a:lnTo>
                <a:lnTo>
                  <a:pt x="78" y="224"/>
                </a:lnTo>
                <a:lnTo>
                  <a:pt x="87" y="204"/>
                </a:lnTo>
                <a:lnTo>
                  <a:pt x="78" y="224"/>
                </a:lnTo>
                <a:lnTo>
                  <a:pt x="87" y="204"/>
                </a:lnTo>
                <a:lnTo>
                  <a:pt x="78" y="175"/>
                </a:lnTo>
                <a:lnTo>
                  <a:pt x="68" y="156"/>
                </a:lnTo>
                <a:lnTo>
                  <a:pt x="68" y="126"/>
                </a:lnTo>
                <a:lnTo>
                  <a:pt x="48" y="117"/>
                </a:lnTo>
                <a:lnTo>
                  <a:pt x="29" y="107"/>
                </a:lnTo>
                <a:lnTo>
                  <a:pt x="39" y="97"/>
                </a:lnTo>
                <a:lnTo>
                  <a:pt x="48" y="87"/>
                </a:lnTo>
                <a:lnTo>
                  <a:pt x="29" y="78"/>
                </a:lnTo>
                <a:lnTo>
                  <a:pt x="9" y="68"/>
                </a:lnTo>
                <a:lnTo>
                  <a:pt x="9" y="58"/>
                </a:lnTo>
                <a:lnTo>
                  <a:pt x="0" y="48"/>
                </a:lnTo>
                <a:lnTo>
                  <a:pt x="0" y="39"/>
                </a:lnTo>
                <a:lnTo>
                  <a:pt x="19" y="39"/>
                </a:lnTo>
                <a:lnTo>
                  <a:pt x="29" y="39"/>
                </a:lnTo>
                <a:lnTo>
                  <a:pt x="48" y="39"/>
                </a:lnTo>
                <a:lnTo>
                  <a:pt x="48" y="29"/>
                </a:lnTo>
                <a:lnTo>
                  <a:pt x="48" y="19"/>
                </a:lnTo>
                <a:lnTo>
                  <a:pt x="48" y="9"/>
                </a:lnTo>
                <a:lnTo>
                  <a:pt x="58" y="9"/>
                </a:lnTo>
                <a:lnTo>
                  <a:pt x="78" y="29"/>
                </a:lnTo>
                <a:lnTo>
                  <a:pt x="97" y="29"/>
                </a:lnTo>
                <a:lnTo>
                  <a:pt x="97" y="9"/>
                </a:lnTo>
                <a:lnTo>
                  <a:pt x="107" y="0"/>
                </a:lnTo>
                <a:lnTo>
                  <a:pt x="156" y="29"/>
                </a:lnTo>
                <a:lnTo>
                  <a:pt x="156" y="39"/>
                </a:lnTo>
                <a:lnTo>
                  <a:pt x="175" y="39"/>
                </a:lnTo>
                <a:lnTo>
                  <a:pt x="175" y="48"/>
                </a:lnTo>
                <a:lnTo>
                  <a:pt x="175" y="58"/>
                </a:lnTo>
              </a:path>
            </a:pathLst>
          </a:custGeom>
          <a:noFill/>
          <a:ln w="6350" cap="rnd">
            <a:solidFill>
              <a:srgbClr val="7F7E61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80" name="Freeform 359"/>
          <p:cNvSpPr>
            <a:spLocks noChangeAspect="1"/>
          </p:cNvSpPr>
          <p:nvPr>
            <p:custDataLst>
              <p:tags r:id="rId46"/>
            </p:custDataLst>
          </p:nvPr>
        </p:nvSpPr>
        <p:spPr bwMode="auto">
          <a:xfrm>
            <a:off x="2651125" y="4008438"/>
            <a:ext cx="136525" cy="131762"/>
          </a:xfrm>
          <a:custGeom>
            <a:avLst/>
            <a:gdLst>
              <a:gd name="T0" fmla="*/ 91239 w 205"/>
              <a:gd name="T1" fmla="*/ 125606 h 214"/>
              <a:gd name="T2" fmla="*/ 77919 w 205"/>
              <a:gd name="T3" fmla="*/ 125606 h 214"/>
              <a:gd name="T4" fmla="*/ 58606 w 205"/>
              <a:gd name="T5" fmla="*/ 125606 h 214"/>
              <a:gd name="T6" fmla="*/ 51946 w 205"/>
              <a:gd name="T7" fmla="*/ 131763 h 214"/>
              <a:gd name="T8" fmla="*/ 45952 w 205"/>
              <a:gd name="T9" fmla="*/ 131763 h 214"/>
              <a:gd name="T10" fmla="*/ 32633 w 205"/>
              <a:gd name="T11" fmla="*/ 125606 h 214"/>
              <a:gd name="T12" fmla="*/ 32633 w 205"/>
              <a:gd name="T13" fmla="*/ 120064 h 214"/>
              <a:gd name="T14" fmla="*/ 25973 w 205"/>
              <a:gd name="T15" fmla="*/ 107750 h 214"/>
              <a:gd name="T16" fmla="*/ 19979 w 205"/>
              <a:gd name="T17" fmla="*/ 96052 h 214"/>
              <a:gd name="T18" fmla="*/ 19979 w 205"/>
              <a:gd name="T19" fmla="*/ 89894 h 214"/>
              <a:gd name="T20" fmla="*/ 19979 w 205"/>
              <a:gd name="T21" fmla="*/ 83737 h 214"/>
              <a:gd name="T22" fmla="*/ 6660 w 205"/>
              <a:gd name="T23" fmla="*/ 72039 h 214"/>
              <a:gd name="T24" fmla="*/ 0 w 205"/>
              <a:gd name="T25" fmla="*/ 59724 h 214"/>
              <a:gd name="T26" fmla="*/ 6660 w 205"/>
              <a:gd name="T27" fmla="*/ 48026 h 214"/>
              <a:gd name="T28" fmla="*/ 6660 w 205"/>
              <a:gd name="T29" fmla="*/ 35711 h 214"/>
              <a:gd name="T30" fmla="*/ 6660 w 205"/>
              <a:gd name="T31" fmla="*/ 29554 h 214"/>
              <a:gd name="T32" fmla="*/ 6660 w 205"/>
              <a:gd name="T33" fmla="*/ 24013 h 214"/>
              <a:gd name="T34" fmla="*/ 13320 w 205"/>
              <a:gd name="T35" fmla="*/ 24013 h 214"/>
              <a:gd name="T36" fmla="*/ 19979 w 205"/>
              <a:gd name="T37" fmla="*/ 17856 h 214"/>
              <a:gd name="T38" fmla="*/ 32633 w 205"/>
              <a:gd name="T39" fmla="*/ 17856 h 214"/>
              <a:gd name="T40" fmla="*/ 45952 w 205"/>
              <a:gd name="T41" fmla="*/ 17856 h 214"/>
              <a:gd name="T42" fmla="*/ 45952 w 205"/>
              <a:gd name="T43" fmla="*/ 5541 h 214"/>
              <a:gd name="T44" fmla="*/ 51946 w 205"/>
              <a:gd name="T45" fmla="*/ 0 h 214"/>
              <a:gd name="T46" fmla="*/ 51946 w 205"/>
              <a:gd name="T47" fmla="*/ 5541 h 214"/>
              <a:gd name="T48" fmla="*/ 65266 w 205"/>
              <a:gd name="T49" fmla="*/ 17856 h 214"/>
              <a:gd name="T50" fmla="*/ 71925 w 205"/>
              <a:gd name="T51" fmla="*/ 24013 h 214"/>
              <a:gd name="T52" fmla="*/ 91239 w 205"/>
              <a:gd name="T53" fmla="*/ 24013 h 214"/>
              <a:gd name="T54" fmla="*/ 110552 w 205"/>
              <a:gd name="T55" fmla="*/ 24013 h 214"/>
              <a:gd name="T56" fmla="*/ 117212 w 205"/>
              <a:gd name="T57" fmla="*/ 24013 h 214"/>
              <a:gd name="T58" fmla="*/ 117212 w 205"/>
              <a:gd name="T59" fmla="*/ 29554 h 214"/>
              <a:gd name="T60" fmla="*/ 117212 w 205"/>
              <a:gd name="T61" fmla="*/ 35711 h 214"/>
              <a:gd name="T62" fmla="*/ 129865 w 205"/>
              <a:gd name="T63" fmla="*/ 35711 h 214"/>
              <a:gd name="T64" fmla="*/ 136525 w 205"/>
              <a:gd name="T65" fmla="*/ 35711 h 214"/>
              <a:gd name="T66" fmla="*/ 129865 w 205"/>
              <a:gd name="T67" fmla="*/ 41869 h 214"/>
              <a:gd name="T68" fmla="*/ 136525 w 205"/>
              <a:gd name="T69" fmla="*/ 53567 h 214"/>
              <a:gd name="T70" fmla="*/ 129865 w 205"/>
              <a:gd name="T71" fmla="*/ 59724 h 214"/>
              <a:gd name="T72" fmla="*/ 123871 w 205"/>
              <a:gd name="T73" fmla="*/ 65882 h 214"/>
              <a:gd name="T74" fmla="*/ 123871 w 205"/>
              <a:gd name="T75" fmla="*/ 72039 h 214"/>
              <a:gd name="T76" fmla="*/ 123871 w 205"/>
              <a:gd name="T77" fmla="*/ 83737 h 214"/>
              <a:gd name="T78" fmla="*/ 123871 w 205"/>
              <a:gd name="T79" fmla="*/ 89894 h 214"/>
              <a:gd name="T80" fmla="*/ 117212 w 205"/>
              <a:gd name="T81" fmla="*/ 96052 h 214"/>
              <a:gd name="T82" fmla="*/ 103892 w 205"/>
              <a:gd name="T83" fmla="*/ 107750 h 214"/>
              <a:gd name="T84" fmla="*/ 91239 w 205"/>
              <a:gd name="T85" fmla="*/ 125606 h 214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05"/>
              <a:gd name="T130" fmla="*/ 0 h 214"/>
              <a:gd name="T131" fmla="*/ 205 w 205"/>
              <a:gd name="T132" fmla="*/ 214 h 214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05" h="214">
                <a:moveTo>
                  <a:pt x="137" y="204"/>
                </a:moveTo>
                <a:lnTo>
                  <a:pt x="117" y="204"/>
                </a:lnTo>
                <a:lnTo>
                  <a:pt x="88" y="204"/>
                </a:lnTo>
                <a:lnTo>
                  <a:pt x="78" y="214"/>
                </a:lnTo>
                <a:lnTo>
                  <a:pt x="69" y="214"/>
                </a:lnTo>
                <a:lnTo>
                  <a:pt x="49" y="204"/>
                </a:lnTo>
                <a:lnTo>
                  <a:pt x="49" y="195"/>
                </a:lnTo>
                <a:lnTo>
                  <a:pt x="39" y="175"/>
                </a:lnTo>
                <a:lnTo>
                  <a:pt x="30" y="156"/>
                </a:lnTo>
                <a:lnTo>
                  <a:pt x="30" y="146"/>
                </a:lnTo>
                <a:lnTo>
                  <a:pt x="30" y="136"/>
                </a:lnTo>
                <a:lnTo>
                  <a:pt x="10" y="117"/>
                </a:lnTo>
                <a:lnTo>
                  <a:pt x="0" y="97"/>
                </a:lnTo>
                <a:lnTo>
                  <a:pt x="10" y="78"/>
                </a:lnTo>
                <a:lnTo>
                  <a:pt x="10" y="58"/>
                </a:lnTo>
                <a:lnTo>
                  <a:pt x="10" y="48"/>
                </a:lnTo>
                <a:lnTo>
                  <a:pt x="10" y="39"/>
                </a:lnTo>
                <a:lnTo>
                  <a:pt x="20" y="39"/>
                </a:lnTo>
                <a:lnTo>
                  <a:pt x="30" y="29"/>
                </a:lnTo>
                <a:lnTo>
                  <a:pt x="49" y="29"/>
                </a:lnTo>
                <a:lnTo>
                  <a:pt x="69" y="29"/>
                </a:lnTo>
                <a:lnTo>
                  <a:pt x="69" y="9"/>
                </a:lnTo>
                <a:lnTo>
                  <a:pt x="78" y="0"/>
                </a:lnTo>
                <a:lnTo>
                  <a:pt x="78" y="9"/>
                </a:lnTo>
                <a:lnTo>
                  <a:pt x="98" y="29"/>
                </a:lnTo>
                <a:lnTo>
                  <a:pt x="108" y="39"/>
                </a:lnTo>
                <a:lnTo>
                  <a:pt x="137" y="39"/>
                </a:lnTo>
                <a:lnTo>
                  <a:pt x="166" y="39"/>
                </a:lnTo>
                <a:lnTo>
                  <a:pt x="176" y="39"/>
                </a:lnTo>
                <a:lnTo>
                  <a:pt x="176" y="48"/>
                </a:lnTo>
                <a:lnTo>
                  <a:pt x="176" y="58"/>
                </a:lnTo>
                <a:lnTo>
                  <a:pt x="195" y="58"/>
                </a:lnTo>
                <a:lnTo>
                  <a:pt x="205" y="58"/>
                </a:lnTo>
                <a:lnTo>
                  <a:pt x="195" y="68"/>
                </a:lnTo>
                <a:lnTo>
                  <a:pt x="205" y="87"/>
                </a:lnTo>
                <a:lnTo>
                  <a:pt x="195" y="97"/>
                </a:lnTo>
                <a:lnTo>
                  <a:pt x="186" y="107"/>
                </a:lnTo>
                <a:lnTo>
                  <a:pt x="186" y="117"/>
                </a:lnTo>
                <a:lnTo>
                  <a:pt x="186" y="136"/>
                </a:lnTo>
                <a:lnTo>
                  <a:pt x="186" y="146"/>
                </a:lnTo>
                <a:lnTo>
                  <a:pt x="176" y="156"/>
                </a:lnTo>
                <a:lnTo>
                  <a:pt x="156" y="175"/>
                </a:lnTo>
                <a:lnTo>
                  <a:pt x="137" y="204"/>
                </a:lnTo>
                <a:close/>
              </a:path>
            </a:pathLst>
          </a:custGeom>
          <a:solidFill>
            <a:srgbClr val="CCECFF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81" name="Freeform 358"/>
          <p:cNvSpPr>
            <a:spLocks noChangeAspect="1"/>
          </p:cNvSpPr>
          <p:nvPr>
            <p:custDataLst>
              <p:tags r:id="rId47"/>
            </p:custDataLst>
          </p:nvPr>
        </p:nvSpPr>
        <p:spPr bwMode="auto">
          <a:xfrm>
            <a:off x="2743200" y="4079875"/>
            <a:ext cx="182563" cy="152400"/>
          </a:xfrm>
          <a:custGeom>
            <a:avLst/>
            <a:gdLst>
              <a:gd name="T0" fmla="*/ 26080 w 273"/>
              <a:gd name="T1" fmla="*/ 97436 h 244"/>
              <a:gd name="T2" fmla="*/ 26080 w 273"/>
              <a:gd name="T3" fmla="*/ 103057 h 244"/>
              <a:gd name="T4" fmla="*/ 32768 w 273"/>
              <a:gd name="T5" fmla="*/ 103057 h 244"/>
              <a:gd name="T6" fmla="*/ 45474 w 273"/>
              <a:gd name="T7" fmla="*/ 103057 h 244"/>
              <a:gd name="T8" fmla="*/ 52161 w 273"/>
              <a:gd name="T9" fmla="*/ 103057 h 244"/>
              <a:gd name="T10" fmla="*/ 52161 w 273"/>
              <a:gd name="T11" fmla="*/ 115549 h 244"/>
              <a:gd name="T12" fmla="*/ 52161 w 273"/>
              <a:gd name="T13" fmla="*/ 121795 h 244"/>
              <a:gd name="T14" fmla="*/ 58848 w 273"/>
              <a:gd name="T15" fmla="*/ 133662 h 244"/>
              <a:gd name="T16" fmla="*/ 64867 w 273"/>
              <a:gd name="T17" fmla="*/ 133662 h 244"/>
              <a:gd name="T18" fmla="*/ 78241 w 273"/>
              <a:gd name="T19" fmla="*/ 128041 h 244"/>
              <a:gd name="T20" fmla="*/ 91616 w 273"/>
              <a:gd name="T21" fmla="*/ 128041 h 244"/>
              <a:gd name="T22" fmla="*/ 111009 w 273"/>
              <a:gd name="T23" fmla="*/ 146154 h 244"/>
              <a:gd name="T24" fmla="*/ 123715 w 273"/>
              <a:gd name="T25" fmla="*/ 152400 h 244"/>
              <a:gd name="T26" fmla="*/ 123715 w 273"/>
              <a:gd name="T27" fmla="*/ 146154 h 244"/>
              <a:gd name="T28" fmla="*/ 130402 w 273"/>
              <a:gd name="T29" fmla="*/ 139908 h 244"/>
              <a:gd name="T30" fmla="*/ 130402 w 273"/>
              <a:gd name="T31" fmla="*/ 139908 h 244"/>
              <a:gd name="T32" fmla="*/ 130402 w 273"/>
              <a:gd name="T33" fmla="*/ 146154 h 244"/>
              <a:gd name="T34" fmla="*/ 143777 w 273"/>
              <a:gd name="T35" fmla="*/ 139908 h 244"/>
              <a:gd name="T36" fmla="*/ 137089 w 273"/>
              <a:gd name="T37" fmla="*/ 133662 h 244"/>
              <a:gd name="T38" fmla="*/ 137089 w 273"/>
              <a:gd name="T39" fmla="*/ 128041 h 244"/>
              <a:gd name="T40" fmla="*/ 143777 w 273"/>
              <a:gd name="T41" fmla="*/ 128041 h 244"/>
              <a:gd name="T42" fmla="*/ 156483 w 273"/>
              <a:gd name="T43" fmla="*/ 133662 h 244"/>
              <a:gd name="T44" fmla="*/ 163170 w 273"/>
              <a:gd name="T45" fmla="*/ 133662 h 244"/>
              <a:gd name="T46" fmla="*/ 163170 w 273"/>
              <a:gd name="T47" fmla="*/ 128041 h 244"/>
              <a:gd name="T48" fmla="*/ 175876 w 273"/>
              <a:gd name="T49" fmla="*/ 121795 h 244"/>
              <a:gd name="T50" fmla="*/ 169857 w 273"/>
              <a:gd name="T51" fmla="*/ 109303 h 244"/>
              <a:gd name="T52" fmla="*/ 175876 w 273"/>
              <a:gd name="T53" fmla="*/ 109303 h 244"/>
              <a:gd name="T54" fmla="*/ 182563 w 273"/>
              <a:gd name="T55" fmla="*/ 109303 h 244"/>
              <a:gd name="T56" fmla="*/ 182563 w 273"/>
              <a:gd name="T57" fmla="*/ 97436 h 244"/>
              <a:gd name="T58" fmla="*/ 175876 w 273"/>
              <a:gd name="T59" fmla="*/ 91190 h 244"/>
              <a:gd name="T60" fmla="*/ 175876 w 273"/>
              <a:gd name="T61" fmla="*/ 78698 h 244"/>
              <a:gd name="T62" fmla="*/ 175876 w 273"/>
              <a:gd name="T63" fmla="*/ 60585 h 244"/>
              <a:gd name="T64" fmla="*/ 175876 w 273"/>
              <a:gd name="T65" fmla="*/ 48718 h 244"/>
              <a:gd name="T66" fmla="*/ 163170 w 273"/>
              <a:gd name="T67" fmla="*/ 48718 h 244"/>
              <a:gd name="T68" fmla="*/ 163170 w 273"/>
              <a:gd name="T69" fmla="*/ 42472 h 244"/>
              <a:gd name="T70" fmla="*/ 156483 w 273"/>
              <a:gd name="T71" fmla="*/ 36226 h 244"/>
              <a:gd name="T72" fmla="*/ 149795 w 273"/>
              <a:gd name="T73" fmla="*/ 36226 h 244"/>
              <a:gd name="T74" fmla="*/ 149795 w 273"/>
              <a:gd name="T75" fmla="*/ 24359 h 244"/>
              <a:gd name="T76" fmla="*/ 143777 w 273"/>
              <a:gd name="T77" fmla="*/ 18113 h 244"/>
              <a:gd name="T78" fmla="*/ 130402 w 273"/>
              <a:gd name="T79" fmla="*/ 11867 h 244"/>
              <a:gd name="T80" fmla="*/ 117696 w 273"/>
              <a:gd name="T81" fmla="*/ 11867 h 244"/>
              <a:gd name="T82" fmla="*/ 104322 w 273"/>
              <a:gd name="T83" fmla="*/ 11867 h 244"/>
              <a:gd name="T84" fmla="*/ 84929 w 273"/>
              <a:gd name="T85" fmla="*/ 5621 h 244"/>
              <a:gd name="T86" fmla="*/ 71554 w 273"/>
              <a:gd name="T87" fmla="*/ 5621 h 244"/>
              <a:gd name="T88" fmla="*/ 71554 w 273"/>
              <a:gd name="T89" fmla="*/ 5621 h 244"/>
              <a:gd name="T90" fmla="*/ 64867 w 273"/>
              <a:gd name="T91" fmla="*/ 0 h 244"/>
              <a:gd name="T92" fmla="*/ 52161 w 273"/>
              <a:gd name="T93" fmla="*/ 0 h 244"/>
              <a:gd name="T94" fmla="*/ 52161 w 273"/>
              <a:gd name="T95" fmla="*/ 5621 h 244"/>
              <a:gd name="T96" fmla="*/ 45474 w 273"/>
              <a:gd name="T97" fmla="*/ 11867 h 244"/>
              <a:gd name="T98" fmla="*/ 38786 w 273"/>
              <a:gd name="T99" fmla="*/ 5621 h 244"/>
              <a:gd name="T100" fmla="*/ 32768 w 273"/>
              <a:gd name="T101" fmla="*/ 11867 h 244"/>
              <a:gd name="T102" fmla="*/ 32768 w 273"/>
              <a:gd name="T103" fmla="*/ 18113 h 244"/>
              <a:gd name="T104" fmla="*/ 26080 w 273"/>
              <a:gd name="T105" fmla="*/ 24359 h 244"/>
              <a:gd name="T106" fmla="*/ 12706 w 273"/>
              <a:gd name="T107" fmla="*/ 36226 h 244"/>
              <a:gd name="T108" fmla="*/ 0 w 273"/>
              <a:gd name="T109" fmla="*/ 54339 h 244"/>
              <a:gd name="T110" fmla="*/ 6687 w 273"/>
              <a:gd name="T111" fmla="*/ 60585 h 244"/>
              <a:gd name="T112" fmla="*/ 0 w 273"/>
              <a:gd name="T113" fmla="*/ 73077 h 244"/>
              <a:gd name="T114" fmla="*/ 6687 w 273"/>
              <a:gd name="T115" fmla="*/ 78698 h 244"/>
              <a:gd name="T116" fmla="*/ 12706 w 273"/>
              <a:gd name="T117" fmla="*/ 78698 h 244"/>
              <a:gd name="T118" fmla="*/ 26080 w 273"/>
              <a:gd name="T119" fmla="*/ 78698 h 244"/>
              <a:gd name="T120" fmla="*/ 32768 w 273"/>
              <a:gd name="T121" fmla="*/ 84944 h 244"/>
              <a:gd name="T122" fmla="*/ 19393 w 273"/>
              <a:gd name="T123" fmla="*/ 91190 h 244"/>
              <a:gd name="T124" fmla="*/ 26080 w 273"/>
              <a:gd name="T125" fmla="*/ 97436 h 244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273"/>
              <a:gd name="T190" fmla="*/ 0 h 244"/>
              <a:gd name="T191" fmla="*/ 273 w 273"/>
              <a:gd name="T192" fmla="*/ 244 h 244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273" h="244">
                <a:moveTo>
                  <a:pt x="39" y="156"/>
                </a:moveTo>
                <a:lnTo>
                  <a:pt x="39" y="165"/>
                </a:lnTo>
                <a:lnTo>
                  <a:pt x="49" y="165"/>
                </a:lnTo>
                <a:lnTo>
                  <a:pt x="68" y="165"/>
                </a:lnTo>
                <a:lnTo>
                  <a:pt x="78" y="165"/>
                </a:lnTo>
                <a:lnTo>
                  <a:pt x="78" y="185"/>
                </a:lnTo>
                <a:lnTo>
                  <a:pt x="78" y="195"/>
                </a:lnTo>
                <a:lnTo>
                  <a:pt x="88" y="214"/>
                </a:lnTo>
                <a:lnTo>
                  <a:pt x="97" y="214"/>
                </a:lnTo>
                <a:lnTo>
                  <a:pt x="117" y="205"/>
                </a:lnTo>
                <a:lnTo>
                  <a:pt x="137" y="205"/>
                </a:lnTo>
                <a:lnTo>
                  <a:pt x="166" y="234"/>
                </a:lnTo>
                <a:lnTo>
                  <a:pt x="185" y="244"/>
                </a:lnTo>
                <a:lnTo>
                  <a:pt x="185" y="234"/>
                </a:lnTo>
                <a:lnTo>
                  <a:pt x="195" y="224"/>
                </a:lnTo>
                <a:lnTo>
                  <a:pt x="195" y="234"/>
                </a:lnTo>
                <a:lnTo>
                  <a:pt x="215" y="224"/>
                </a:lnTo>
                <a:lnTo>
                  <a:pt x="205" y="214"/>
                </a:lnTo>
                <a:lnTo>
                  <a:pt x="205" y="205"/>
                </a:lnTo>
                <a:lnTo>
                  <a:pt x="215" y="205"/>
                </a:lnTo>
                <a:lnTo>
                  <a:pt x="234" y="214"/>
                </a:lnTo>
                <a:lnTo>
                  <a:pt x="244" y="214"/>
                </a:lnTo>
                <a:lnTo>
                  <a:pt x="244" y="205"/>
                </a:lnTo>
                <a:lnTo>
                  <a:pt x="263" y="195"/>
                </a:lnTo>
                <a:lnTo>
                  <a:pt x="254" y="175"/>
                </a:lnTo>
                <a:lnTo>
                  <a:pt x="263" y="175"/>
                </a:lnTo>
                <a:lnTo>
                  <a:pt x="273" y="175"/>
                </a:lnTo>
                <a:lnTo>
                  <a:pt x="273" y="156"/>
                </a:lnTo>
                <a:lnTo>
                  <a:pt x="263" y="146"/>
                </a:lnTo>
                <a:lnTo>
                  <a:pt x="263" y="126"/>
                </a:lnTo>
                <a:lnTo>
                  <a:pt x="263" y="97"/>
                </a:lnTo>
                <a:lnTo>
                  <a:pt x="263" y="78"/>
                </a:lnTo>
                <a:lnTo>
                  <a:pt x="244" y="78"/>
                </a:lnTo>
                <a:lnTo>
                  <a:pt x="244" y="68"/>
                </a:lnTo>
                <a:lnTo>
                  <a:pt x="234" y="58"/>
                </a:lnTo>
                <a:lnTo>
                  <a:pt x="224" y="58"/>
                </a:lnTo>
                <a:lnTo>
                  <a:pt x="224" y="39"/>
                </a:lnTo>
                <a:lnTo>
                  <a:pt x="215" y="29"/>
                </a:lnTo>
                <a:lnTo>
                  <a:pt x="195" y="19"/>
                </a:lnTo>
                <a:lnTo>
                  <a:pt x="176" y="19"/>
                </a:lnTo>
                <a:lnTo>
                  <a:pt x="156" y="19"/>
                </a:lnTo>
                <a:lnTo>
                  <a:pt x="127" y="9"/>
                </a:lnTo>
                <a:lnTo>
                  <a:pt x="107" y="9"/>
                </a:lnTo>
                <a:lnTo>
                  <a:pt x="97" y="0"/>
                </a:lnTo>
                <a:lnTo>
                  <a:pt x="78" y="0"/>
                </a:lnTo>
                <a:lnTo>
                  <a:pt x="78" y="9"/>
                </a:lnTo>
                <a:lnTo>
                  <a:pt x="68" y="19"/>
                </a:lnTo>
                <a:lnTo>
                  <a:pt x="58" y="9"/>
                </a:lnTo>
                <a:lnTo>
                  <a:pt x="49" y="19"/>
                </a:lnTo>
                <a:lnTo>
                  <a:pt x="49" y="29"/>
                </a:lnTo>
                <a:lnTo>
                  <a:pt x="39" y="39"/>
                </a:lnTo>
                <a:lnTo>
                  <a:pt x="19" y="58"/>
                </a:lnTo>
                <a:lnTo>
                  <a:pt x="0" y="87"/>
                </a:lnTo>
                <a:lnTo>
                  <a:pt x="10" y="97"/>
                </a:lnTo>
                <a:lnTo>
                  <a:pt x="0" y="117"/>
                </a:lnTo>
                <a:lnTo>
                  <a:pt x="10" y="126"/>
                </a:lnTo>
                <a:lnTo>
                  <a:pt x="19" y="126"/>
                </a:lnTo>
                <a:lnTo>
                  <a:pt x="39" y="126"/>
                </a:lnTo>
                <a:lnTo>
                  <a:pt x="49" y="136"/>
                </a:lnTo>
                <a:lnTo>
                  <a:pt x="29" y="146"/>
                </a:lnTo>
                <a:lnTo>
                  <a:pt x="39" y="156"/>
                </a:lnTo>
                <a:close/>
              </a:path>
            </a:pathLst>
          </a:custGeom>
          <a:solidFill>
            <a:srgbClr val="CCECFF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82" name="Freeform 357"/>
          <p:cNvSpPr>
            <a:spLocks noChangeAspect="1"/>
          </p:cNvSpPr>
          <p:nvPr>
            <p:custDataLst>
              <p:tags r:id="rId48"/>
            </p:custDataLst>
          </p:nvPr>
        </p:nvSpPr>
        <p:spPr bwMode="auto">
          <a:xfrm>
            <a:off x="2605088" y="4116388"/>
            <a:ext cx="169862" cy="146050"/>
          </a:xfrm>
          <a:custGeom>
            <a:avLst/>
            <a:gdLst>
              <a:gd name="T0" fmla="*/ 84931 w 254"/>
              <a:gd name="T1" fmla="*/ 146050 h 234"/>
              <a:gd name="T2" fmla="*/ 111012 w 254"/>
              <a:gd name="T3" fmla="*/ 134191 h 234"/>
              <a:gd name="T4" fmla="*/ 111012 w 254"/>
              <a:gd name="T5" fmla="*/ 97367 h 234"/>
              <a:gd name="T6" fmla="*/ 111012 w 254"/>
              <a:gd name="T7" fmla="*/ 91749 h 234"/>
              <a:gd name="T8" fmla="*/ 123718 w 254"/>
              <a:gd name="T9" fmla="*/ 85508 h 234"/>
              <a:gd name="T10" fmla="*/ 143781 w 254"/>
              <a:gd name="T11" fmla="*/ 73025 h 234"/>
              <a:gd name="T12" fmla="*/ 163175 w 254"/>
              <a:gd name="T13" fmla="*/ 61166 h 234"/>
              <a:gd name="T14" fmla="*/ 156487 w 254"/>
              <a:gd name="T15" fmla="*/ 54925 h 234"/>
              <a:gd name="T16" fmla="*/ 169862 w 254"/>
              <a:gd name="T17" fmla="*/ 48683 h 234"/>
              <a:gd name="T18" fmla="*/ 163175 w 254"/>
              <a:gd name="T19" fmla="*/ 42442 h 234"/>
              <a:gd name="T20" fmla="*/ 149800 w 254"/>
              <a:gd name="T21" fmla="*/ 42442 h 234"/>
              <a:gd name="T22" fmla="*/ 143781 w 254"/>
              <a:gd name="T23" fmla="*/ 42442 h 234"/>
              <a:gd name="T24" fmla="*/ 143781 w 254"/>
              <a:gd name="T25" fmla="*/ 36825 h 234"/>
              <a:gd name="T26" fmla="*/ 143781 w 254"/>
              <a:gd name="T27" fmla="*/ 24342 h 234"/>
              <a:gd name="T28" fmla="*/ 137093 w 254"/>
              <a:gd name="T29" fmla="*/ 18100 h 234"/>
              <a:gd name="T30" fmla="*/ 123718 w 254"/>
              <a:gd name="T31" fmla="*/ 18100 h 234"/>
              <a:gd name="T32" fmla="*/ 111012 w 254"/>
              <a:gd name="T33" fmla="*/ 18100 h 234"/>
              <a:gd name="T34" fmla="*/ 104325 w 254"/>
              <a:gd name="T35" fmla="*/ 30583 h 234"/>
              <a:gd name="T36" fmla="*/ 91618 w 254"/>
              <a:gd name="T37" fmla="*/ 24342 h 234"/>
              <a:gd name="T38" fmla="*/ 78244 w 254"/>
              <a:gd name="T39" fmla="*/ 18100 h 234"/>
              <a:gd name="T40" fmla="*/ 84931 w 254"/>
              <a:gd name="T41" fmla="*/ 12483 h 234"/>
              <a:gd name="T42" fmla="*/ 71556 w 254"/>
              <a:gd name="T43" fmla="*/ 0 h 234"/>
              <a:gd name="T44" fmla="*/ 58850 w 254"/>
              <a:gd name="T45" fmla="*/ 6241 h 234"/>
              <a:gd name="T46" fmla="*/ 52162 w 254"/>
              <a:gd name="T47" fmla="*/ 12483 h 234"/>
              <a:gd name="T48" fmla="*/ 39456 w 254"/>
              <a:gd name="T49" fmla="*/ 12483 h 234"/>
              <a:gd name="T50" fmla="*/ 32769 w 254"/>
              <a:gd name="T51" fmla="*/ 18100 h 234"/>
              <a:gd name="T52" fmla="*/ 39456 w 254"/>
              <a:gd name="T53" fmla="*/ 24342 h 234"/>
              <a:gd name="T54" fmla="*/ 32769 w 254"/>
              <a:gd name="T55" fmla="*/ 30583 h 234"/>
              <a:gd name="T56" fmla="*/ 26081 w 254"/>
              <a:gd name="T57" fmla="*/ 36825 h 234"/>
              <a:gd name="T58" fmla="*/ 13375 w 254"/>
              <a:gd name="T59" fmla="*/ 36825 h 234"/>
              <a:gd name="T60" fmla="*/ 6687 w 254"/>
              <a:gd name="T61" fmla="*/ 42442 h 234"/>
              <a:gd name="T62" fmla="*/ 0 w 254"/>
              <a:gd name="T63" fmla="*/ 48683 h 234"/>
              <a:gd name="T64" fmla="*/ 6687 w 254"/>
              <a:gd name="T65" fmla="*/ 54925 h 234"/>
              <a:gd name="T66" fmla="*/ 19394 w 254"/>
              <a:gd name="T67" fmla="*/ 54925 h 234"/>
              <a:gd name="T68" fmla="*/ 19394 w 254"/>
              <a:gd name="T69" fmla="*/ 61166 h 234"/>
              <a:gd name="T70" fmla="*/ 26081 w 254"/>
              <a:gd name="T71" fmla="*/ 66784 h 234"/>
              <a:gd name="T72" fmla="*/ 26081 w 254"/>
              <a:gd name="T73" fmla="*/ 66784 h 234"/>
              <a:gd name="T74" fmla="*/ 39456 w 254"/>
              <a:gd name="T75" fmla="*/ 66784 h 234"/>
              <a:gd name="T76" fmla="*/ 32769 w 254"/>
              <a:gd name="T77" fmla="*/ 79266 h 234"/>
              <a:gd name="T78" fmla="*/ 39456 w 254"/>
              <a:gd name="T79" fmla="*/ 85508 h 234"/>
              <a:gd name="T80" fmla="*/ 52162 w 254"/>
              <a:gd name="T81" fmla="*/ 85508 h 234"/>
              <a:gd name="T82" fmla="*/ 52162 w 254"/>
              <a:gd name="T83" fmla="*/ 97367 h 234"/>
              <a:gd name="T84" fmla="*/ 58850 w 254"/>
              <a:gd name="T85" fmla="*/ 97367 h 234"/>
              <a:gd name="T86" fmla="*/ 52162 w 254"/>
              <a:gd name="T87" fmla="*/ 103608 h 234"/>
              <a:gd name="T88" fmla="*/ 52162 w 254"/>
              <a:gd name="T89" fmla="*/ 116091 h 234"/>
              <a:gd name="T90" fmla="*/ 58850 w 254"/>
              <a:gd name="T91" fmla="*/ 121708 h 234"/>
              <a:gd name="T92" fmla="*/ 65537 w 254"/>
              <a:gd name="T93" fmla="*/ 121708 h 234"/>
              <a:gd name="T94" fmla="*/ 71556 w 254"/>
              <a:gd name="T95" fmla="*/ 127950 h 234"/>
              <a:gd name="T96" fmla="*/ 84931 w 254"/>
              <a:gd name="T97" fmla="*/ 146050 h 23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254"/>
              <a:gd name="T148" fmla="*/ 0 h 234"/>
              <a:gd name="T149" fmla="*/ 254 w 254"/>
              <a:gd name="T150" fmla="*/ 234 h 234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254" h="234">
                <a:moveTo>
                  <a:pt x="127" y="234"/>
                </a:moveTo>
                <a:lnTo>
                  <a:pt x="166" y="215"/>
                </a:lnTo>
                <a:lnTo>
                  <a:pt x="166" y="156"/>
                </a:lnTo>
                <a:lnTo>
                  <a:pt x="166" y="147"/>
                </a:lnTo>
                <a:lnTo>
                  <a:pt x="185" y="137"/>
                </a:lnTo>
                <a:lnTo>
                  <a:pt x="215" y="117"/>
                </a:lnTo>
                <a:lnTo>
                  <a:pt x="244" y="98"/>
                </a:lnTo>
                <a:lnTo>
                  <a:pt x="234" y="88"/>
                </a:lnTo>
                <a:lnTo>
                  <a:pt x="254" y="78"/>
                </a:lnTo>
                <a:lnTo>
                  <a:pt x="244" y="68"/>
                </a:lnTo>
                <a:lnTo>
                  <a:pt x="224" y="68"/>
                </a:lnTo>
                <a:lnTo>
                  <a:pt x="215" y="68"/>
                </a:lnTo>
                <a:lnTo>
                  <a:pt x="215" y="59"/>
                </a:lnTo>
                <a:lnTo>
                  <a:pt x="215" y="39"/>
                </a:lnTo>
                <a:lnTo>
                  <a:pt x="205" y="29"/>
                </a:lnTo>
                <a:lnTo>
                  <a:pt x="185" y="29"/>
                </a:lnTo>
                <a:lnTo>
                  <a:pt x="166" y="29"/>
                </a:lnTo>
                <a:lnTo>
                  <a:pt x="156" y="49"/>
                </a:lnTo>
                <a:lnTo>
                  <a:pt x="137" y="39"/>
                </a:lnTo>
                <a:lnTo>
                  <a:pt x="117" y="29"/>
                </a:lnTo>
                <a:lnTo>
                  <a:pt x="127" y="20"/>
                </a:lnTo>
                <a:lnTo>
                  <a:pt x="107" y="0"/>
                </a:lnTo>
                <a:lnTo>
                  <a:pt x="88" y="10"/>
                </a:lnTo>
                <a:lnTo>
                  <a:pt x="78" y="20"/>
                </a:lnTo>
                <a:lnTo>
                  <a:pt x="59" y="20"/>
                </a:lnTo>
                <a:lnTo>
                  <a:pt x="49" y="29"/>
                </a:lnTo>
                <a:lnTo>
                  <a:pt x="59" y="39"/>
                </a:lnTo>
                <a:lnTo>
                  <a:pt x="49" y="49"/>
                </a:lnTo>
                <a:lnTo>
                  <a:pt x="39" y="59"/>
                </a:lnTo>
                <a:lnTo>
                  <a:pt x="20" y="59"/>
                </a:lnTo>
                <a:lnTo>
                  <a:pt x="10" y="68"/>
                </a:lnTo>
                <a:lnTo>
                  <a:pt x="0" y="78"/>
                </a:lnTo>
                <a:lnTo>
                  <a:pt x="10" y="88"/>
                </a:lnTo>
                <a:lnTo>
                  <a:pt x="29" y="88"/>
                </a:lnTo>
                <a:lnTo>
                  <a:pt x="29" y="98"/>
                </a:lnTo>
                <a:lnTo>
                  <a:pt x="39" y="107"/>
                </a:lnTo>
                <a:lnTo>
                  <a:pt x="59" y="107"/>
                </a:lnTo>
                <a:lnTo>
                  <a:pt x="49" y="127"/>
                </a:lnTo>
                <a:lnTo>
                  <a:pt x="59" y="137"/>
                </a:lnTo>
                <a:lnTo>
                  <a:pt x="78" y="137"/>
                </a:lnTo>
                <a:lnTo>
                  <a:pt x="78" y="156"/>
                </a:lnTo>
                <a:lnTo>
                  <a:pt x="88" y="156"/>
                </a:lnTo>
                <a:lnTo>
                  <a:pt x="78" y="166"/>
                </a:lnTo>
                <a:lnTo>
                  <a:pt x="78" y="186"/>
                </a:lnTo>
                <a:lnTo>
                  <a:pt x="88" y="195"/>
                </a:lnTo>
                <a:lnTo>
                  <a:pt x="98" y="195"/>
                </a:lnTo>
                <a:lnTo>
                  <a:pt x="107" y="205"/>
                </a:lnTo>
                <a:lnTo>
                  <a:pt x="127" y="234"/>
                </a:lnTo>
                <a:close/>
              </a:path>
            </a:pathLst>
          </a:custGeom>
          <a:solidFill>
            <a:srgbClr val="CCECFF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83" name="Freeform 356"/>
          <p:cNvSpPr>
            <a:spLocks noChangeAspect="1"/>
          </p:cNvSpPr>
          <p:nvPr>
            <p:custDataLst>
              <p:tags r:id="rId49"/>
            </p:custDataLst>
          </p:nvPr>
        </p:nvSpPr>
        <p:spPr bwMode="auto">
          <a:xfrm>
            <a:off x="2682875" y="4178300"/>
            <a:ext cx="169863" cy="163513"/>
          </a:xfrm>
          <a:custGeom>
            <a:avLst/>
            <a:gdLst>
              <a:gd name="T0" fmla="*/ 6688 w 254"/>
              <a:gd name="T1" fmla="*/ 96988 h 263"/>
              <a:gd name="T2" fmla="*/ 6688 w 254"/>
              <a:gd name="T3" fmla="*/ 96988 h 263"/>
              <a:gd name="T4" fmla="*/ 0 w 254"/>
              <a:gd name="T5" fmla="*/ 108801 h 263"/>
              <a:gd name="T6" fmla="*/ 6688 w 254"/>
              <a:gd name="T7" fmla="*/ 115018 h 263"/>
              <a:gd name="T8" fmla="*/ 19394 w 254"/>
              <a:gd name="T9" fmla="*/ 115018 h 263"/>
              <a:gd name="T10" fmla="*/ 26081 w 254"/>
              <a:gd name="T11" fmla="*/ 115018 h 263"/>
              <a:gd name="T12" fmla="*/ 32769 w 254"/>
              <a:gd name="T13" fmla="*/ 127452 h 263"/>
              <a:gd name="T14" fmla="*/ 32769 w 254"/>
              <a:gd name="T15" fmla="*/ 139265 h 263"/>
              <a:gd name="T16" fmla="*/ 39456 w 254"/>
              <a:gd name="T17" fmla="*/ 145482 h 263"/>
              <a:gd name="T18" fmla="*/ 45475 w 254"/>
              <a:gd name="T19" fmla="*/ 145482 h 263"/>
              <a:gd name="T20" fmla="*/ 52163 w 254"/>
              <a:gd name="T21" fmla="*/ 151699 h 263"/>
              <a:gd name="T22" fmla="*/ 45475 w 254"/>
              <a:gd name="T23" fmla="*/ 151699 h 263"/>
              <a:gd name="T24" fmla="*/ 45475 w 254"/>
              <a:gd name="T25" fmla="*/ 157295 h 263"/>
              <a:gd name="T26" fmla="*/ 52163 w 254"/>
              <a:gd name="T27" fmla="*/ 163512 h 263"/>
              <a:gd name="T28" fmla="*/ 58850 w 254"/>
              <a:gd name="T29" fmla="*/ 163512 h 263"/>
              <a:gd name="T30" fmla="*/ 65538 w 254"/>
              <a:gd name="T31" fmla="*/ 163512 h 263"/>
              <a:gd name="T32" fmla="*/ 78244 w 254"/>
              <a:gd name="T33" fmla="*/ 151699 h 263"/>
              <a:gd name="T34" fmla="*/ 84932 w 254"/>
              <a:gd name="T35" fmla="*/ 151699 h 263"/>
              <a:gd name="T36" fmla="*/ 91619 w 254"/>
              <a:gd name="T37" fmla="*/ 145482 h 263"/>
              <a:gd name="T38" fmla="*/ 97638 w 254"/>
              <a:gd name="T39" fmla="*/ 139265 h 263"/>
              <a:gd name="T40" fmla="*/ 111013 w 254"/>
              <a:gd name="T41" fmla="*/ 139265 h 263"/>
              <a:gd name="T42" fmla="*/ 123719 w 254"/>
              <a:gd name="T43" fmla="*/ 139265 h 263"/>
              <a:gd name="T44" fmla="*/ 130407 w 254"/>
              <a:gd name="T45" fmla="*/ 127452 h 263"/>
              <a:gd name="T46" fmla="*/ 130407 w 254"/>
              <a:gd name="T47" fmla="*/ 115018 h 263"/>
              <a:gd name="T48" fmla="*/ 130407 w 254"/>
              <a:gd name="T49" fmla="*/ 103205 h 263"/>
              <a:gd name="T50" fmla="*/ 143782 w 254"/>
              <a:gd name="T51" fmla="*/ 96988 h 263"/>
              <a:gd name="T52" fmla="*/ 150469 w 254"/>
              <a:gd name="T53" fmla="*/ 84554 h 263"/>
              <a:gd name="T54" fmla="*/ 150469 w 254"/>
              <a:gd name="T55" fmla="*/ 54711 h 263"/>
              <a:gd name="T56" fmla="*/ 169863 w 254"/>
              <a:gd name="T57" fmla="*/ 54711 h 263"/>
              <a:gd name="T58" fmla="*/ 150469 w 254"/>
              <a:gd name="T59" fmla="*/ 30464 h 263"/>
              <a:gd name="T60" fmla="*/ 137094 w 254"/>
              <a:gd name="T61" fmla="*/ 30464 h 263"/>
              <a:gd name="T62" fmla="*/ 123719 w 254"/>
              <a:gd name="T63" fmla="*/ 36060 h 263"/>
              <a:gd name="T64" fmla="*/ 117700 w 254"/>
              <a:gd name="T65" fmla="*/ 36060 h 263"/>
              <a:gd name="T66" fmla="*/ 111013 w 254"/>
              <a:gd name="T67" fmla="*/ 24247 h 263"/>
              <a:gd name="T68" fmla="*/ 111013 w 254"/>
              <a:gd name="T69" fmla="*/ 18030 h 263"/>
              <a:gd name="T70" fmla="*/ 111013 w 254"/>
              <a:gd name="T71" fmla="*/ 5595 h 263"/>
              <a:gd name="T72" fmla="*/ 104325 w 254"/>
              <a:gd name="T73" fmla="*/ 5595 h 263"/>
              <a:gd name="T74" fmla="*/ 91619 w 254"/>
              <a:gd name="T75" fmla="*/ 5595 h 263"/>
              <a:gd name="T76" fmla="*/ 84932 w 254"/>
              <a:gd name="T77" fmla="*/ 5595 h 263"/>
              <a:gd name="T78" fmla="*/ 84932 w 254"/>
              <a:gd name="T79" fmla="*/ 0 h 263"/>
              <a:gd name="T80" fmla="*/ 65538 w 254"/>
              <a:gd name="T81" fmla="*/ 11813 h 263"/>
              <a:gd name="T82" fmla="*/ 45475 w 254"/>
              <a:gd name="T83" fmla="*/ 24247 h 263"/>
              <a:gd name="T84" fmla="*/ 32769 w 254"/>
              <a:gd name="T85" fmla="*/ 24247 h 263"/>
              <a:gd name="T86" fmla="*/ 26081 w 254"/>
              <a:gd name="T87" fmla="*/ 36060 h 263"/>
              <a:gd name="T88" fmla="*/ 26081 w 254"/>
              <a:gd name="T89" fmla="*/ 66524 h 263"/>
              <a:gd name="T90" fmla="*/ 6688 w 254"/>
              <a:gd name="T91" fmla="*/ 84554 h 263"/>
              <a:gd name="T92" fmla="*/ 6688 w 254"/>
              <a:gd name="T93" fmla="*/ 96988 h 263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254"/>
              <a:gd name="T142" fmla="*/ 0 h 263"/>
              <a:gd name="T143" fmla="*/ 254 w 254"/>
              <a:gd name="T144" fmla="*/ 263 h 263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254" h="263">
                <a:moveTo>
                  <a:pt x="10" y="156"/>
                </a:moveTo>
                <a:lnTo>
                  <a:pt x="10" y="156"/>
                </a:lnTo>
                <a:lnTo>
                  <a:pt x="0" y="175"/>
                </a:lnTo>
                <a:lnTo>
                  <a:pt x="10" y="185"/>
                </a:lnTo>
                <a:lnTo>
                  <a:pt x="29" y="185"/>
                </a:lnTo>
                <a:lnTo>
                  <a:pt x="39" y="185"/>
                </a:lnTo>
                <a:lnTo>
                  <a:pt x="49" y="205"/>
                </a:lnTo>
                <a:lnTo>
                  <a:pt x="49" y="224"/>
                </a:lnTo>
                <a:lnTo>
                  <a:pt x="59" y="234"/>
                </a:lnTo>
                <a:lnTo>
                  <a:pt x="68" y="234"/>
                </a:lnTo>
                <a:lnTo>
                  <a:pt x="78" y="244"/>
                </a:lnTo>
                <a:lnTo>
                  <a:pt x="68" y="244"/>
                </a:lnTo>
                <a:lnTo>
                  <a:pt x="68" y="253"/>
                </a:lnTo>
                <a:lnTo>
                  <a:pt x="78" y="263"/>
                </a:lnTo>
                <a:lnTo>
                  <a:pt x="88" y="263"/>
                </a:lnTo>
                <a:lnTo>
                  <a:pt x="98" y="263"/>
                </a:lnTo>
                <a:lnTo>
                  <a:pt x="117" y="244"/>
                </a:lnTo>
                <a:lnTo>
                  <a:pt x="127" y="244"/>
                </a:lnTo>
                <a:lnTo>
                  <a:pt x="137" y="234"/>
                </a:lnTo>
                <a:lnTo>
                  <a:pt x="146" y="224"/>
                </a:lnTo>
                <a:lnTo>
                  <a:pt x="166" y="224"/>
                </a:lnTo>
                <a:lnTo>
                  <a:pt x="185" y="224"/>
                </a:lnTo>
                <a:lnTo>
                  <a:pt x="195" y="205"/>
                </a:lnTo>
                <a:lnTo>
                  <a:pt x="195" y="185"/>
                </a:lnTo>
                <a:lnTo>
                  <a:pt x="195" y="166"/>
                </a:lnTo>
                <a:lnTo>
                  <a:pt x="215" y="156"/>
                </a:lnTo>
                <a:lnTo>
                  <a:pt x="225" y="136"/>
                </a:lnTo>
                <a:lnTo>
                  <a:pt x="225" y="88"/>
                </a:lnTo>
                <a:lnTo>
                  <a:pt x="254" y="88"/>
                </a:lnTo>
                <a:lnTo>
                  <a:pt x="225" y="49"/>
                </a:lnTo>
                <a:lnTo>
                  <a:pt x="205" y="49"/>
                </a:lnTo>
                <a:lnTo>
                  <a:pt x="185" y="58"/>
                </a:lnTo>
                <a:lnTo>
                  <a:pt x="176" y="58"/>
                </a:lnTo>
                <a:lnTo>
                  <a:pt x="166" y="39"/>
                </a:lnTo>
                <a:lnTo>
                  <a:pt x="166" y="29"/>
                </a:lnTo>
                <a:lnTo>
                  <a:pt x="166" y="9"/>
                </a:lnTo>
                <a:lnTo>
                  <a:pt x="156" y="9"/>
                </a:lnTo>
                <a:lnTo>
                  <a:pt x="137" y="9"/>
                </a:lnTo>
                <a:lnTo>
                  <a:pt x="127" y="9"/>
                </a:lnTo>
                <a:lnTo>
                  <a:pt x="127" y="0"/>
                </a:lnTo>
                <a:lnTo>
                  <a:pt x="98" y="19"/>
                </a:lnTo>
                <a:lnTo>
                  <a:pt x="68" y="39"/>
                </a:lnTo>
                <a:lnTo>
                  <a:pt x="49" y="39"/>
                </a:lnTo>
                <a:lnTo>
                  <a:pt x="39" y="58"/>
                </a:lnTo>
                <a:lnTo>
                  <a:pt x="39" y="107"/>
                </a:lnTo>
                <a:lnTo>
                  <a:pt x="10" y="136"/>
                </a:lnTo>
                <a:lnTo>
                  <a:pt x="10" y="156"/>
                </a:lnTo>
                <a:close/>
              </a:path>
            </a:pathLst>
          </a:custGeom>
          <a:solidFill>
            <a:srgbClr val="CCECFF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84" name="Freeform 355"/>
          <p:cNvSpPr>
            <a:spLocks noChangeAspect="1"/>
          </p:cNvSpPr>
          <p:nvPr>
            <p:custDataLst>
              <p:tags r:id="rId50"/>
            </p:custDataLst>
          </p:nvPr>
        </p:nvSpPr>
        <p:spPr bwMode="auto">
          <a:xfrm>
            <a:off x="2514600" y="4178300"/>
            <a:ext cx="220663" cy="193675"/>
          </a:xfrm>
          <a:custGeom>
            <a:avLst/>
            <a:gdLst>
              <a:gd name="T0" fmla="*/ 77999 w 331"/>
              <a:gd name="T1" fmla="*/ 42211 h 312"/>
              <a:gd name="T2" fmla="*/ 57999 w 331"/>
              <a:gd name="T3" fmla="*/ 48419 h 312"/>
              <a:gd name="T4" fmla="*/ 64666 w 331"/>
              <a:gd name="T5" fmla="*/ 60213 h 312"/>
              <a:gd name="T6" fmla="*/ 51999 w 331"/>
              <a:gd name="T7" fmla="*/ 72628 h 312"/>
              <a:gd name="T8" fmla="*/ 45333 w 331"/>
              <a:gd name="T9" fmla="*/ 72628 h 312"/>
              <a:gd name="T10" fmla="*/ 45333 w 331"/>
              <a:gd name="T11" fmla="*/ 84422 h 312"/>
              <a:gd name="T12" fmla="*/ 38666 w 331"/>
              <a:gd name="T13" fmla="*/ 96838 h 312"/>
              <a:gd name="T14" fmla="*/ 12666 w 331"/>
              <a:gd name="T15" fmla="*/ 121047 h 312"/>
              <a:gd name="T16" fmla="*/ 0 w 331"/>
              <a:gd name="T17" fmla="*/ 127254 h 312"/>
              <a:gd name="T18" fmla="*/ 6000 w 331"/>
              <a:gd name="T19" fmla="*/ 145256 h 312"/>
              <a:gd name="T20" fmla="*/ 6000 w 331"/>
              <a:gd name="T21" fmla="*/ 163258 h 312"/>
              <a:gd name="T22" fmla="*/ 26000 w 331"/>
              <a:gd name="T23" fmla="*/ 181260 h 312"/>
              <a:gd name="T24" fmla="*/ 45333 w 331"/>
              <a:gd name="T25" fmla="*/ 193675 h 312"/>
              <a:gd name="T26" fmla="*/ 71332 w 331"/>
              <a:gd name="T27" fmla="*/ 181260 h 312"/>
              <a:gd name="T28" fmla="*/ 90665 w 331"/>
              <a:gd name="T29" fmla="*/ 187467 h 312"/>
              <a:gd name="T30" fmla="*/ 103998 w 331"/>
              <a:gd name="T31" fmla="*/ 181260 h 312"/>
              <a:gd name="T32" fmla="*/ 116665 w 331"/>
              <a:gd name="T33" fmla="*/ 169466 h 312"/>
              <a:gd name="T34" fmla="*/ 123331 w 331"/>
              <a:gd name="T35" fmla="*/ 157051 h 312"/>
              <a:gd name="T36" fmla="*/ 155997 w 331"/>
              <a:gd name="T37" fmla="*/ 163258 h 312"/>
              <a:gd name="T38" fmla="*/ 187997 w 331"/>
              <a:gd name="T39" fmla="*/ 187467 h 312"/>
              <a:gd name="T40" fmla="*/ 213996 w 331"/>
              <a:gd name="T41" fmla="*/ 181260 h 312"/>
              <a:gd name="T42" fmla="*/ 220663 w 331"/>
              <a:gd name="T43" fmla="*/ 163258 h 312"/>
              <a:gd name="T44" fmla="*/ 213996 w 331"/>
              <a:gd name="T45" fmla="*/ 151464 h 312"/>
              <a:gd name="T46" fmla="*/ 213996 w 331"/>
              <a:gd name="T47" fmla="*/ 145256 h 312"/>
              <a:gd name="T48" fmla="*/ 201330 w 331"/>
              <a:gd name="T49" fmla="*/ 139049 h 312"/>
              <a:gd name="T50" fmla="*/ 194663 w 331"/>
              <a:gd name="T51" fmla="*/ 114839 h 312"/>
              <a:gd name="T52" fmla="*/ 175330 w 331"/>
              <a:gd name="T53" fmla="*/ 114839 h 312"/>
              <a:gd name="T54" fmla="*/ 175330 w 331"/>
              <a:gd name="T55" fmla="*/ 96838 h 312"/>
              <a:gd name="T56" fmla="*/ 175330 w 331"/>
              <a:gd name="T57" fmla="*/ 84422 h 312"/>
              <a:gd name="T58" fmla="*/ 155997 w 331"/>
              <a:gd name="T59" fmla="*/ 60213 h 312"/>
              <a:gd name="T60" fmla="*/ 142664 w 331"/>
              <a:gd name="T61" fmla="*/ 54626 h 312"/>
              <a:gd name="T62" fmla="*/ 149331 w 331"/>
              <a:gd name="T63" fmla="*/ 36004 h 312"/>
              <a:gd name="T64" fmla="*/ 135998 w 331"/>
              <a:gd name="T65" fmla="*/ 24209 h 312"/>
              <a:gd name="T66" fmla="*/ 123331 w 331"/>
              <a:gd name="T67" fmla="*/ 18002 h 312"/>
              <a:gd name="T68" fmla="*/ 116665 w 331"/>
              <a:gd name="T69" fmla="*/ 5587 h 312"/>
              <a:gd name="T70" fmla="*/ 109998 w 331"/>
              <a:gd name="T71" fmla="*/ 0 h 312"/>
              <a:gd name="T72" fmla="*/ 103998 w 331"/>
              <a:gd name="T73" fmla="*/ 18002 h 312"/>
              <a:gd name="T74" fmla="*/ 90665 w 331"/>
              <a:gd name="T75" fmla="*/ 5587 h 312"/>
              <a:gd name="T76" fmla="*/ 83999 w 331"/>
              <a:gd name="T77" fmla="*/ 24209 h 31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331"/>
              <a:gd name="T118" fmla="*/ 0 h 312"/>
              <a:gd name="T119" fmla="*/ 331 w 331"/>
              <a:gd name="T120" fmla="*/ 312 h 312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331" h="312">
                <a:moveTo>
                  <a:pt x="117" y="49"/>
                </a:moveTo>
                <a:lnTo>
                  <a:pt x="117" y="68"/>
                </a:lnTo>
                <a:lnTo>
                  <a:pt x="97" y="68"/>
                </a:lnTo>
                <a:lnTo>
                  <a:pt x="87" y="78"/>
                </a:lnTo>
                <a:lnTo>
                  <a:pt x="97" y="88"/>
                </a:lnTo>
                <a:lnTo>
                  <a:pt x="97" y="97"/>
                </a:lnTo>
                <a:lnTo>
                  <a:pt x="87" y="107"/>
                </a:lnTo>
                <a:lnTo>
                  <a:pt x="78" y="117"/>
                </a:lnTo>
                <a:lnTo>
                  <a:pt x="68" y="117"/>
                </a:lnTo>
                <a:lnTo>
                  <a:pt x="68" y="127"/>
                </a:lnTo>
                <a:lnTo>
                  <a:pt x="68" y="136"/>
                </a:lnTo>
                <a:lnTo>
                  <a:pt x="68" y="156"/>
                </a:lnTo>
                <a:lnTo>
                  <a:pt x="58" y="156"/>
                </a:lnTo>
                <a:lnTo>
                  <a:pt x="29" y="185"/>
                </a:lnTo>
                <a:lnTo>
                  <a:pt x="19" y="195"/>
                </a:lnTo>
                <a:lnTo>
                  <a:pt x="9" y="205"/>
                </a:lnTo>
                <a:lnTo>
                  <a:pt x="0" y="205"/>
                </a:lnTo>
                <a:lnTo>
                  <a:pt x="0" y="214"/>
                </a:lnTo>
                <a:lnTo>
                  <a:pt x="9" y="234"/>
                </a:lnTo>
                <a:lnTo>
                  <a:pt x="0" y="253"/>
                </a:lnTo>
                <a:lnTo>
                  <a:pt x="9" y="263"/>
                </a:lnTo>
                <a:lnTo>
                  <a:pt x="9" y="273"/>
                </a:lnTo>
                <a:lnTo>
                  <a:pt x="39" y="292"/>
                </a:lnTo>
                <a:lnTo>
                  <a:pt x="58" y="312"/>
                </a:lnTo>
                <a:lnTo>
                  <a:pt x="68" y="312"/>
                </a:lnTo>
                <a:lnTo>
                  <a:pt x="97" y="292"/>
                </a:lnTo>
                <a:lnTo>
                  <a:pt x="107" y="292"/>
                </a:lnTo>
                <a:lnTo>
                  <a:pt x="117" y="312"/>
                </a:lnTo>
                <a:lnTo>
                  <a:pt x="136" y="302"/>
                </a:lnTo>
                <a:lnTo>
                  <a:pt x="146" y="292"/>
                </a:lnTo>
                <a:lnTo>
                  <a:pt x="156" y="292"/>
                </a:lnTo>
                <a:lnTo>
                  <a:pt x="165" y="283"/>
                </a:lnTo>
                <a:lnTo>
                  <a:pt x="175" y="273"/>
                </a:lnTo>
                <a:lnTo>
                  <a:pt x="185" y="263"/>
                </a:lnTo>
                <a:lnTo>
                  <a:pt x="185" y="253"/>
                </a:lnTo>
                <a:lnTo>
                  <a:pt x="204" y="253"/>
                </a:lnTo>
                <a:lnTo>
                  <a:pt x="234" y="263"/>
                </a:lnTo>
                <a:lnTo>
                  <a:pt x="253" y="263"/>
                </a:lnTo>
                <a:lnTo>
                  <a:pt x="282" y="302"/>
                </a:lnTo>
                <a:lnTo>
                  <a:pt x="302" y="312"/>
                </a:lnTo>
                <a:lnTo>
                  <a:pt x="321" y="292"/>
                </a:lnTo>
                <a:lnTo>
                  <a:pt x="321" y="273"/>
                </a:lnTo>
                <a:lnTo>
                  <a:pt x="331" y="263"/>
                </a:lnTo>
                <a:lnTo>
                  <a:pt x="321" y="253"/>
                </a:lnTo>
                <a:lnTo>
                  <a:pt x="321" y="244"/>
                </a:lnTo>
                <a:lnTo>
                  <a:pt x="331" y="234"/>
                </a:lnTo>
                <a:lnTo>
                  <a:pt x="321" y="234"/>
                </a:lnTo>
                <a:lnTo>
                  <a:pt x="312" y="234"/>
                </a:lnTo>
                <a:lnTo>
                  <a:pt x="302" y="224"/>
                </a:lnTo>
                <a:lnTo>
                  <a:pt x="302" y="205"/>
                </a:lnTo>
                <a:lnTo>
                  <a:pt x="292" y="185"/>
                </a:lnTo>
                <a:lnTo>
                  <a:pt x="282" y="185"/>
                </a:lnTo>
                <a:lnTo>
                  <a:pt x="263" y="185"/>
                </a:lnTo>
                <a:lnTo>
                  <a:pt x="253" y="175"/>
                </a:lnTo>
                <a:lnTo>
                  <a:pt x="263" y="156"/>
                </a:lnTo>
                <a:lnTo>
                  <a:pt x="263" y="136"/>
                </a:lnTo>
                <a:lnTo>
                  <a:pt x="243" y="97"/>
                </a:lnTo>
                <a:lnTo>
                  <a:pt x="234" y="97"/>
                </a:lnTo>
                <a:lnTo>
                  <a:pt x="224" y="97"/>
                </a:lnTo>
                <a:lnTo>
                  <a:pt x="214" y="88"/>
                </a:lnTo>
                <a:lnTo>
                  <a:pt x="214" y="68"/>
                </a:lnTo>
                <a:lnTo>
                  <a:pt x="224" y="58"/>
                </a:lnTo>
                <a:lnTo>
                  <a:pt x="214" y="49"/>
                </a:lnTo>
                <a:lnTo>
                  <a:pt x="204" y="39"/>
                </a:lnTo>
                <a:lnTo>
                  <a:pt x="195" y="39"/>
                </a:lnTo>
                <a:lnTo>
                  <a:pt x="185" y="29"/>
                </a:lnTo>
                <a:lnTo>
                  <a:pt x="195" y="9"/>
                </a:lnTo>
                <a:lnTo>
                  <a:pt x="175" y="9"/>
                </a:lnTo>
                <a:lnTo>
                  <a:pt x="165" y="0"/>
                </a:lnTo>
                <a:lnTo>
                  <a:pt x="156" y="9"/>
                </a:lnTo>
                <a:lnTo>
                  <a:pt x="156" y="29"/>
                </a:lnTo>
                <a:lnTo>
                  <a:pt x="146" y="19"/>
                </a:lnTo>
                <a:lnTo>
                  <a:pt x="136" y="9"/>
                </a:lnTo>
                <a:lnTo>
                  <a:pt x="126" y="19"/>
                </a:lnTo>
                <a:lnTo>
                  <a:pt x="126" y="39"/>
                </a:lnTo>
                <a:lnTo>
                  <a:pt x="117" y="49"/>
                </a:lnTo>
                <a:close/>
              </a:path>
            </a:pathLst>
          </a:custGeom>
          <a:solidFill>
            <a:srgbClr val="CCECFF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85" name="Freeform 354"/>
          <p:cNvSpPr>
            <a:spLocks noChangeAspect="1"/>
          </p:cNvSpPr>
          <p:nvPr>
            <p:custDataLst>
              <p:tags r:id="rId51"/>
            </p:custDataLst>
          </p:nvPr>
        </p:nvSpPr>
        <p:spPr bwMode="auto">
          <a:xfrm>
            <a:off x="2833688" y="3516313"/>
            <a:ext cx="304800" cy="268287"/>
          </a:xfrm>
          <a:custGeom>
            <a:avLst/>
            <a:gdLst>
              <a:gd name="T0" fmla="*/ 285500 w 458"/>
              <a:gd name="T1" fmla="*/ 200904 h 430"/>
              <a:gd name="T2" fmla="*/ 265535 w 458"/>
              <a:gd name="T3" fmla="*/ 200904 h 430"/>
              <a:gd name="T4" fmla="*/ 246236 w 458"/>
              <a:gd name="T5" fmla="*/ 218998 h 430"/>
              <a:gd name="T6" fmla="*/ 220281 w 458"/>
              <a:gd name="T7" fmla="*/ 231476 h 430"/>
              <a:gd name="T8" fmla="*/ 194327 w 458"/>
              <a:gd name="T9" fmla="*/ 255809 h 430"/>
              <a:gd name="T10" fmla="*/ 168372 w 458"/>
              <a:gd name="T11" fmla="*/ 255809 h 430"/>
              <a:gd name="T12" fmla="*/ 149072 w 458"/>
              <a:gd name="T13" fmla="*/ 255809 h 430"/>
              <a:gd name="T14" fmla="*/ 142417 w 458"/>
              <a:gd name="T15" fmla="*/ 237716 h 430"/>
              <a:gd name="T16" fmla="*/ 149072 w 458"/>
              <a:gd name="T17" fmla="*/ 225237 h 430"/>
              <a:gd name="T18" fmla="*/ 135762 w 458"/>
              <a:gd name="T19" fmla="*/ 218998 h 430"/>
              <a:gd name="T20" fmla="*/ 142417 w 458"/>
              <a:gd name="T21" fmla="*/ 200904 h 430"/>
              <a:gd name="T22" fmla="*/ 123118 w 458"/>
              <a:gd name="T23" fmla="*/ 189049 h 430"/>
              <a:gd name="T24" fmla="*/ 103818 w 458"/>
              <a:gd name="T25" fmla="*/ 182810 h 430"/>
              <a:gd name="T26" fmla="*/ 116463 w 458"/>
              <a:gd name="T27" fmla="*/ 164716 h 430"/>
              <a:gd name="T28" fmla="*/ 103818 w 458"/>
              <a:gd name="T29" fmla="*/ 152238 h 430"/>
              <a:gd name="T30" fmla="*/ 71209 w 458"/>
              <a:gd name="T31" fmla="*/ 152238 h 430"/>
              <a:gd name="T32" fmla="*/ 57899 w 458"/>
              <a:gd name="T33" fmla="*/ 134144 h 430"/>
              <a:gd name="T34" fmla="*/ 38599 w 458"/>
              <a:gd name="T35" fmla="*/ 140383 h 430"/>
              <a:gd name="T36" fmla="*/ 31944 w 458"/>
              <a:gd name="T37" fmla="*/ 127905 h 430"/>
              <a:gd name="T38" fmla="*/ 19300 w 458"/>
              <a:gd name="T39" fmla="*/ 127905 h 430"/>
              <a:gd name="T40" fmla="*/ 0 w 458"/>
              <a:gd name="T41" fmla="*/ 121665 h 430"/>
              <a:gd name="T42" fmla="*/ 5990 w 458"/>
              <a:gd name="T43" fmla="*/ 109811 h 430"/>
              <a:gd name="T44" fmla="*/ 5990 w 458"/>
              <a:gd name="T45" fmla="*/ 91717 h 430"/>
              <a:gd name="T46" fmla="*/ 5990 w 458"/>
              <a:gd name="T47" fmla="*/ 67384 h 430"/>
              <a:gd name="T48" fmla="*/ 5990 w 458"/>
              <a:gd name="T49" fmla="*/ 54905 h 430"/>
              <a:gd name="T50" fmla="*/ 19300 w 458"/>
              <a:gd name="T51" fmla="*/ 48666 h 430"/>
              <a:gd name="T52" fmla="*/ 38599 w 458"/>
              <a:gd name="T53" fmla="*/ 43051 h 430"/>
              <a:gd name="T54" fmla="*/ 64554 w 458"/>
              <a:gd name="T55" fmla="*/ 36812 h 430"/>
              <a:gd name="T56" fmla="*/ 57899 w 458"/>
              <a:gd name="T57" fmla="*/ 43051 h 430"/>
              <a:gd name="T58" fmla="*/ 71209 w 458"/>
              <a:gd name="T59" fmla="*/ 43051 h 430"/>
              <a:gd name="T60" fmla="*/ 71209 w 458"/>
              <a:gd name="T61" fmla="*/ 48666 h 430"/>
              <a:gd name="T62" fmla="*/ 83853 w 458"/>
              <a:gd name="T63" fmla="*/ 54905 h 430"/>
              <a:gd name="T64" fmla="*/ 97163 w 458"/>
              <a:gd name="T65" fmla="*/ 67384 h 430"/>
              <a:gd name="T66" fmla="*/ 97163 w 458"/>
              <a:gd name="T67" fmla="*/ 79239 h 430"/>
              <a:gd name="T68" fmla="*/ 83853 w 458"/>
              <a:gd name="T69" fmla="*/ 91717 h 430"/>
              <a:gd name="T70" fmla="*/ 77864 w 458"/>
              <a:gd name="T71" fmla="*/ 103572 h 430"/>
              <a:gd name="T72" fmla="*/ 83853 w 458"/>
              <a:gd name="T73" fmla="*/ 116050 h 430"/>
              <a:gd name="T74" fmla="*/ 103818 w 458"/>
              <a:gd name="T75" fmla="*/ 121665 h 430"/>
              <a:gd name="T76" fmla="*/ 123118 w 458"/>
              <a:gd name="T77" fmla="*/ 121665 h 430"/>
              <a:gd name="T78" fmla="*/ 135762 w 458"/>
              <a:gd name="T79" fmla="*/ 109811 h 430"/>
              <a:gd name="T80" fmla="*/ 142417 w 458"/>
              <a:gd name="T81" fmla="*/ 97332 h 430"/>
              <a:gd name="T82" fmla="*/ 135762 w 458"/>
              <a:gd name="T83" fmla="*/ 79239 h 430"/>
              <a:gd name="T84" fmla="*/ 129773 w 458"/>
              <a:gd name="T85" fmla="*/ 72999 h 430"/>
              <a:gd name="T86" fmla="*/ 116463 w 458"/>
              <a:gd name="T87" fmla="*/ 61145 h 430"/>
              <a:gd name="T88" fmla="*/ 109808 w 458"/>
              <a:gd name="T89" fmla="*/ 48666 h 430"/>
              <a:gd name="T90" fmla="*/ 109808 w 458"/>
              <a:gd name="T91" fmla="*/ 30572 h 430"/>
              <a:gd name="T92" fmla="*/ 116463 w 458"/>
              <a:gd name="T93" fmla="*/ 30572 h 430"/>
              <a:gd name="T94" fmla="*/ 123118 w 458"/>
              <a:gd name="T95" fmla="*/ 18718 h 430"/>
              <a:gd name="T96" fmla="*/ 135762 w 458"/>
              <a:gd name="T97" fmla="*/ 18718 h 430"/>
              <a:gd name="T98" fmla="*/ 123118 w 458"/>
              <a:gd name="T99" fmla="*/ 12479 h 430"/>
              <a:gd name="T100" fmla="*/ 109808 w 458"/>
              <a:gd name="T101" fmla="*/ 6239 h 430"/>
              <a:gd name="T102" fmla="*/ 129773 w 458"/>
              <a:gd name="T103" fmla="*/ 0 h 430"/>
              <a:gd name="T104" fmla="*/ 175027 w 458"/>
              <a:gd name="T105" fmla="*/ 12479 h 430"/>
              <a:gd name="T106" fmla="*/ 187672 w 458"/>
              <a:gd name="T107" fmla="*/ 12479 h 430"/>
              <a:gd name="T108" fmla="*/ 187672 w 458"/>
              <a:gd name="T109" fmla="*/ 30572 h 430"/>
              <a:gd name="T110" fmla="*/ 187672 w 458"/>
              <a:gd name="T111" fmla="*/ 54905 h 430"/>
              <a:gd name="T112" fmla="*/ 220281 w 458"/>
              <a:gd name="T113" fmla="*/ 145999 h 430"/>
              <a:gd name="T114" fmla="*/ 259546 w 458"/>
              <a:gd name="T115" fmla="*/ 152238 h 430"/>
              <a:gd name="T116" fmla="*/ 265535 w 458"/>
              <a:gd name="T117" fmla="*/ 134144 h 430"/>
              <a:gd name="T118" fmla="*/ 278845 w 458"/>
              <a:gd name="T119" fmla="*/ 158477 h 430"/>
              <a:gd name="T120" fmla="*/ 304800 w 458"/>
              <a:gd name="T121" fmla="*/ 189049 h 430"/>
              <a:gd name="T122" fmla="*/ 304800 w 458"/>
              <a:gd name="T123" fmla="*/ 200904 h 430"/>
              <a:gd name="T124" fmla="*/ 298145 w 458"/>
              <a:gd name="T125" fmla="*/ 207143 h 430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458"/>
              <a:gd name="T190" fmla="*/ 0 h 430"/>
              <a:gd name="T191" fmla="*/ 458 w 458"/>
              <a:gd name="T192" fmla="*/ 430 h 430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458" h="430">
                <a:moveTo>
                  <a:pt x="448" y="332"/>
                </a:moveTo>
                <a:lnTo>
                  <a:pt x="429" y="322"/>
                </a:lnTo>
                <a:lnTo>
                  <a:pt x="409" y="322"/>
                </a:lnTo>
                <a:lnTo>
                  <a:pt x="399" y="322"/>
                </a:lnTo>
                <a:lnTo>
                  <a:pt x="390" y="332"/>
                </a:lnTo>
                <a:lnTo>
                  <a:pt x="370" y="351"/>
                </a:lnTo>
                <a:lnTo>
                  <a:pt x="331" y="361"/>
                </a:lnTo>
                <a:lnTo>
                  <a:pt x="331" y="371"/>
                </a:lnTo>
                <a:lnTo>
                  <a:pt x="312" y="391"/>
                </a:lnTo>
                <a:lnTo>
                  <a:pt x="292" y="410"/>
                </a:lnTo>
                <a:lnTo>
                  <a:pt x="273" y="430"/>
                </a:lnTo>
                <a:lnTo>
                  <a:pt x="253" y="410"/>
                </a:lnTo>
                <a:lnTo>
                  <a:pt x="234" y="410"/>
                </a:lnTo>
                <a:lnTo>
                  <a:pt x="224" y="410"/>
                </a:lnTo>
                <a:lnTo>
                  <a:pt x="224" y="381"/>
                </a:lnTo>
                <a:lnTo>
                  <a:pt x="214" y="381"/>
                </a:lnTo>
                <a:lnTo>
                  <a:pt x="214" y="371"/>
                </a:lnTo>
                <a:lnTo>
                  <a:pt x="224" y="361"/>
                </a:lnTo>
                <a:lnTo>
                  <a:pt x="224" y="351"/>
                </a:lnTo>
                <a:lnTo>
                  <a:pt x="204" y="351"/>
                </a:lnTo>
                <a:lnTo>
                  <a:pt x="214" y="332"/>
                </a:lnTo>
                <a:lnTo>
                  <a:pt x="214" y="322"/>
                </a:lnTo>
                <a:lnTo>
                  <a:pt x="204" y="303"/>
                </a:lnTo>
                <a:lnTo>
                  <a:pt x="185" y="303"/>
                </a:lnTo>
                <a:lnTo>
                  <a:pt x="165" y="303"/>
                </a:lnTo>
                <a:lnTo>
                  <a:pt x="156" y="293"/>
                </a:lnTo>
                <a:lnTo>
                  <a:pt x="165" y="273"/>
                </a:lnTo>
                <a:lnTo>
                  <a:pt x="175" y="264"/>
                </a:lnTo>
                <a:lnTo>
                  <a:pt x="165" y="244"/>
                </a:lnTo>
                <a:lnTo>
                  <a:pt x="156" y="244"/>
                </a:lnTo>
                <a:lnTo>
                  <a:pt x="126" y="244"/>
                </a:lnTo>
                <a:lnTo>
                  <a:pt x="107" y="244"/>
                </a:lnTo>
                <a:lnTo>
                  <a:pt x="97" y="225"/>
                </a:lnTo>
                <a:lnTo>
                  <a:pt x="87" y="215"/>
                </a:lnTo>
                <a:lnTo>
                  <a:pt x="68" y="225"/>
                </a:lnTo>
                <a:lnTo>
                  <a:pt x="58" y="225"/>
                </a:lnTo>
                <a:lnTo>
                  <a:pt x="48" y="215"/>
                </a:lnTo>
                <a:lnTo>
                  <a:pt x="48" y="205"/>
                </a:lnTo>
                <a:lnTo>
                  <a:pt x="39" y="195"/>
                </a:lnTo>
                <a:lnTo>
                  <a:pt x="29" y="205"/>
                </a:lnTo>
                <a:lnTo>
                  <a:pt x="9" y="205"/>
                </a:lnTo>
                <a:lnTo>
                  <a:pt x="0" y="195"/>
                </a:lnTo>
                <a:lnTo>
                  <a:pt x="0" y="186"/>
                </a:lnTo>
                <a:lnTo>
                  <a:pt x="9" y="176"/>
                </a:lnTo>
                <a:lnTo>
                  <a:pt x="0" y="166"/>
                </a:lnTo>
                <a:lnTo>
                  <a:pt x="9" y="147"/>
                </a:lnTo>
                <a:lnTo>
                  <a:pt x="9" y="127"/>
                </a:lnTo>
                <a:lnTo>
                  <a:pt x="9" y="108"/>
                </a:lnTo>
                <a:lnTo>
                  <a:pt x="9" y="88"/>
                </a:lnTo>
                <a:lnTo>
                  <a:pt x="9" y="78"/>
                </a:lnTo>
                <a:lnTo>
                  <a:pt x="29" y="78"/>
                </a:lnTo>
                <a:lnTo>
                  <a:pt x="48" y="69"/>
                </a:lnTo>
                <a:lnTo>
                  <a:pt x="58" y="69"/>
                </a:lnTo>
                <a:lnTo>
                  <a:pt x="87" y="59"/>
                </a:lnTo>
                <a:lnTo>
                  <a:pt x="97" y="59"/>
                </a:lnTo>
                <a:lnTo>
                  <a:pt x="87" y="59"/>
                </a:lnTo>
                <a:lnTo>
                  <a:pt x="87" y="69"/>
                </a:lnTo>
                <a:lnTo>
                  <a:pt x="97" y="69"/>
                </a:lnTo>
                <a:lnTo>
                  <a:pt x="107" y="69"/>
                </a:lnTo>
                <a:lnTo>
                  <a:pt x="107" y="78"/>
                </a:lnTo>
                <a:lnTo>
                  <a:pt x="107" y="88"/>
                </a:lnTo>
                <a:lnTo>
                  <a:pt x="126" y="88"/>
                </a:lnTo>
                <a:lnTo>
                  <a:pt x="136" y="88"/>
                </a:lnTo>
                <a:lnTo>
                  <a:pt x="146" y="108"/>
                </a:lnTo>
                <a:lnTo>
                  <a:pt x="156" y="127"/>
                </a:lnTo>
                <a:lnTo>
                  <a:pt x="146" y="127"/>
                </a:lnTo>
                <a:lnTo>
                  <a:pt x="136" y="137"/>
                </a:lnTo>
                <a:lnTo>
                  <a:pt x="126" y="147"/>
                </a:lnTo>
                <a:lnTo>
                  <a:pt x="117" y="147"/>
                </a:lnTo>
                <a:lnTo>
                  <a:pt x="117" y="166"/>
                </a:lnTo>
                <a:lnTo>
                  <a:pt x="126" y="176"/>
                </a:lnTo>
                <a:lnTo>
                  <a:pt x="126" y="186"/>
                </a:lnTo>
                <a:lnTo>
                  <a:pt x="136" y="186"/>
                </a:lnTo>
                <a:lnTo>
                  <a:pt x="156" y="195"/>
                </a:lnTo>
                <a:lnTo>
                  <a:pt x="165" y="195"/>
                </a:lnTo>
                <a:lnTo>
                  <a:pt x="185" y="195"/>
                </a:lnTo>
                <a:lnTo>
                  <a:pt x="195" y="186"/>
                </a:lnTo>
                <a:lnTo>
                  <a:pt x="204" y="176"/>
                </a:lnTo>
                <a:lnTo>
                  <a:pt x="214" y="166"/>
                </a:lnTo>
                <a:lnTo>
                  <a:pt x="214" y="156"/>
                </a:lnTo>
                <a:lnTo>
                  <a:pt x="214" y="137"/>
                </a:lnTo>
                <a:lnTo>
                  <a:pt x="204" y="127"/>
                </a:lnTo>
                <a:lnTo>
                  <a:pt x="195" y="117"/>
                </a:lnTo>
                <a:lnTo>
                  <a:pt x="175" y="117"/>
                </a:lnTo>
                <a:lnTo>
                  <a:pt x="175" y="98"/>
                </a:lnTo>
                <a:lnTo>
                  <a:pt x="165" y="88"/>
                </a:lnTo>
                <a:lnTo>
                  <a:pt x="165" y="78"/>
                </a:lnTo>
                <a:lnTo>
                  <a:pt x="165" y="59"/>
                </a:lnTo>
                <a:lnTo>
                  <a:pt x="165" y="49"/>
                </a:lnTo>
                <a:lnTo>
                  <a:pt x="175" y="30"/>
                </a:lnTo>
                <a:lnTo>
                  <a:pt x="175" y="49"/>
                </a:lnTo>
                <a:lnTo>
                  <a:pt x="185" y="39"/>
                </a:lnTo>
                <a:lnTo>
                  <a:pt x="185" y="30"/>
                </a:lnTo>
                <a:lnTo>
                  <a:pt x="195" y="30"/>
                </a:lnTo>
                <a:lnTo>
                  <a:pt x="204" y="30"/>
                </a:lnTo>
                <a:lnTo>
                  <a:pt x="195" y="20"/>
                </a:lnTo>
                <a:lnTo>
                  <a:pt x="185" y="20"/>
                </a:lnTo>
                <a:lnTo>
                  <a:pt x="175" y="20"/>
                </a:lnTo>
                <a:lnTo>
                  <a:pt x="165" y="10"/>
                </a:lnTo>
                <a:lnTo>
                  <a:pt x="165" y="0"/>
                </a:lnTo>
                <a:lnTo>
                  <a:pt x="195" y="0"/>
                </a:lnTo>
                <a:lnTo>
                  <a:pt x="224" y="10"/>
                </a:lnTo>
                <a:lnTo>
                  <a:pt x="263" y="20"/>
                </a:lnTo>
                <a:lnTo>
                  <a:pt x="273" y="20"/>
                </a:lnTo>
                <a:lnTo>
                  <a:pt x="282" y="20"/>
                </a:lnTo>
                <a:lnTo>
                  <a:pt x="273" y="30"/>
                </a:lnTo>
                <a:lnTo>
                  <a:pt x="282" y="49"/>
                </a:lnTo>
                <a:lnTo>
                  <a:pt x="282" y="69"/>
                </a:lnTo>
                <a:lnTo>
                  <a:pt x="282" y="88"/>
                </a:lnTo>
                <a:lnTo>
                  <a:pt x="263" y="108"/>
                </a:lnTo>
                <a:lnTo>
                  <a:pt x="331" y="234"/>
                </a:lnTo>
                <a:lnTo>
                  <a:pt x="370" y="244"/>
                </a:lnTo>
                <a:lnTo>
                  <a:pt x="390" y="244"/>
                </a:lnTo>
                <a:lnTo>
                  <a:pt x="380" y="215"/>
                </a:lnTo>
                <a:lnTo>
                  <a:pt x="399" y="215"/>
                </a:lnTo>
                <a:lnTo>
                  <a:pt x="409" y="244"/>
                </a:lnTo>
                <a:lnTo>
                  <a:pt x="419" y="254"/>
                </a:lnTo>
                <a:lnTo>
                  <a:pt x="448" y="283"/>
                </a:lnTo>
                <a:lnTo>
                  <a:pt x="458" y="303"/>
                </a:lnTo>
                <a:lnTo>
                  <a:pt x="448" y="312"/>
                </a:lnTo>
                <a:lnTo>
                  <a:pt x="458" y="322"/>
                </a:lnTo>
                <a:lnTo>
                  <a:pt x="458" y="332"/>
                </a:lnTo>
                <a:lnTo>
                  <a:pt x="448" y="332"/>
                </a:lnTo>
                <a:close/>
              </a:path>
            </a:pathLst>
          </a:custGeom>
          <a:solidFill>
            <a:srgbClr val="FFCC99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86" name="Freeform 353"/>
          <p:cNvSpPr>
            <a:spLocks noChangeAspect="1"/>
          </p:cNvSpPr>
          <p:nvPr>
            <p:custDataLst>
              <p:tags r:id="rId52"/>
            </p:custDataLst>
          </p:nvPr>
        </p:nvSpPr>
        <p:spPr bwMode="auto">
          <a:xfrm>
            <a:off x="2794000" y="4232275"/>
            <a:ext cx="182563" cy="188913"/>
          </a:xfrm>
          <a:custGeom>
            <a:avLst/>
            <a:gdLst>
              <a:gd name="T0" fmla="*/ 58848 w 273"/>
              <a:gd name="T1" fmla="*/ 0 h 302"/>
              <a:gd name="T2" fmla="*/ 78241 w 273"/>
              <a:gd name="T3" fmla="*/ 18141 h 302"/>
              <a:gd name="T4" fmla="*/ 91616 w 273"/>
              <a:gd name="T5" fmla="*/ 18141 h 302"/>
              <a:gd name="T6" fmla="*/ 104322 w 273"/>
              <a:gd name="T7" fmla="*/ 24396 h 302"/>
              <a:gd name="T8" fmla="*/ 111009 w 273"/>
              <a:gd name="T9" fmla="*/ 36281 h 302"/>
              <a:gd name="T10" fmla="*/ 111009 w 273"/>
              <a:gd name="T11" fmla="*/ 42536 h 302"/>
              <a:gd name="T12" fmla="*/ 111009 w 273"/>
              <a:gd name="T13" fmla="*/ 54422 h 302"/>
              <a:gd name="T14" fmla="*/ 123715 w 273"/>
              <a:gd name="T15" fmla="*/ 73188 h 302"/>
              <a:gd name="T16" fmla="*/ 130402 w 273"/>
              <a:gd name="T17" fmla="*/ 73188 h 302"/>
              <a:gd name="T18" fmla="*/ 137089 w 273"/>
              <a:gd name="T19" fmla="*/ 73188 h 302"/>
              <a:gd name="T20" fmla="*/ 143777 w 273"/>
              <a:gd name="T21" fmla="*/ 66932 h 302"/>
              <a:gd name="T22" fmla="*/ 149795 w 273"/>
              <a:gd name="T23" fmla="*/ 73188 h 302"/>
              <a:gd name="T24" fmla="*/ 156483 w 273"/>
              <a:gd name="T25" fmla="*/ 78818 h 302"/>
              <a:gd name="T26" fmla="*/ 163170 w 273"/>
              <a:gd name="T27" fmla="*/ 91328 h 302"/>
              <a:gd name="T28" fmla="*/ 169857 w 273"/>
              <a:gd name="T29" fmla="*/ 97584 h 302"/>
              <a:gd name="T30" fmla="*/ 182563 w 273"/>
              <a:gd name="T31" fmla="*/ 97584 h 302"/>
              <a:gd name="T32" fmla="*/ 182563 w 273"/>
              <a:gd name="T33" fmla="*/ 121980 h 302"/>
              <a:gd name="T34" fmla="*/ 175876 w 273"/>
              <a:gd name="T35" fmla="*/ 121980 h 302"/>
              <a:gd name="T36" fmla="*/ 175876 w 273"/>
              <a:gd name="T37" fmla="*/ 133865 h 302"/>
              <a:gd name="T38" fmla="*/ 169857 w 273"/>
              <a:gd name="T39" fmla="*/ 146376 h 302"/>
              <a:gd name="T40" fmla="*/ 175876 w 273"/>
              <a:gd name="T41" fmla="*/ 146376 h 302"/>
              <a:gd name="T42" fmla="*/ 175876 w 273"/>
              <a:gd name="T43" fmla="*/ 164516 h 302"/>
              <a:gd name="T44" fmla="*/ 169857 w 273"/>
              <a:gd name="T45" fmla="*/ 164516 h 302"/>
              <a:gd name="T46" fmla="*/ 169857 w 273"/>
              <a:gd name="T47" fmla="*/ 176401 h 302"/>
              <a:gd name="T48" fmla="*/ 149795 w 273"/>
              <a:gd name="T49" fmla="*/ 170771 h 302"/>
              <a:gd name="T50" fmla="*/ 149795 w 273"/>
              <a:gd name="T51" fmla="*/ 188912 h 302"/>
              <a:gd name="T52" fmla="*/ 130402 w 273"/>
              <a:gd name="T53" fmla="*/ 188912 h 302"/>
              <a:gd name="T54" fmla="*/ 123715 w 273"/>
              <a:gd name="T55" fmla="*/ 176401 h 302"/>
              <a:gd name="T56" fmla="*/ 104322 w 273"/>
              <a:gd name="T57" fmla="*/ 170771 h 302"/>
              <a:gd name="T58" fmla="*/ 97634 w 273"/>
              <a:gd name="T59" fmla="*/ 176401 h 302"/>
              <a:gd name="T60" fmla="*/ 91616 w 273"/>
              <a:gd name="T61" fmla="*/ 176401 h 302"/>
              <a:gd name="T62" fmla="*/ 84929 w 273"/>
              <a:gd name="T63" fmla="*/ 164516 h 302"/>
              <a:gd name="T64" fmla="*/ 71554 w 273"/>
              <a:gd name="T65" fmla="*/ 158261 h 302"/>
              <a:gd name="T66" fmla="*/ 65535 w 273"/>
              <a:gd name="T67" fmla="*/ 152005 h 302"/>
              <a:gd name="T68" fmla="*/ 52161 w 273"/>
              <a:gd name="T69" fmla="*/ 152005 h 302"/>
              <a:gd name="T70" fmla="*/ 52161 w 273"/>
              <a:gd name="T71" fmla="*/ 140120 h 302"/>
              <a:gd name="T72" fmla="*/ 58848 w 273"/>
              <a:gd name="T73" fmla="*/ 140120 h 302"/>
              <a:gd name="T74" fmla="*/ 52161 w 273"/>
              <a:gd name="T75" fmla="*/ 127609 h 302"/>
              <a:gd name="T76" fmla="*/ 32768 w 273"/>
              <a:gd name="T77" fmla="*/ 127609 h 302"/>
              <a:gd name="T78" fmla="*/ 19393 w 273"/>
              <a:gd name="T79" fmla="*/ 109469 h 302"/>
              <a:gd name="T80" fmla="*/ 0 w 273"/>
              <a:gd name="T81" fmla="*/ 109469 h 302"/>
              <a:gd name="T82" fmla="*/ 0 w 273"/>
              <a:gd name="T83" fmla="*/ 85073 h 302"/>
              <a:gd name="T84" fmla="*/ 19393 w 273"/>
              <a:gd name="T85" fmla="*/ 85073 h 302"/>
              <a:gd name="T86" fmla="*/ 19393 w 273"/>
              <a:gd name="T87" fmla="*/ 73188 h 302"/>
              <a:gd name="T88" fmla="*/ 19393 w 273"/>
              <a:gd name="T89" fmla="*/ 54422 h 302"/>
              <a:gd name="T90" fmla="*/ 19393 w 273"/>
              <a:gd name="T91" fmla="*/ 48792 h 302"/>
              <a:gd name="T92" fmla="*/ 32768 w 273"/>
              <a:gd name="T93" fmla="*/ 42536 h 302"/>
              <a:gd name="T94" fmla="*/ 39455 w 273"/>
              <a:gd name="T95" fmla="*/ 30026 h 302"/>
              <a:gd name="T96" fmla="*/ 39455 w 273"/>
              <a:gd name="T97" fmla="*/ 0 h 302"/>
              <a:gd name="T98" fmla="*/ 58848 w 273"/>
              <a:gd name="T99" fmla="*/ 0 h 302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273"/>
              <a:gd name="T151" fmla="*/ 0 h 302"/>
              <a:gd name="T152" fmla="*/ 273 w 273"/>
              <a:gd name="T153" fmla="*/ 302 h 302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273" h="302">
                <a:moveTo>
                  <a:pt x="88" y="0"/>
                </a:moveTo>
                <a:lnTo>
                  <a:pt x="117" y="29"/>
                </a:lnTo>
                <a:lnTo>
                  <a:pt x="137" y="29"/>
                </a:lnTo>
                <a:lnTo>
                  <a:pt x="156" y="39"/>
                </a:lnTo>
                <a:lnTo>
                  <a:pt x="166" y="58"/>
                </a:lnTo>
                <a:lnTo>
                  <a:pt x="166" y="68"/>
                </a:lnTo>
                <a:lnTo>
                  <a:pt x="166" y="87"/>
                </a:lnTo>
                <a:lnTo>
                  <a:pt x="185" y="117"/>
                </a:lnTo>
                <a:lnTo>
                  <a:pt x="195" y="117"/>
                </a:lnTo>
                <a:lnTo>
                  <a:pt x="205" y="117"/>
                </a:lnTo>
                <a:lnTo>
                  <a:pt x="215" y="107"/>
                </a:lnTo>
                <a:lnTo>
                  <a:pt x="224" y="117"/>
                </a:lnTo>
                <a:lnTo>
                  <a:pt x="234" y="126"/>
                </a:lnTo>
                <a:lnTo>
                  <a:pt x="244" y="146"/>
                </a:lnTo>
                <a:lnTo>
                  <a:pt x="254" y="156"/>
                </a:lnTo>
                <a:lnTo>
                  <a:pt x="273" y="156"/>
                </a:lnTo>
                <a:lnTo>
                  <a:pt x="273" y="195"/>
                </a:lnTo>
                <a:lnTo>
                  <a:pt x="263" y="195"/>
                </a:lnTo>
                <a:lnTo>
                  <a:pt x="263" y="214"/>
                </a:lnTo>
                <a:lnTo>
                  <a:pt x="254" y="234"/>
                </a:lnTo>
                <a:lnTo>
                  <a:pt x="263" y="234"/>
                </a:lnTo>
                <a:lnTo>
                  <a:pt x="263" y="263"/>
                </a:lnTo>
                <a:lnTo>
                  <a:pt x="254" y="263"/>
                </a:lnTo>
                <a:lnTo>
                  <a:pt x="254" y="282"/>
                </a:lnTo>
                <a:lnTo>
                  <a:pt x="224" y="273"/>
                </a:lnTo>
                <a:lnTo>
                  <a:pt x="224" y="302"/>
                </a:lnTo>
                <a:lnTo>
                  <a:pt x="195" y="302"/>
                </a:lnTo>
                <a:lnTo>
                  <a:pt x="185" y="282"/>
                </a:lnTo>
                <a:lnTo>
                  <a:pt x="156" y="273"/>
                </a:lnTo>
                <a:lnTo>
                  <a:pt x="146" y="282"/>
                </a:lnTo>
                <a:lnTo>
                  <a:pt x="137" y="282"/>
                </a:lnTo>
                <a:lnTo>
                  <a:pt x="127" y="263"/>
                </a:lnTo>
                <a:lnTo>
                  <a:pt x="107" y="253"/>
                </a:lnTo>
                <a:lnTo>
                  <a:pt x="98" y="243"/>
                </a:lnTo>
                <a:lnTo>
                  <a:pt x="78" y="243"/>
                </a:lnTo>
                <a:lnTo>
                  <a:pt x="78" y="224"/>
                </a:lnTo>
                <a:lnTo>
                  <a:pt x="88" y="224"/>
                </a:lnTo>
                <a:lnTo>
                  <a:pt x="78" y="204"/>
                </a:lnTo>
                <a:lnTo>
                  <a:pt x="49" y="204"/>
                </a:lnTo>
                <a:lnTo>
                  <a:pt x="29" y="175"/>
                </a:lnTo>
                <a:lnTo>
                  <a:pt x="0" y="175"/>
                </a:lnTo>
                <a:lnTo>
                  <a:pt x="0" y="136"/>
                </a:lnTo>
                <a:lnTo>
                  <a:pt x="29" y="136"/>
                </a:lnTo>
                <a:lnTo>
                  <a:pt x="29" y="117"/>
                </a:lnTo>
                <a:lnTo>
                  <a:pt x="29" y="87"/>
                </a:lnTo>
                <a:lnTo>
                  <a:pt x="29" y="78"/>
                </a:lnTo>
                <a:lnTo>
                  <a:pt x="49" y="68"/>
                </a:lnTo>
                <a:lnTo>
                  <a:pt x="59" y="48"/>
                </a:lnTo>
                <a:lnTo>
                  <a:pt x="59" y="0"/>
                </a:lnTo>
                <a:lnTo>
                  <a:pt x="88" y="0"/>
                </a:lnTo>
                <a:close/>
              </a:path>
            </a:pathLst>
          </a:custGeom>
          <a:solidFill>
            <a:srgbClr val="DEC2B3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87" name="Freeform 352"/>
          <p:cNvSpPr>
            <a:spLocks noChangeAspect="1"/>
          </p:cNvSpPr>
          <p:nvPr>
            <p:custDataLst>
              <p:tags r:id="rId53"/>
            </p:custDataLst>
          </p:nvPr>
        </p:nvSpPr>
        <p:spPr bwMode="auto">
          <a:xfrm>
            <a:off x="2925763" y="4311650"/>
            <a:ext cx="212725" cy="146050"/>
          </a:xfrm>
          <a:custGeom>
            <a:avLst/>
            <a:gdLst>
              <a:gd name="T0" fmla="*/ 51530 w 322"/>
              <a:gd name="T1" fmla="*/ 42883 h 235"/>
              <a:gd name="T2" fmla="*/ 44923 w 322"/>
              <a:gd name="T3" fmla="*/ 54691 h 235"/>
              <a:gd name="T4" fmla="*/ 44923 w 322"/>
              <a:gd name="T5" fmla="*/ 67121 h 235"/>
              <a:gd name="T6" fmla="*/ 38978 w 322"/>
              <a:gd name="T7" fmla="*/ 85144 h 235"/>
              <a:gd name="T8" fmla="*/ 25765 w 322"/>
              <a:gd name="T9" fmla="*/ 91359 h 235"/>
              <a:gd name="T10" fmla="*/ 0 w 322"/>
              <a:gd name="T11" fmla="*/ 109382 h 235"/>
              <a:gd name="T12" fmla="*/ 13213 w 322"/>
              <a:gd name="T13" fmla="*/ 115597 h 235"/>
              <a:gd name="T14" fmla="*/ 32371 w 322"/>
              <a:gd name="T15" fmla="*/ 133620 h 235"/>
              <a:gd name="T16" fmla="*/ 44923 w 322"/>
              <a:gd name="T17" fmla="*/ 146050 h 235"/>
              <a:gd name="T18" fmla="*/ 70688 w 322"/>
              <a:gd name="T19" fmla="*/ 146050 h 235"/>
              <a:gd name="T20" fmla="*/ 70688 w 322"/>
              <a:gd name="T21" fmla="*/ 133620 h 235"/>
              <a:gd name="T22" fmla="*/ 64742 w 322"/>
              <a:gd name="T23" fmla="*/ 127405 h 235"/>
              <a:gd name="T24" fmla="*/ 77294 w 322"/>
              <a:gd name="T25" fmla="*/ 115597 h 235"/>
              <a:gd name="T26" fmla="*/ 103059 w 322"/>
              <a:gd name="T27" fmla="*/ 115597 h 235"/>
              <a:gd name="T28" fmla="*/ 116272 w 322"/>
              <a:gd name="T29" fmla="*/ 115597 h 235"/>
              <a:gd name="T30" fmla="*/ 128824 w 322"/>
              <a:gd name="T31" fmla="*/ 115597 h 235"/>
              <a:gd name="T32" fmla="*/ 154589 w 322"/>
              <a:gd name="T33" fmla="*/ 127405 h 235"/>
              <a:gd name="T34" fmla="*/ 180354 w 322"/>
              <a:gd name="T35" fmla="*/ 146050 h 235"/>
              <a:gd name="T36" fmla="*/ 193567 w 322"/>
              <a:gd name="T37" fmla="*/ 133620 h 235"/>
              <a:gd name="T38" fmla="*/ 212725 w 322"/>
              <a:gd name="T39" fmla="*/ 127405 h 235"/>
              <a:gd name="T40" fmla="*/ 212725 w 322"/>
              <a:gd name="T41" fmla="*/ 115597 h 235"/>
              <a:gd name="T42" fmla="*/ 212725 w 322"/>
              <a:gd name="T43" fmla="*/ 85144 h 235"/>
              <a:gd name="T44" fmla="*/ 199512 w 322"/>
              <a:gd name="T45" fmla="*/ 72714 h 235"/>
              <a:gd name="T46" fmla="*/ 180354 w 322"/>
              <a:gd name="T47" fmla="*/ 78929 h 235"/>
              <a:gd name="T48" fmla="*/ 167802 w 322"/>
              <a:gd name="T49" fmla="*/ 67121 h 235"/>
              <a:gd name="T50" fmla="*/ 147983 w 322"/>
              <a:gd name="T51" fmla="*/ 54691 h 235"/>
              <a:gd name="T52" fmla="*/ 135431 w 322"/>
              <a:gd name="T53" fmla="*/ 42883 h 235"/>
              <a:gd name="T54" fmla="*/ 128824 w 322"/>
              <a:gd name="T55" fmla="*/ 24238 h 235"/>
              <a:gd name="T56" fmla="*/ 122218 w 322"/>
              <a:gd name="T57" fmla="*/ 12430 h 235"/>
              <a:gd name="T58" fmla="*/ 109666 w 322"/>
              <a:gd name="T59" fmla="*/ 0 h 235"/>
              <a:gd name="T60" fmla="*/ 96453 w 322"/>
              <a:gd name="T61" fmla="*/ 24238 h 235"/>
              <a:gd name="T62" fmla="*/ 77294 w 322"/>
              <a:gd name="T63" fmla="*/ 24238 h 235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322"/>
              <a:gd name="T97" fmla="*/ 0 h 235"/>
              <a:gd name="T98" fmla="*/ 322 w 322"/>
              <a:gd name="T99" fmla="*/ 235 h 235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322" h="235">
                <a:moveTo>
                  <a:pt x="88" y="30"/>
                </a:moveTo>
                <a:lnTo>
                  <a:pt x="78" y="69"/>
                </a:lnTo>
                <a:lnTo>
                  <a:pt x="68" y="69"/>
                </a:lnTo>
                <a:lnTo>
                  <a:pt x="68" y="88"/>
                </a:lnTo>
                <a:lnTo>
                  <a:pt x="59" y="108"/>
                </a:lnTo>
                <a:lnTo>
                  <a:pt x="68" y="108"/>
                </a:lnTo>
                <a:lnTo>
                  <a:pt x="68" y="137"/>
                </a:lnTo>
                <a:lnTo>
                  <a:pt x="59" y="137"/>
                </a:lnTo>
                <a:lnTo>
                  <a:pt x="59" y="156"/>
                </a:lnTo>
                <a:lnTo>
                  <a:pt x="39" y="147"/>
                </a:lnTo>
                <a:lnTo>
                  <a:pt x="29" y="176"/>
                </a:lnTo>
                <a:lnTo>
                  <a:pt x="0" y="176"/>
                </a:lnTo>
                <a:lnTo>
                  <a:pt x="10" y="186"/>
                </a:lnTo>
                <a:lnTo>
                  <a:pt x="20" y="186"/>
                </a:lnTo>
                <a:lnTo>
                  <a:pt x="20" y="205"/>
                </a:lnTo>
                <a:lnTo>
                  <a:pt x="49" y="215"/>
                </a:lnTo>
                <a:lnTo>
                  <a:pt x="68" y="215"/>
                </a:lnTo>
                <a:lnTo>
                  <a:pt x="68" y="235"/>
                </a:lnTo>
                <a:lnTo>
                  <a:pt x="98" y="235"/>
                </a:lnTo>
                <a:lnTo>
                  <a:pt x="107" y="235"/>
                </a:lnTo>
                <a:lnTo>
                  <a:pt x="107" y="215"/>
                </a:lnTo>
                <a:lnTo>
                  <a:pt x="98" y="215"/>
                </a:lnTo>
                <a:lnTo>
                  <a:pt x="98" y="205"/>
                </a:lnTo>
                <a:lnTo>
                  <a:pt x="117" y="205"/>
                </a:lnTo>
                <a:lnTo>
                  <a:pt x="117" y="186"/>
                </a:lnTo>
                <a:lnTo>
                  <a:pt x="127" y="186"/>
                </a:lnTo>
                <a:lnTo>
                  <a:pt x="156" y="186"/>
                </a:lnTo>
                <a:lnTo>
                  <a:pt x="176" y="186"/>
                </a:lnTo>
                <a:lnTo>
                  <a:pt x="176" y="176"/>
                </a:lnTo>
                <a:lnTo>
                  <a:pt x="195" y="186"/>
                </a:lnTo>
                <a:lnTo>
                  <a:pt x="215" y="196"/>
                </a:lnTo>
                <a:lnTo>
                  <a:pt x="234" y="205"/>
                </a:lnTo>
                <a:lnTo>
                  <a:pt x="254" y="235"/>
                </a:lnTo>
                <a:lnTo>
                  <a:pt x="273" y="235"/>
                </a:lnTo>
                <a:lnTo>
                  <a:pt x="273" y="215"/>
                </a:lnTo>
                <a:lnTo>
                  <a:pt x="293" y="215"/>
                </a:lnTo>
                <a:lnTo>
                  <a:pt x="312" y="215"/>
                </a:lnTo>
                <a:lnTo>
                  <a:pt x="322" y="205"/>
                </a:lnTo>
                <a:lnTo>
                  <a:pt x="322" y="196"/>
                </a:lnTo>
                <a:lnTo>
                  <a:pt x="322" y="186"/>
                </a:lnTo>
                <a:lnTo>
                  <a:pt x="322" y="156"/>
                </a:lnTo>
                <a:lnTo>
                  <a:pt x="322" y="137"/>
                </a:lnTo>
                <a:lnTo>
                  <a:pt x="322" y="127"/>
                </a:lnTo>
                <a:lnTo>
                  <a:pt x="302" y="117"/>
                </a:lnTo>
                <a:lnTo>
                  <a:pt x="283" y="117"/>
                </a:lnTo>
                <a:lnTo>
                  <a:pt x="273" y="127"/>
                </a:lnTo>
                <a:lnTo>
                  <a:pt x="263" y="117"/>
                </a:lnTo>
                <a:lnTo>
                  <a:pt x="254" y="108"/>
                </a:lnTo>
                <a:lnTo>
                  <a:pt x="244" y="88"/>
                </a:lnTo>
                <a:lnTo>
                  <a:pt x="224" y="88"/>
                </a:lnTo>
                <a:lnTo>
                  <a:pt x="224" y="69"/>
                </a:lnTo>
                <a:lnTo>
                  <a:pt x="205" y="69"/>
                </a:lnTo>
                <a:lnTo>
                  <a:pt x="185" y="69"/>
                </a:lnTo>
                <a:lnTo>
                  <a:pt x="195" y="39"/>
                </a:lnTo>
                <a:lnTo>
                  <a:pt x="195" y="30"/>
                </a:lnTo>
                <a:lnTo>
                  <a:pt x="185" y="20"/>
                </a:lnTo>
                <a:lnTo>
                  <a:pt x="185" y="10"/>
                </a:lnTo>
                <a:lnTo>
                  <a:pt x="166" y="0"/>
                </a:lnTo>
                <a:lnTo>
                  <a:pt x="166" y="20"/>
                </a:lnTo>
                <a:lnTo>
                  <a:pt x="146" y="39"/>
                </a:lnTo>
                <a:lnTo>
                  <a:pt x="127" y="49"/>
                </a:lnTo>
                <a:lnTo>
                  <a:pt x="117" y="39"/>
                </a:lnTo>
                <a:lnTo>
                  <a:pt x="88" y="30"/>
                </a:lnTo>
                <a:close/>
              </a:path>
            </a:pathLst>
          </a:custGeom>
          <a:solidFill>
            <a:srgbClr val="DEC2B3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88" name="Freeform 351"/>
          <p:cNvSpPr>
            <a:spLocks noChangeAspect="1"/>
          </p:cNvSpPr>
          <p:nvPr>
            <p:custDataLst>
              <p:tags r:id="rId54"/>
            </p:custDataLst>
          </p:nvPr>
        </p:nvSpPr>
        <p:spPr bwMode="auto">
          <a:xfrm>
            <a:off x="2982913" y="4421188"/>
            <a:ext cx="236537" cy="174625"/>
          </a:xfrm>
          <a:custGeom>
            <a:avLst/>
            <a:gdLst>
              <a:gd name="T0" fmla="*/ 12804 w 351"/>
              <a:gd name="T1" fmla="*/ 36406 h 283"/>
              <a:gd name="T2" fmla="*/ 12804 w 351"/>
              <a:gd name="T3" fmla="*/ 24065 h 283"/>
              <a:gd name="T4" fmla="*/ 6739 w 351"/>
              <a:gd name="T5" fmla="*/ 17894 h 283"/>
              <a:gd name="T6" fmla="*/ 19543 w 351"/>
              <a:gd name="T7" fmla="*/ 6170 h 283"/>
              <a:gd name="T8" fmla="*/ 45825 w 351"/>
              <a:gd name="T9" fmla="*/ 0 h 283"/>
              <a:gd name="T10" fmla="*/ 59303 w 351"/>
              <a:gd name="T11" fmla="*/ 6170 h 283"/>
              <a:gd name="T12" fmla="*/ 72107 w 351"/>
              <a:gd name="T13" fmla="*/ 0 h 283"/>
              <a:gd name="T14" fmla="*/ 98389 w 351"/>
              <a:gd name="T15" fmla="*/ 17894 h 283"/>
              <a:gd name="T16" fmla="*/ 124670 w 351"/>
              <a:gd name="T17" fmla="*/ 36406 h 283"/>
              <a:gd name="T18" fmla="*/ 138148 w 351"/>
              <a:gd name="T19" fmla="*/ 24065 h 283"/>
              <a:gd name="T20" fmla="*/ 157691 w 351"/>
              <a:gd name="T21" fmla="*/ 17894 h 283"/>
              <a:gd name="T22" fmla="*/ 164430 w 351"/>
              <a:gd name="T23" fmla="*/ 0 h 283"/>
              <a:gd name="T24" fmla="*/ 170495 w 351"/>
              <a:gd name="T25" fmla="*/ 24065 h 283"/>
              <a:gd name="T26" fmla="*/ 183973 w 351"/>
              <a:gd name="T27" fmla="*/ 36406 h 283"/>
              <a:gd name="T28" fmla="*/ 196777 w 351"/>
              <a:gd name="T29" fmla="*/ 24065 h 283"/>
              <a:gd name="T30" fmla="*/ 216994 w 351"/>
              <a:gd name="T31" fmla="*/ 36406 h 283"/>
              <a:gd name="T32" fmla="*/ 216994 w 351"/>
              <a:gd name="T33" fmla="*/ 72195 h 283"/>
              <a:gd name="T34" fmla="*/ 236537 w 351"/>
              <a:gd name="T35" fmla="*/ 72195 h 283"/>
              <a:gd name="T36" fmla="*/ 229798 w 351"/>
              <a:gd name="T37" fmla="*/ 78365 h 283"/>
              <a:gd name="T38" fmla="*/ 216994 w 351"/>
              <a:gd name="T39" fmla="*/ 102430 h 283"/>
              <a:gd name="T40" fmla="*/ 183973 w 351"/>
              <a:gd name="T41" fmla="*/ 114154 h 283"/>
              <a:gd name="T42" fmla="*/ 177234 w 351"/>
              <a:gd name="T43" fmla="*/ 138219 h 283"/>
              <a:gd name="T44" fmla="*/ 150952 w 351"/>
              <a:gd name="T45" fmla="*/ 144390 h 283"/>
              <a:gd name="T46" fmla="*/ 117932 w 351"/>
              <a:gd name="T47" fmla="*/ 156731 h 283"/>
              <a:gd name="T48" fmla="*/ 105128 w 351"/>
              <a:gd name="T49" fmla="*/ 156731 h 283"/>
              <a:gd name="T50" fmla="*/ 91650 w 351"/>
              <a:gd name="T51" fmla="*/ 174625 h 283"/>
              <a:gd name="T52" fmla="*/ 52564 w 351"/>
              <a:gd name="T53" fmla="*/ 174625 h 283"/>
              <a:gd name="T54" fmla="*/ 33021 w 351"/>
              <a:gd name="T55" fmla="*/ 144390 h 283"/>
              <a:gd name="T56" fmla="*/ 26282 w 351"/>
              <a:gd name="T57" fmla="*/ 120325 h 283"/>
              <a:gd name="T58" fmla="*/ 19543 w 351"/>
              <a:gd name="T59" fmla="*/ 96260 h 283"/>
              <a:gd name="T60" fmla="*/ 26282 w 351"/>
              <a:gd name="T61" fmla="*/ 90089 h 283"/>
              <a:gd name="T62" fmla="*/ 12804 w 351"/>
              <a:gd name="T63" fmla="*/ 78365 h 283"/>
              <a:gd name="T64" fmla="*/ 19543 w 351"/>
              <a:gd name="T65" fmla="*/ 66024 h 283"/>
              <a:gd name="T66" fmla="*/ 19543 w 351"/>
              <a:gd name="T67" fmla="*/ 60471 h 283"/>
              <a:gd name="T68" fmla="*/ 0 w 351"/>
              <a:gd name="T69" fmla="*/ 36406 h 283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351"/>
              <a:gd name="T106" fmla="*/ 0 h 283"/>
              <a:gd name="T107" fmla="*/ 351 w 351"/>
              <a:gd name="T108" fmla="*/ 283 h 283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351" h="283">
                <a:moveTo>
                  <a:pt x="0" y="59"/>
                </a:moveTo>
                <a:lnTo>
                  <a:pt x="19" y="59"/>
                </a:lnTo>
                <a:lnTo>
                  <a:pt x="19" y="39"/>
                </a:lnTo>
                <a:lnTo>
                  <a:pt x="10" y="39"/>
                </a:lnTo>
                <a:lnTo>
                  <a:pt x="10" y="29"/>
                </a:lnTo>
                <a:lnTo>
                  <a:pt x="29" y="20"/>
                </a:lnTo>
                <a:lnTo>
                  <a:pt x="29" y="10"/>
                </a:lnTo>
                <a:lnTo>
                  <a:pt x="39" y="0"/>
                </a:lnTo>
                <a:lnTo>
                  <a:pt x="68" y="0"/>
                </a:lnTo>
                <a:lnTo>
                  <a:pt x="68" y="10"/>
                </a:lnTo>
                <a:lnTo>
                  <a:pt x="88" y="10"/>
                </a:lnTo>
                <a:lnTo>
                  <a:pt x="88" y="0"/>
                </a:lnTo>
                <a:lnTo>
                  <a:pt x="107" y="0"/>
                </a:lnTo>
                <a:lnTo>
                  <a:pt x="127" y="20"/>
                </a:lnTo>
                <a:lnTo>
                  <a:pt x="146" y="29"/>
                </a:lnTo>
                <a:lnTo>
                  <a:pt x="166" y="59"/>
                </a:lnTo>
                <a:lnTo>
                  <a:pt x="185" y="59"/>
                </a:lnTo>
                <a:lnTo>
                  <a:pt x="185" y="39"/>
                </a:lnTo>
                <a:lnTo>
                  <a:pt x="205" y="39"/>
                </a:lnTo>
                <a:lnTo>
                  <a:pt x="224" y="39"/>
                </a:lnTo>
                <a:lnTo>
                  <a:pt x="234" y="29"/>
                </a:lnTo>
                <a:lnTo>
                  <a:pt x="244" y="20"/>
                </a:lnTo>
                <a:lnTo>
                  <a:pt x="244" y="0"/>
                </a:lnTo>
                <a:lnTo>
                  <a:pt x="244" y="20"/>
                </a:lnTo>
                <a:lnTo>
                  <a:pt x="253" y="39"/>
                </a:lnTo>
                <a:lnTo>
                  <a:pt x="273" y="39"/>
                </a:lnTo>
                <a:lnTo>
                  <a:pt x="273" y="59"/>
                </a:lnTo>
                <a:lnTo>
                  <a:pt x="292" y="59"/>
                </a:lnTo>
                <a:lnTo>
                  <a:pt x="292" y="39"/>
                </a:lnTo>
                <a:lnTo>
                  <a:pt x="312" y="49"/>
                </a:lnTo>
                <a:lnTo>
                  <a:pt x="322" y="59"/>
                </a:lnTo>
                <a:lnTo>
                  <a:pt x="322" y="88"/>
                </a:lnTo>
                <a:lnTo>
                  <a:pt x="322" y="117"/>
                </a:lnTo>
                <a:lnTo>
                  <a:pt x="341" y="107"/>
                </a:lnTo>
                <a:lnTo>
                  <a:pt x="351" y="117"/>
                </a:lnTo>
                <a:lnTo>
                  <a:pt x="351" y="127"/>
                </a:lnTo>
                <a:lnTo>
                  <a:pt x="341" y="127"/>
                </a:lnTo>
                <a:lnTo>
                  <a:pt x="331" y="137"/>
                </a:lnTo>
                <a:lnTo>
                  <a:pt x="322" y="166"/>
                </a:lnTo>
                <a:lnTo>
                  <a:pt x="302" y="176"/>
                </a:lnTo>
                <a:lnTo>
                  <a:pt x="273" y="185"/>
                </a:lnTo>
                <a:lnTo>
                  <a:pt x="273" y="195"/>
                </a:lnTo>
                <a:lnTo>
                  <a:pt x="263" y="224"/>
                </a:lnTo>
                <a:lnTo>
                  <a:pt x="253" y="234"/>
                </a:lnTo>
                <a:lnTo>
                  <a:pt x="224" y="234"/>
                </a:lnTo>
                <a:lnTo>
                  <a:pt x="195" y="234"/>
                </a:lnTo>
                <a:lnTo>
                  <a:pt x="175" y="254"/>
                </a:lnTo>
                <a:lnTo>
                  <a:pt x="166" y="244"/>
                </a:lnTo>
                <a:lnTo>
                  <a:pt x="156" y="254"/>
                </a:lnTo>
                <a:lnTo>
                  <a:pt x="156" y="263"/>
                </a:lnTo>
                <a:lnTo>
                  <a:pt x="136" y="283"/>
                </a:lnTo>
                <a:lnTo>
                  <a:pt x="107" y="283"/>
                </a:lnTo>
                <a:lnTo>
                  <a:pt x="78" y="283"/>
                </a:lnTo>
                <a:lnTo>
                  <a:pt x="58" y="283"/>
                </a:lnTo>
                <a:lnTo>
                  <a:pt x="49" y="234"/>
                </a:lnTo>
                <a:lnTo>
                  <a:pt x="39" y="205"/>
                </a:lnTo>
                <a:lnTo>
                  <a:pt x="39" y="195"/>
                </a:lnTo>
                <a:lnTo>
                  <a:pt x="39" y="156"/>
                </a:lnTo>
                <a:lnTo>
                  <a:pt x="29" y="156"/>
                </a:lnTo>
                <a:lnTo>
                  <a:pt x="29" y="146"/>
                </a:lnTo>
                <a:lnTo>
                  <a:pt x="39" y="146"/>
                </a:lnTo>
                <a:lnTo>
                  <a:pt x="39" y="137"/>
                </a:lnTo>
                <a:lnTo>
                  <a:pt x="19" y="127"/>
                </a:lnTo>
                <a:lnTo>
                  <a:pt x="29" y="107"/>
                </a:lnTo>
                <a:lnTo>
                  <a:pt x="19" y="98"/>
                </a:lnTo>
                <a:lnTo>
                  <a:pt x="29" y="98"/>
                </a:lnTo>
                <a:lnTo>
                  <a:pt x="10" y="78"/>
                </a:lnTo>
                <a:lnTo>
                  <a:pt x="0" y="59"/>
                </a:lnTo>
                <a:close/>
              </a:path>
            </a:pathLst>
          </a:custGeom>
          <a:solidFill>
            <a:srgbClr val="DEC2B3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89" name="Freeform 350"/>
          <p:cNvSpPr>
            <a:spLocks noChangeAspect="1"/>
          </p:cNvSpPr>
          <p:nvPr>
            <p:custDataLst>
              <p:tags r:id="rId55"/>
            </p:custDataLst>
          </p:nvPr>
        </p:nvSpPr>
        <p:spPr bwMode="auto">
          <a:xfrm>
            <a:off x="2716213" y="4324350"/>
            <a:ext cx="306387" cy="307975"/>
          </a:xfrm>
          <a:custGeom>
            <a:avLst/>
            <a:gdLst>
              <a:gd name="T0" fmla="*/ 215407 w 458"/>
              <a:gd name="T1" fmla="*/ 102865 h 497"/>
              <a:gd name="T2" fmla="*/ 222097 w 458"/>
              <a:gd name="T3" fmla="*/ 114639 h 497"/>
              <a:gd name="T4" fmla="*/ 254208 w 458"/>
              <a:gd name="T5" fmla="*/ 120835 h 497"/>
              <a:gd name="T6" fmla="*/ 267587 w 458"/>
              <a:gd name="T7" fmla="*/ 138806 h 497"/>
              <a:gd name="T8" fmla="*/ 286987 w 458"/>
              <a:gd name="T9" fmla="*/ 157396 h 497"/>
              <a:gd name="T10" fmla="*/ 286987 w 458"/>
              <a:gd name="T11" fmla="*/ 169169 h 497"/>
              <a:gd name="T12" fmla="*/ 280297 w 458"/>
              <a:gd name="T13" fmla="*/ 175366 h 497"/>
              <a:gd name="T14" fmla="*/ 286987 w 458"/>
              <a:gd name="T15" fmla="*/ 187140 h 497"/>
              <a:gd name="T16" fmla="*/ 286987 w 458"/>
              <a:gd name="T17" fmla="*/ 199533 h 497"/>
              <a:gd name="T18" fmla="*/ 293677 w 458"/>
              <a:gd name="T19" fmla="*/ 217503 h 497"/>
              <a:gd name="T20" fmla="*/ 300366 w 458"/>
              <a:gd name="T21" fmla="*/ 247867 h 497"/>
              <a:gd name="T22" fmla="*/ 293677 w 458"/>
              <a:gd name="T23" fmla="*/ 278231 h 497"/>
              <a:gd name="T24" fmla="*/ 286987 w 458"/>
              <a:gd name="T25" fmla="*/ 272034 h 497"/>
              <a:gd name="T26" fmla="*/ 260897 w 458"/>
              <a:gd name="T27" fmla="*/ 278231 h 497"/>
              <a:gd name="T28" fmla="*/ 234808 w 458"/>
              <a:gd name="T29" fmla="*/ 272034 h 497"/>
              <a:gd name="T30" fmla="*/ 228118 w 458"/>
              <a:gd name="T31" fmla="*/ 265838 h 497"/>
              <a:gd name="T32" fmla="*/ 215407 w 458"/>
              <a:gd name="T33" fmla="*/ 272034 h 497"/>
              <a:gd name="T34" fmla="*/ 189318 w 458"/>
              <a:gd name="T35" fmla="*/ 272034 h 497"/>
              <a:gd name="T36" fmla="*/ 182628 w 458"/>
              <a:gd name="T37" fmla="*/ 272034 h 497"/>
              <a:gd name="T38" fmla="*/ 169918 w 458"/>
              <a:gd name="T39" fmla="*/ 259641 h 497"/>
              <a:gd name="T40" fmla="*/ 156538 w 458"/>
              <a:gd name="T41" fmla="*/ 265838 h 497"/>
              <a:gd name="T42" fmla="*/ 143828 w 458"/>
              <a:gd name="T43" fmla="*/ 290005 h 497"/>
              <a:gd name="T44" fmla="*/ 143828 w 458"/>
              <a:gd name="T45" fmla="*/ 307975 h 497"/>
              <a:gd name="T46" fmla="*/ 111049 w 458"/>
              <a:gd name="T47" fmla="*/ 290005 h 497"/>
              <a:gd name="T48" fmla="*/ 117738 w 458"/>
              <a:gd name="T49" fmla="*/ 272034 h 497"/>
              <a:gd name="T50" fmla="*/ 117738 w 458"/>
              <a:gd name="T51" fmla="*/ 241671 h 497"/>
              <a:gd name="T52" fmla="*/ 104359 w 458"/>
              <a:gd name="T53" fmla="*/ 235474 h 497"/>
              <a:gd name="T54" fmla="*/ 97669 w 458"/>
              <a:gd name="T55" fmla="*/ 223700 h 497"/>
              <a:gd name="T56" fmla="*/ 90980 w 458"/>
              <a:gd name="T57" fmla="*/ 217503 h 497"/>
              <a:gd name="T58" fmla="*/ 90980 w 458"/>
              <a:gd name="T59" fmla="*/ 193336 h 497"/>
              <a:gd name="T60" fmla="*/ 71579 w 458"/>
              <a:gd name="T61" fmla="*/ 199533 h 497"/>
              <a:gd name="T62" fmla="*/ 71579 w 458"/>
              <a:gd name="T63" fmla="*/ 181563 h 497"/>
              <a:gd name="T64" fmla="*/ 64890 w 458"/>
              <a:gd name="T65" fmla="*/ 169169 h 497"/>
              <a:gd name="T66" fmla="*/ 38800 w 458"/>
              <a:gd name="T67" fmla="*/ 162973 h 497"/>
              <a:gd name="T68" fmla="*/ 52179 w 458"/>
              <a:gd name="T69" fmla="*/ 145002 h 497"/>
              <a:gd name="T70" fmla="*/ 64890 w 458"/>
              <a:gd name="T71" fmla="*/ 109062 h 497"/>
              <a:gd name="T72" fmla="*/ 38800 w 458"/>
              <a:gd name="T73" fmla="*/ 96668 h 497"/>
              <a:gd name="T74" fmla="*/ 32779 w 458"/>
              <a:gd name="T75" fmla="*/ 84275 h 497"/>
              <a:gd name="T76" fmla="*/ 19400 w 458"/>
              <a:gd name="T77" fmla="*/ 78698 h 497"/>
              <a:gd name="T78" fmla="*/ 6690 w 458"/>
              <a:gd name="T79" fmla="*/ 72501 h 497"/>
              <a:gd name="T80" fmla="*/ 0 w 458"/>
              <a:gd name="T81" fmla="*/ 48334 h 497"/>
              <a:gd name="T82" fmla="*/ 12710 w 458"/>
              <a:gd name="T83" fmla="*/ 30364 h 497"/>
              <a:gd name="T84" fmla="*/ 26090 w 458"/>
              <a:gd name="T85" fmla="*/ 17970 h 497"/>
              <a:gd name="T86" fmla="*/ 45490 w 458"/>
              <a:gd name="T87" fmla="*/ 11774 h 497"/>
              <a:gd name="T88" fmla="*/ 58869 w 458"/>
              <a:gd name="T89" fmla="*/ 0 h 497"/>
              <a:gd name="T90" fmla="*/ 78269 w 458"/>
              <a:gd name="T91" fmla="*/ 0 h 497"/>
              <a:gd name="T92" fmla="*/ 97669 w 458"/>
              <a:gd name="T93" fmla="*/ 24167 h 497"/>
              <a:gd name="T94" fmla="*/ 130449 w 458"/>
              <a:gd name="T95" fmla="*/ 35941 h 497"/>
              <a:gd name="T96" fmla="*/ 130449 w 458"/>
              <a:gd name="T97" fmla="*/ 54531 h 497"/>
              <a:gd name="T98" fmla="*/ 143828 w 458"/>
              <a:gd name="T99" fmla="*/ 60108 h 497"/>
              <a:gd name="T100" fmla="*/ 163228 w 458"/>
              <a:gd name="T101" fmla="*/ 72501 h 497"/>
              <a:gd name="T102" fmla="*/ 175938 w 458"/>
              <a:gd name="T103" fmla="*/ 90472 h 497"/>
              <a:gd name="T104" fmla="*/ 202028 w 458"/>
              <a:gd name="T105" fmla="*/ 90472 h 497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458"/>
              <a:gd name="T160" fmla="*/ 0 h 497"/>
              <a:gd name="T161" fmla="*/ 458 w 458"/>
              <a:gd name="T162" fmla="*/ 497 h 497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458" h="497">
                <a:moveTo>
                  <a:pt x="312" y="156"/>
                </a:moveTo>
                <a:lnTo>
                  <a:pt x="322" y="166"/>
                </a:lnTo>
                <a:lnTo>
                  <a:pt x="332" y="176"/>
                </a:lnTo>
                <a:lnTo>
                  <a:pt x="332" y="185"/>
                </a:lnTo>
                <a:lnTo>
                  <a:pt x="361" y="205"/>
                </a:lnTo>
                <a:lnTo>
                  <a:pt x="380" y="195"/>
                </a:lnTo>
                <a:lnTo>
                  <a:pt x="380" y="215"/>
                </a:lnTo>
                <a:lnTo>
                  <a:pt x="400" y="224"/>
                </a:lnTo>
                <a:lnTo>
                  <a:pt x="410" y="234"/>
                </a:lnTo>
                <a:lnTo>
                  <a:pt x="429" y="254"/>
                </a:lnTo>
                <a:lnTo>
                  <a:pt x="419" y="263"/>
                </a:lnTo>
                <a:lnTo>
                  <a:pt x="429" y="273"/>
                </a:lnTo>
                <a:lnTo>
                  <a:pt x="419" y="283"/>
                </a:lnTo>
                <a:lnTo>
                  <a:pt x="429" y="293"/>
                </a:lnTo>
                <a:lnTo>
                  <a:pt x="429" y="302"/>
                </a:lnTo>
                <a:lnTo>
                  <a:pt x="429" y="322"/>
                </a:lnTo>
                <a:lnTo>
                  <a:pt x="439" y="322"/>
                </a:lnTo>
                <a:lnTo>
                  <a:pt x="439" y="351"/>
                </a:lnTo>
                <a:lnTo>
                  <a:pt x="439" y="361"/>
                </a:lnTo>
                <a:lnTo>
                  <a:pt x="449" y="400"/>
                </a:lnTo>
                <a:lnTo>
                  <a:pt x="458" y="439"/>
                </a:lnTo>
                <a:lnTo>
                  <a:pt x="439" y="449"/>
                </a:lnTo>
                <a:lnTo>
                  <a:pt x="439" y="439"/>
                </a:lnTo>
                <a:lnTo>
                  <a:pt x="429" y="439"/>
                </a:lnTo>
                <a:lnTo>
                  <a:pt x="419" y="449"/>
                </a:lnTo>
                <a:lnTo>
                  <a:pt x="390" y="449"/>
                </a:lnTo>
                <a:lnTo>
                  <a:pt x="380" y="439"/>
                </a:lnTo>
                <a:lnTo>
                  <a:pt x="351" y="439"/>
                </a:lnTo>
                <a:lnTo>
                  <a:pt x="341" y="439"/>
                </a:lnTo>
                <a:lnTo>
                  <a:pt x="341" y="429"/>
                </a:lnTo>
                <a:lnTo>
                  <a:pt x="332" y="429"/>
                </a:lnTo>
                <a:lnTo>
                  <a:pt x="322" y="439"/>
                </a:lnTo>
                <a:lnTo>
                  <a:pt x="312" y="439"/>
                </a:lnTo>
                <a:lnTo>
                  <a:pt x="283" y="439"/>
                </a:lnTo>
                <a:lnTo>
                  <a:pt x="273" y="439"/>
                </a:lnTo>
                <a:lnTo>
                  <a:pt x="254" y="439"/>
                </a:lnTo>
                <a:lnTo>
                  <a:pt x="254" y="419"/>
                </a:lnTo>
                <a:lnTo>
                  <a:pt x="234" y="429"/>
                </a:lnTo>
                <a:lnTo>
                  <a:pt x="224" y="439"/>
                </a:lnTo>
                <a:lnTo>
                  <a:pt x="215" y="468"/>
                </a:lnTo>
                <a:lnTo>
                  <a:pt x="205" y="468"/>
                </a:lnTo>
                <a:lnTo>
                  <a:pt x="215" y="497"/>
                </a:lnTo>
                <a:lnTo>
                  <a:pt x="166" y="478"/>
                </a:lnTo>
                <a:lnTo>
                  <a:pt x="166" y="468"/>
                </a:lnTo>
                <a:lnTo>
                  <a:pt x="176" y="458"/>
                </a:lnTo>
                <a:lnTo>
                  <a:pt x="176" y="439"/>
                </a:lnTo>
                <a:lnTo>
                  <a:pt x="176" y="410"/>
                </a:lnTo>
                <a:lnTo>
                  <a:pt x="176" y="390"/>
                </a:lnTo>
                <a:lnTo>
                  <a:pt x="166" y="380"/>
                </a:lnTo>
                <a:lnTo>
                  <a:pt x="156" y="380"/>
                </a:lnTo>
                <a:lnTo>
                  <a:pt x="146" y="371"/>
                </a:lnTo>
                <a:lnTo>
                  <a:pt x="146" y="361"/>
                </a:lnTo>
                <a:lnTo>
                  <a:pt x="146" y="351"/>
                </a:lnTo>
                <a:lnTo>
                  <a:pt x="136" y="351"/>
                </a:lnTo>
                <a:lnTo>
                  <a:pt x="146" y="332"/>
                </a:lnTo>
                <a:lnTo>
                  <a:pt x="136" y="312"/>
                </a:lnTo>
                <a:lnTo>
                  <a:pt x="117" y="322"/>
                </a:lnTo>
                <a:lnTo>
                  <a:pt x="107" y="322"/>
                </a:lnTo>
                <a:lnTo>
                  <a:pt x="97" y="302"/>
                </a:lnTo>
                <a:lnTo>
                  <a:pt x="107" y="293"/>
                </a:lnTo>
                <a:lnTo>
                  <a:pt x="107" y="283"/>
                </a:lnTo>
                <a:lnTo>
                  <a:pt x="97" y="273"/>
                </a:lnTo>
                <a:lnTo>
                  <a:pt x="78" y="283"/>
                </a:lnTo>
                <a:lnTo>
                  <a:pt x="58" y="263"/>
                </a:lnTo>
                <a:lnTo>
                  <a:pt x="58" y="254"/>
                </a:lnTo>
                <a:lnTo>
                  <a:pt x="78" y="234"/>
                </a:lnTo>
                <a:lnTo>
                  <a:pt x="107" y="195"/>
                </a:lnTo>
                <a:lnTo>
                  <a:pt x="97" y="176"/>
                </a:lnTo>
                <a:lnTo>
                  <a:pt x="68" y="146"/>
                </a:lnTo>
                <a:lnTo>
                  <a:pt x="58" y="156"/>
                </a:lnTo>
                <a:lnTo>
                  <a:pt x="39" y="146"/>
                </a:lnTo>
                <a:lnTo>
                  <a:pt x="49" y="136"/>
                </a:lnTo>
                <a:lnTo>
                  <a:pt x="58" y="136"/>
                </a:lnTo>
                <a:lnTo>
                  <a:pt x="29" y="127"/>
                </a:lnTo>
                <a:lnTo>
                  <a:pt x="19" y="127"/>
                </a:lnTo>
                <a:lnTo>
                  <a:pt x="10" y="117"/>
                </a:lnTo>
                <a:lnTo>
                  <a:pt x="10" y="97"/>
                </a:lnTo>
                <a:lnTo>
                  <a:pt x="0" y="78"/>
                </a:lnTo>
                <a:lnTo>
                  <a:pt x="19" y="58"/>
                </a:lnTo>
                <a:lnTo>
                  <a:pt x="19" y="49"/>
                </a:lnTo>
                <a:lnTo>
                  <a:pt x="29" y="29"/>
                </a:lnTo>
                <a:lnTo>
                  <a:pt x="39" y="29"/>
                </a:lnTo>
                <a:lnTo>
                  <a:pt x="58" y="29"/>
                </a:lnTo>
                <a:lnTo>
                  <a:pt x="68" y="19"/>
                </a:lnTo>
                <a:lnTo>
                  <a:pt x="78" y="19"/>
                </a:lnTo>
                <a:lnTo>
                  <a:pt x="88" y="0"/>
                </a:lnTo>
                <a:lnTo>
                  <a:pt x="107" y="0"/>
                </a:lnTo>
                <a:lnTo>
                  <a:pt x="117" y="0"/>
                </a:lnTo>
                <a:lnTo>
                  <a:pt x="117" y="29"/>
                </a:lnTo>
                <a:lnTo>
                  <a:pt x="146" y="39"/>
                </a:lnTo>
                <a:lnTo>
                  <a:pt x="166" y="68"/>
                </a:lnTo>
                <a:lnTo>
                  <a:pt x="195" y="58"/>
                </a:lnTo>
                <a:lnTo>
                  <a:pt x="205" y="78"/>
                </a:lnTo>
                <a:lnTo>
                  <a:pt x="195" y="88"/>
                </a:lnTo>
                <a:lnTo>
                  <a:pt x="195" y="107"/>
                </a:lnTo>
                <a:lnTo>
                  <a:pt x="215" y="97"/>
                </a:lnTo>
                <a:lnTo>
                  <a:pt x="224" y="117"/>
                </a:lnTo>
                <a:lnTo>
                  <a:pt x="244" y="117"/>
                </a:lnTo>
                <a:lnTo>
                  <a:pt x="254" y="146"/>
                </a:lnTo>
                <a:lnTo>
                  <a:pt x="263" y="146"/>
                </a:lnTo>
                <a:lnTo>
                  <a:pt x="273" y="127"/>
                </a:lnTo>
                <a:lnTo>
                  <a:pt x="302" y="146"/>
                </a:lnTo>
                <a:lnTo>
                  <a:pt x="312" y="156"/>
                </a:lnTo>
                <a:close/>
              </a:path>
            </a:pathLst>
          </a:custGeom>
          <a:solidFill>
            <a:srgbClr val="DEC2B3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90" name="Freeform 349"/>
          <p:cNvSpPr>
            <a:spLocks noChangeAspect="1"/>
          </p:cNvSpPr>
          <p:nvPr>
            <p:custDataLst>
              <p:tags r:id="rId56"/>
            </p:custDataLst>
          </p:nvPr>
        </p:nvSpPr>
        <p:spPr bwMode="auto">
          <a:xfrm>
            <a:off x="3624263" y="4391025"/>
            <a:ext cx="222250" cy="266700"/>
          </a:xfrm>
          <a:custGeom>
            <a:avLst/>
            <a:gdLst>
              <a:gd name="T0" fmla="*/ 143927 w 332"/>
              <a:gd name="T1" fmla="*/ 223904 h 430"/>
              <a:gd name="T2" fmla="*/ 156646 w 332"/>
              <a:gd name="T3" fmla="*/ 217702 h 430"/>
              <a:gd name="T4" fmla="*/ 163340 w 332"/>
              <a:gd name="T5" fmla="*/ 187930 h 430"/>
              <a:gd name="T6" fmla="*/ 176060 w 332"/>
              <a:gd name="T7" fmla="*/ 175526 h 430"/>
              <a:gd name="T8" fmla="*/ 189448 w 332"/>
              <a:gd name="T9" fmla="*/ 169324 h 430"/>
              <a:gd name="T10" fmla="*/ 208861 w 332"/>
              <a:gd name="T11" fmla="*/ 151337 h 430"/>
              <a:gd name="T12" fmla="*/ 215556 w 332"/>
              <a:gd name="T13" fmla="*/ 133350 h 430"/>
              <a:gd name="T14" fmla="*/ 202167 w 332"/>
              <a:gd name="T15" fmla="*/ 109161 h 430"/>
              <a:gd name="T16" fmla="*/ 215556 w 332"/>
              <a:gd name="T17" fmla="*/ 72567 h 430"/>
              <a:gd name="T18" fmla="*/ 182754 w 332"/>
              <a:gd name="T19" fmla="*/ 66985 h 430"/>
              <a:gd name="T20" fmla="*/ 182754 w 332"/>
              <a:gd name="T21" fmla="*/ 42796 h 430"/>
              <a:gd name="T22" fmla="*/ 176060 w 332"/>
              <a:gd name="T23" fmla="*/ 17987 h 430"/>
              <a:gd name="T24" fmla="*/ 156646 w 332"/>
              <a:gd name="T25" fmla="*/ 24189 h 430"/>
              <a:gd name="T26" fmla="*/ 143927 w 332"/>
              <a:gd name="T27" fmla="*/ 12405 h 430"/>
              <a:gd name="T28" fmla="*/ 130538 w 332"/>
              <a:gd name="T29" fmla="*/ 6202 h 430"/>
              <a:gd name="T30" fmla="*/ 117819 w 332"/>
              <a:gd name="T31" fmla="*/ 24189 h 430"/>
              <a:gd name="T32" fmla="*/ 123844 w 332"/>
              <a:gd name="T33" fmla="*/ 54580 h 430"/>
              <a:gd name="T34" fmla="*/ 117819 w 332"/>
              <a:gd name="T35" fmla="*/ 42796 h 430"/>
              <a:gd name="T36" fmla="*/ 104431 w 332"/>
              <a:gd name="T37" fmla="*/ 36594 h 430"/>
              <a:gd name="T38" fmla="*/ 78323 w 332"/>
              <a:gd name="T39" fmla="*/ 42796 h 430"/>
              <a:gd name="T40" fmla="*/ 65604 w 332"/>
              <a:gd name="T41" fmla="*/ 42796 h 430"/>
              <a:gd name="T42" fmla="*/ 45521 w 332"/>
              <a:gd name="T43" fmla="*/ 54580 h 430"/>
              <a:gd name="T44" fmla="*/ 39496 w 332"/>
              <a:gd name="T45" fmla="*/ 36594 h 430"/>
              <a:gd name="T46" fmla="*/ 32802 w 332"/>
              <a:gd name="T47" fmla="*/ 30391 h 430"/>
              <a:gd name="T48" fmla="*/ 19413 w 332"/>
              <a:gd name="T49" fmla="*/ 17987 h 430"/>
              <a:gd name="T50" fmla="*/ 6694 w 332"/>
              <a:gd name="T51" fmla="*/ 17987 h 430"/>
              <a:gd name="T52" fmla="*/ 6694 w 332"/>
              <a:gd name="T53" fmla="*/ 30391 h 430"/>
              <a:gd name="T54" fmla="*/ 6694 w 332"/>
              <a:gd name="T55" fmla="*/ 54580 h 430"/>
              <a:gd name="T56" fmla="*/ 0 w 332"/>
              <a:gd name="T57" fmla="*/ 78770 h 430"/>
              <a:gd name="T58" fmla="*/ 6694 w 332"/>
              <a:gd name="T59" fmla="*/ 102959 h 430"/>
              <a:gd name="T60" fmla="*/ 13389 w 332"/>
              <a:gd name="T61" fmla="*/ 127148 h 430"/>
              <a:gd name="T62" fmla="*/ 13389 w 332"/>
              <a:gd name="T63" fmla="*/ 157539 h 430"/>
              <a:gd name="T64" fmla="*/ 13389 w 332"/>
              <a:gd name="T65" fmla="*/ 199715 h 430"/>
              <a:gd name="T66" fmla="*/ 6694 w 332"/>
              <a:gd name="T67" fmla="*/ 223904 h 430"/>
              <a:gd name="T68" fmla="*/ 26108 w 332"/>
              <a:gd name="T69" fmla="*/ 223904 h 430"/>
              <a:gd name="T70" fmla="*/ 39496 w 332"/>
              <a:gd name="T71" fmla="*/ 241891 h 430"/>
              <a:gd name="T72" fmla="*/ 58910 w 332"/>
              <a:gd name="T73" fmla="*/ 241891 h 430"/>
              <a:gd name="T74" fmla="*/ 85017 w 332"/>
              <a:gd name="T75" fmla="*/ 236309 h 430"/>
              <a:gd name="T76" fmla="*/ 91712 w 332"/>
              <a:gd name="T77" fmla="*/ 205917 h 430"/>
              <a:gd name="T78" fmla="*/ 97736 w 332"/>
              <a:gd name="T79" fmla="*/ 187930 h 430"/>
              <a:gd name="T80" fmla="*/ 71629 w 332"/>
              <a:gd name="T81" fmla="*/ 205917 h 430"/>
              <a:gd name="T82" fmla="*/ 45521 w 332"/>
              <a:gd name="T83" fmla="*/ 223904 h 430"/>
              <a:gd name="T84" fmla="*/ 39496 w 332"/>
              <a:gd name="T85" fmla="*/ 212120 h 430"/>
              <a:gd name="T86" fmla="*/ 45521 w 332"/>
              <a:gd name="T87" fmla="*/ 193513 h 430"/>
              <a:gd name="T88" fmla="*/ 58910 w 332"/>
              <a:gd name="T89" fmla="*/ 199715 h 430"/>
              <a:gd name="T90" fmla="*/ 71629 w 332"/>
              <a:gd name="T91" fmla="*/ 187930 h 430"/>
              <a:gd name="T92" fmla="*/ 97736 w 332"/>
              <a:gd name="T93" fmla="*/ 169324 h 430"/>
              <a:gd name="T94" fmla="*/ 85017 w 332"/>
              <a:gd name="T95" fmla="*/ 139552 h 430"/>
              <a:gd name="T96" fmla="*/ 65604 w 332"/>
              <a:gd name="T97" fmla="*/ 120945 h 430"/>
              <a:gd name="T98" fmla="*/ 65604 w 332"/>
              <a:gd name="T99" fmla="*/ 115363 h 430"/>
              <a:gd name="T100" fmla="*/ 91712 w 332"/>
              <a:gd name="T101" fmla="*/ 139552 h 430"/>
              <a:gd name="T102" fmla="*/ 111125 w 332"/>
              <a:gd name="T103" fmla="*/ 151337 h 430"/>
              <a:gd name="T104" fmla="*/ 117819 w 332"/>
              <a:gd name="T105" fmla="*/ 187930 h 430"/>
              <a:gd name="T106" fmla="*/ 97736 w 332"/>
              <a:gd name="T107" fmla="*/ 217702 h 430"/>
              <a:gd name="T108" fmla="*/ 97736 w 332"/>
              <a:gd name="T109" fmla="*/ 248093 h 430"/>
              <a:gd name="T110" fmla="*/ 111125 w 332"/>
              <a:gd name="T111" fmla="*/ 260498 h 430"/>
              <a:gd name="T112" fmla="*/ 143927 w 332"/>
              <a:gd name="T113" fmla="*/ 248093 h 43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332"/>
              <a:gd name="T172" fmla="*/ 0 h 430"/>
              <a:gd name="T173" fmla="*/ 332 w 332"/>
              <a:gd name="T174" fmla="*/ 430 h 430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332" h="430">
                <a:moveTo>
                  <a:pt x="215" y="400"/>
                </a:moveTo>
                <a:lnTo>
                  <a:pt x="205" y="381"/>
                </a:lnTo>
                <a:lnTo>
                  <a:pt x="215" y="361"/>
                </a:lnTo>
                <a:lnTo>
                  <a:pt x="224" y="371"/>
                </a:lnTo>
                <a:lnTo>
                  <a:pt x="244" y="361"/>
                </a:lnTo>
                <a:lnTo>
                  <a:pt x="234" y="351"/>
                </a:lnTo>
                <a:lnTo>
                  <a:pt x="244" y="322"/>
                </a:lnTo>
                <a:lnTo>
                  <a:pt x="254" y="312"/>
                </a:lnTo>
                <a:lnTo>
                  <a:pt x="244" y="303"/>
                </a:lnTo>
                <a:lnTo>
                  <a:pt x="254" y="303"/>
                </a:lnTo>
                <a:lnTo>
                  <a:pt x="254" y="283"/>
                </a:lnTo>
                <a:lnTo>
                  <a:pt x="263" y="283"/>
                </a:lnTo>
                <a:lnTo>
                  <a:pt x="263" y="264"/>
                </a:lnTo>
                <a:lnTo>
                  <a:pt x="283" y="264"/>
                </a:lnTo>
                <a:lnTo>
                  <a:pt x="283" y="273"/>
                </a:lnTo>
                <a:lnTo>
                  <a:pt x="302" y="273"/>
                </a:lnTo>
                <a:lnTo>
                  <a:pt x="312" y="264"/>
                </a:lnTo>
                <a:lnTo>
                  <a:pt x="312" y="244"/>
                </a:lnTo>
                <a:lnTo>
                  <a:pt x="322" y="244"/>
                </a:lnTo>
                <a:lnTo>
                  <a:pt x="332" y="234"/>
                </a:lnTo>
                <a:lnTo>
                  <a:pt x="322" y="215"/>
                </a:lnTo>
                <a:lnTo>
                  <a:pt x="302" y="195"/>
                </a:lnTo>
                <a:lnTo>
                  <a:pt x="302" y="176"/>
                </a:lnTo>
                <a:lnTo>
                  <a:pt x="312" y="156"/>
                </a:lnTo>
                <a:lnTo>
                  <a:pt x="322" y="147"/>
                </a:lnTo>
                <a:lnTo>
                  <a:pt x="322" y="117"/>
                </a:lnTo>
                <a:lnTo>
                  <a:pt x="302" y="88"/>
                </a:lnTo>
                <a:lnTo>
                  <a:pt x="293" y="98"/>
                </a:lnTo>
                <a:lnTo>
                  <a:pt x="273" y="108"/>
                </a:lnTo>
                <a:lnTo>
                  <a:pt x="263" y="98"/>
                </a:lnTo>
                <a:lnTo>
                  <a:pt x="263" y="78"/>
                </a:lnTo>
                <a:lnTo>
                  <a:pt x="273" y="69"/>
                </a:lnTo>
                <a:lnTo>
                  <a:pt x="273" y="49"/>
                </a:lnTo>
                <a:lnTo>
                  <a:pt x="263" y="39"/>
                </a:lnTo>
                <a:lnTo>
                  <a:pt x="263" y="29"/>
                </a:lnTo>
                <a:lnTo>
                  <a:pt x="244" y="29"/>
                </a:lnTo>
                <a:lnTo>
                  <a:pt x="244" y="49"/>
                </a:lnTo>
                <a:lnTo>
                  <a:pt x="234" y="39"/>
                </a:lnTo>
                <a:lnTo>
                  <a:pt x="234" y="29"/>
                </a:lnTo>
                <a:lnTo>
                  <a:pt x="224" y="29"/>
                </a:lnTo>
                <a:lnTo>
                  <a:pt x="215" y="20"/>
                </a:lnTo>
                <a:lnTo>
                  <a:pt x="205" y="10"/>
                </a:lnTo>
                <a:lnTo>
                  <a:pt x="205" y="0"/>
                </a:lnTo>
                <a:lnTo>
                  <a:pt x="195" y="10"/>
                </a:lnTo>
                <a:lnTo>
                  <a:pt x="185" y="20"/>
                </a:lnTo>
                <a:lnTo>
                  <a:pt x="176" y="29"/>
                </a:lnTo>
                <a:lnTo>
                  <a:pt x="176" y="39"/>
                </a:lnTo>
                <a:lnTo>
                  <a:pt x="185" y="59"/>
                </a:lnTo>
                <a:lnTo>
                  <a:pt x="185" y="78"/>
                </a:lnTo>
                <a:lnTo>
                  <a:pt x="185" y="88"/>
                </a:lnTo>
                <a:lnTo>
                  <a:pt x="176" y="88"/>
                </a:lnTo>
                <a:lnTo>
                  <a:pt x="176" y="78"/>
                </a:lnTo>
                <a:lnTo>
                  <a:pt x="176" y="69"/>
                </a:lnTo>
                <a:lnTo>
                  <a:pt x="166" y="69"/>
                </a:lnTo>
                <a:lnTo>
                  <a:pt x="156" y="69"/>
                </a:lnTo>
                <a:lnTo>
                  <a:pt x="156" y="59"/>
                </a:lnTo>
                <a:lnTo>
                  <a:pt x="146" y="59"/>
                </a:lnTo>
                <a:lnTo>
                  <a:pt x="137" y="59"/>
                </a:lnTo>
                <a:lnTo>
                  <a:pt x="117" y="69"/>
                </a:lnTo>
                <a:lnTo>
                  <a:pt x="107" y="59"/>
                </a:lnTo>
                <a:lnTo>
                  <a:pt x="98" y="59"/>
                </a:lnTo>
                <a:lnTo>
                  <a:pt x="98" y="69"/>
                </a:lnTo>
                <a:lnTo>
                  <a:pt x="88" y="88"/>
                </a:lnTo>
                <a:lnTo>
                  <a:pt x="78" y="88"/>
                </a:lnTo>
                <a:lnTo>
                  <a:pt x="68" y="88"/>
                </a:lnTo>
                <a:lnTo>
                  <a:pt x="68" y="78"/>
                </a:lnTo>
                <a:lnTo>
                  <a:pt x="59" y="69"/>
                </a:lnTo>
                <a:lnTo>
                  <a:pt x="59" y="59"/>
                </a:lnTo>
                <a:lnTo>
                  <a:pt x="39" y="59"/>
                </a:lnTo>
                <a:lnTo>
                  <a:pt x="49" y="49"/>
                </a:lnTo>
                <a:lnTo>
                  <a:pt x="39" y="39"/>
                </a:lnTo>
                <a:lnTo>
                  <a:pt x="39" y="29"/>
                </a:lnTo>
                <a:lnTo>
                  <a:pt x="29" y="29"/>
                </a:lnTo>
                <a:lnTo>
                  <a:pt x="29" y="39"/>
                </a:lnTo>
                <a:lnTo>
                  <a:pt x="20" y="39"/>
                </a:lnTo>
                <a:lnTo>
                  <a:pt x="10" y="29"/>
                </a:lnTo>
                <a:lnTo>
                  <a:pt x="0" y="29"/>
                </a:lnTo>
                <a:lnTo>
                  <a:pt x="10" y="49"/>
                </a:lnTo>
                <a:lnTo>
                  <a:pt x="10" y="69"/>
                </a:lnTo>
                <a:lnTo>
                  <a:pt x="10" y="88"/>
                </a:lnTo>
                <a:lnTo>
                  <a:pt x="10" y="98"/>
                </a:lnTo>
                <a:lnTo>
                  <a:pt x="0" y="108"/>
                </a:lnTo>
                <a:lnTo>
                  <a:pt x="0" y="127"/>
                </a:lnTo>
                <a:lnTo>
                  <a:pt x="10" y="137"/>
                </a:lnTo>
                <a:lnTo>
                  <a:pt x="10" y="166"/>
                </a:lnTo>
                <a:lnTo>
                  <a:pt x="10" y="176"/>
                </a:lnTo>
                <a:lnTo>
                  <a:pt x="10" y="195"/>
                </a:lnTo>
                <a:lnTo>
                  <a:pt x="20" y="205"/>
                </a:lnTo>
                <a:lnTo>
                  <a:pt x="29" y="225"/>
                </a:lnTo>
                <a:lnTo>
                  <a:pt x="20" y="234"/>
                </a:lnTo>
                <a:lnTo>
                  <a:pt x="20" y="254"/>
                </a:lnTo>
                <a:lnTo>
                  <a:pt x="20" y="273"/>
                </a:lnTo>
                <a:lnTo>
                  <a:pt x="20" y="283"/>
                </a:lnTo>
                <a:lnTo>
                  <a:pt x="20" y="322"/>
                </a:lnTo>
                <a:lnTo>
                  <a:pt x="20" y="342"/>
                </a:lnTo>
                <a:lnTo>
                  <a:pt x="10" y="351"/>
                </a:lnTo>
                <a:lnTo>
                  <a:pt x="10" y="361"/>
                </a:lnTo>
                <a:lnTo>
                  <a:pt x="10" y="371"/>
                </a:lnTo>
                <a:lnTo>
                  <a:pt x="20" y="361"/>
                </a:lnTo>
                <a:lnTo>
                  <a:pt x="39" y="361"/>
                </a:lnTo>
                <a:lnTo>
                  <a:pt x="49" y="371"/>
                </a:lnTo>
                <a:lnTo>
                  <a:pt x="49" y="381"/>
                </a:lnTo>
                <a:lnTo>
                  <a:pt x="59" y="390"/>
                </a:lnTo>
                <a:lnTo>
                  <a:pt x="59" y="400"/>
                </a:lnTo>
                <a:lnTo>
                  <a:pt x="68" y="410"/>
                </a:lnTo>
                <a:lnTo>
                  <a:pt x="88" y="390"/>
                </a:lnTo>
                <a:lnTo>
                  <a:pt x="107" y="390"/>
                </a:lnTo>
                <a:lnTo>
                  <a:pt x="127" y="381"/>
                </a:lnTo>
                <a:lnTo>
                  <a:pt x="137" y="351"/>
                </a:lnTo>
                <a:lnTo>
                  <a:pt x="137" y="342"/>
                </a:lnTo>
                <a:lnTo>
                  <a:pt x="137" y="332"/>
                </a:lnTo>
                <a:lnTo>
                  <a:pt x="146" y="322"/>
                </a:lnTo>
                <a:lnTo>
                  <a:pt x="156" y="303"/>
                </a:lnTo>
                <a:lnTo>
                  <a:pt x="146" y="303"/>
                </a:lnTo>
                <a:lnTo>
                  <a:pt x="137" y="312"/>
                </a:lnTo>
                <a:lnTo>
                  <a:pt x="127" y="322"/>
                </a:lnTo>
                <a:lnTo>
                  <a:pt x="107" y="332"/>
                </a:lnTo>
                <a:lnTo>
                  <a:pt x="98" y="351"/>
                </a:lnTo>
                <a:lnTo>
                  <a:pt x="78" y="361"/>
                </a:lnTo>
                <a:lnTo>
                  <a:pt x="68" y="361"/>
                </a:lnTo>
                <a:lnTo>
                  <a:pt x="68" y="351"/>
                </a:lnTo>
                <a:lnTo>
                  <a:pt x="68" y="342"/>
                </a:lnTo>
                <a:lnTo>
                  <a:pt x="59" y="342"/>
                </a:lnTo>
                <a:lnTo>
                  <a:pt x="49" y="332"/>
                </a:lnTo>
                <a:lnTo>
                  <a:pt x="49" y="322"/>
                </a:lnTo>
                <a:lnTo>
                  <a:pt x="68" y="312"/>
                </a:lnTo>
                <a:lnTo>
                  <a:pt x="78" y="303"/>
                </a:lnTo>
                <a:lnTo>
                  <a:pt x="78" y="312"/>
                </a:lnTo>
                <a:lnTo>
                  <a:pt x="88" y="322"/>
                </a:lnTo>
                <a:lnTo>
                  <a:pt x="98" y="322"/>
                </a:lnTo>
                <a:lnTo>
                  <a:pt x="98" y="303"/>
                </a:lnTo>
                <a:lnTo>
                  <a:pt x="107" y="303"/>
                </a:lnTo>
                <a:lnTo>
                  <a:pt x="117" y="293"/>
                </a:lnTo>
                <a:lnTo>
                  <a:pt x="127" y="283"/>
                </a:lnTo>
                <a:lnTo>
                  <a:pt x="146" y="273"/>
                </a:lnTo>
                <a:lnTo>
                  <a:pt x="146" y="264"/>
                </a:lnTo>
                <a:lnTo>
                  <a:pt x="146" y="254"/>
                </a:lnTo>
                <a:lnTo>
                  <a:pt x="127" y="225"/>
                </a:lnTo>
                <a:lnTo>
                  <a:pt x="117" y="225"/>
                </a:lnTo>
                <a:lnTo>
                  <a:pt x="98" y="205"/>
                </a:lnTo>
                <a:lnTo>
                  <a:pt x="98" y="195"/>
                </a:lnTo>
                <a:lnTo>
                  <a:pt x="88" y="186"/>
                </a:lnTo>
                <a:lnTo>
                  <a:pt x="98" y="176"/>
                </a:lnTo>
                <a:lnTo>
                  <a:pt x="98" y="186"/>
                </a:lnTo>
                <a:lnTo>
                  <a:pt x="117" y="205"/>
                </a:lnTo>
                <a:lnTo>
                  <a:pt x="127" y="215"/>
                </a:lnTo>
                <a:lnTo>
                  <a:pt x="137" y="225"/>
                </a:lnTo>
                <a:lnTo>
                  <a:pt x="156" y="225"/>
                </a:lnTo>
                <a:lnTo>
                  <a:pt x="166" y="234"/>
                </a:lnTo>
                <a:lnTo>
                  <a:pt x="166" y="244"/>
                </a:lnTo>
                <a:lnTo>
                  <a:pt x="185" y="273"/>
                </a:lnTo>
                <a:lnTo>
                  <a:pt x="176" y="293"/>
                </a:lnTo>
                <a:lnTo>
                  <a:pt x="176" y="303"/>
                </a:lnTo>
                <a:lnTo>
                  <a:pt x="176" y="322"/>
                </a:lnTo>
                <a:lnTo>
                  <a:pt x="156" y="342"/>
                </a:lnTo>
                <a:lnTo>
                  <a:pt x="146" y="351"/>
                </a:lnTo>
                <a:lnTo>
                  <a:pt x="137" y="351"/>
                </a:lnTo>
                <a:lnTo>
                  <a:pt x="127" y="381"/>
                </a:lnTo>
                <a:lnTo>
                  <a:pt x="146" y="400"/>
                </a:lnTo>
                <a:lnTo>
                  <a:pt x="137" y="420"/>
                </a:lnTo>
                <a:lnTo>
                  <a:pt x="146" y="430"/>
                </a:lnTo>
                <a:lnTo>
                  <a:pt x="166" y="420"/>
                </a:lnTo>
                <a:lnTo>
                  <a:pt x="185" y="420"/>
                </a:lnTo>
                <a:lnTo>
                  <a:pt x="185" y="400"/>
                </a:lnTo>
                <a:lnTo>
                  <a:pt x="215" y="400"/>
                </a:lnTo>
                <a:close/>
              </a:path>
            </a:pathLst>
          </a:custGeom>
          <a:solidFill>
            <a:srgbClr val="99C7BC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91" name="Freeform 348"/>
          <p:cNvSpPr>
            <a:spLocks noChangeAspect="1"/>
          </p:cNvSpPr>
          <p:nvPr>
            <p:custDataLst>
              <p:tags r:id="rId57"/>
            </p:custDataLst>
          </p:nvPr>
        </p:nvSpPr>
        <p:spPr bwMode="auto">
          <a:xfrm>
            <a:off x="2252663" y="4548188"/>
            <a:ext cx="209550" cy="266700"/>
          </a:xfrm>
          <a:custGeom>
            <a:avLst/>
            <a:gdLst>
              <a:gd name="T0" fmla="*/ 26110 w 313"/>
              <a:gd name="T1" fmla="*/ 169718 h 429"/>
              <a:gd name="T2" fmla="*/ 26110 w 313"/>
              <a:gd name="T3" fmla="*/ 182152 h 429"/>
              <a:gd name="T4" fmla="*/ 46195 w 313"/>
              <a:gd name="T5" fmla="*/ 193964 h 429"/>
              <a:gd name="T6" fmla="*/ 65610 w 313"/>
              <a:gd name="T7" fmla="*/ 200180 h 429"/>
              <a:gd name="T8" fmla="*/ 78330 w 313"/>
              <a:gd name="T9" fmla="*/ 211992 h 429"/>
              <a:gd name="T10" fmla="*/ 78330 w 313"/>
              <a:gd name="T11" fmla="*/ 224426 h 429"/>
              <a:gd name="T12" fmla="*/ 85025 w 313"/>
              <a:gd name="T13" fmla="*/ 242455 h 429"/>
              <a:gd name="T14" fmla="*/ 111135 w 313"/>
              <a:gd name="T15" fmla="*/ 242455 h 429"/>
              <a:gd name="T16" fmla="*/ 111135 w 313"/>
              <a:gd name="T17" fmla="*/ 260483 h 429"/>
              <a:gd name="T18" fmla="*/ 130550 w 313"/>
              <a:gd name="T19" fmla="*/ 260483 h 429"/>
              <a:gd name="T20" fmla="*/ 143940 w 313"/>
              <a:gd name="T21" fmla="*/ 254888 h 429"/>
              <a:gd name="T22" fmla="*/ 124525 w 313"/>
              <a:gd name="T23" fmla="*/ 236238 h 429"/>
              <a:gd name="T24" fmla="*/ 143940 w 313"/>
              <a:gd name="T25" fmla="*/ 242455 h 429"/>
              <a:gd name="T26" fmla="*/ 150635 w 313"/>
              <a:gd name="T27" fmla="*/ 230643 h 429"/>
              <a:gd name="T28" fmla="*/ 156660 w 313"/>
              <a:gd name="T29" fmla="*/ 218209 h 429"/>
              <a:gd name="T30" fmla="*/ 182770 w 313"/>
              <a:gd name="T31" fmla="*/ 230643 h 429"/>
              <a:gd name="T32" fmla="*/ 196160 w 313"/>
              <a:gd name="T33" fmla="*/ 218209 h 429"/>
              <a:gd name="T34" fmla="*/ 209550 w 313"/>
              <a:gd name="T35" fmla="*/ 200180 h 429"/>
              <a:gd name="T36" fmla="*/ 176745 w 313"/>
              <a:gd name="T37" fmla="*/ 145473 h 429"/>
              <a:gd name="T38" fmla="*/ 182770 w 313"/>
              <a:gd name="T39" fmla="*/ 121227 h 429"/>
              <a:gd name="T40" fmla="*/ 176745 w 313"/>
              <a:gd name="T41" fmla="*/ 96982 h 429"/>
              <a:gd name="T42" fmla="*/ 170050 w 313"/>
              <a:gd name="T43" fmla="*/ 78953 h 429"/>
              <a:gd name="T44" fmla="*/ 163355 w 313"/>
              <a:gd name="T45" fmla="*/ 60303 h 429"/>
              <a:gd name="T46" fmla="*/ 137245 w 313"/>
              <a:gd name="T47" fmla="*/ 54708 h 429"/>
              <a:gd name="T48" fmla="*/ 137245 w 313"/>
              <a:gd name="T49" fmla="*/ 48491 h 429"/>
              <a:gd name="T50" fmla="*/ 124525 w 313"/>
              <a:gd name="T51" fmla="*/ 42274 h 429"/>
              <a:gd name="T52" fmla="*/ 111135 w 313"/>
              <a:gd name="T53" fmla="*/ 36057 h 429"/>
              <a:gd name="T54" fmla="*/ 85025 w 313"/>
              <a:gd name="T55" fmla="*/ 0 h 429"/>
              <a:gd name="T56" fmla="*/ 65610 w 313"/>
              <a:gd name="T57" fmla="*/ 11812 h 429"/>
              <a:gd name="T58" fmla="*/ 52220 w 313"/>
              <a:gd name="T59" fmla="*/ 6217 h 429"/>
              <a:gd name="T60" fmla="*/ 39500 w 313"/>
              <a:gd name="T61" fmla="*/ 18029 h 429"/>
              <a:gd name="T62" fmla="*/ 39500 w 313"/>
              <a:gd name="T63" fmla="*/ 30462 h 429"/>
              <a:gd name="T64" fmla="*/ 39500 w 313"/>
              <a:gd name="T65" fmla="*/ 42274 h 429"/>
              <a:gd name="T66" fmla="*/ 39500 w 313"/>
              <a:gd name="T67" fmla="*/ 66520 h 429"/>
              <a:gd name="T68" fmla="*/ 20085 w 313"/>
              <a:gd name="T69" fmla="*/ 66520 h 429"/>
              <a:gd name="T70" fmla="*/ 13390 w 313"/>
              <a:gd name="T71" fmla="*/ 90765 h 429"/>
              <a:gd name="T72" fmla="*/ 20085 w 313"/>
              <a:gd name="T73" fmla="*/ 115010 h 429"/>
              <a:gd name="T74" fmla="*/ 32805 w 313"/>
              <a:gd name="T75" fmla="*/ 121227 h 429"/>
              <a:gd name="T76" fmla="*/ 20085 w 313"/>
              <a:gd name="T77" fmla="*/ 133661 h 429"/>
              <a:gd name="T78" fmla="*/ 0 w 313"/>
              <a:gd name="T79" fmla="*/ 133661 h 429"/>
              <a:gd name="T80" fmla="*/ 13390 w 313"/>
              <a:gd name="T81" fmla="*/ 145473 h 429"/>
              <a:gd name="T82" fmla="*/ 13390 w 313"/>
              <a:gd name="T83" fmla="*/ 163501 h 429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313"/>
              <a:gd name="T127" fmla="*/ 0 h 429"/>
              <a:gd name="T128" fmla="*/ 313 w 313"/>
              <a:gd name="T129" fmla="*/ 429 h 429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313" h="429">
                <a:moveTo>
                  <a:pt x="20" y="263"/>
                </a:moveTo>
                <a:lnTo>
                  <a:pt x="39" y="273"/>
                </a:lnTo>
                <a:lnTo>
                  <a:pt x="49" y="283"/>
                </a:lnTo>
                <a:lnTo>
                  <a:pt x="39" y="293"/>
                </a:lnTo>
                <a:lnTo>
                  <a:pt x="59" y="302"/>
                </a:lnTo>
                <a:lnTo>
                  <a:pt x="69" y="312"/>
                </a:lnTo>
                <a:lnTo>
                  <a:pt x="69" y="322"/>
                </a:lnTo>
                <a:lnTo>
                  <a:pt x="98" y="322"/>
                </a:lnTo>
                <a:lnTo>
                  <a:pt x="98" y="332"/>
                </a:lnTo>
                <a:lnTo>
                  <a:pt x="117" y="341"/>
                </a:lnTo>
                <a:lnTo>
                  <a:pt x="117" y="351"/>
                </a:lnTo>
                <a:lnTo>
                  <a:pt x="117" y="361"/>
                </a:lnTo>
                <a:lnTo>
                  <a:pt x="137" y="371"/>
                </a:lnTo>
                <a:lnTo>
                  <a:pt x="127" y="390"/>
                </a:lnTo>
                <a:lnTo>
                  <a:pt x="137" y="410"/>
                </a:lnTo>
                <a:lnTo>
                  <a:pt x="166" y="390"/>
                </a:lnTo>
                <a:lnTo>
                  <a:pt x="176" y="410"/>
                </a:lnTo>
                <a:lnTo>
                  <a:pt x="166" y="419"/>
                </a:lnTo>
                <a:lnTo>
                  <a:pt x="176" y="429"/>
                </a:lnTo>
                <a:lnTo>
                  <a:pt x="195" y="419"/>
                </a:lnTo>
                <a:lnTo>
                  <a:pt x="205" y="429"/>
                </a:lnTo>
                <a:lnTo>
                  <a:pt x="215" y="410"/>
                </a:lnTo>
                <a:lnTo>
                  <a:pt x="195" y="400"/>
                </a:lnTo>
                <a:lnTo>
                  <a:pt x="186" y="380"/>
                </a:lnTo>
                <a:lnTo>
                  <a:pt x="205" y="380"/>
                </a:lnTo>
                <a:lnTo>
                  <a:pt x="215" y="390"/>
                </a:lnTo>
                <a:lnTo>
                  <a:pt x="225" y="371"/>
                </a:lnTo>
                <a:lnTo>
                  <a:pt x="225" y="351"/>
                </a:lnTo>
                <a:lnTo>
                  <a:pt x="234" y="351"/>
                </a:lnTo>
                <a:lnTo>
                  <a:pt x="254" y="371"/>
                </a:lnTo>
                <a:lnTo>
                  <a:pt x="273" y="371"/>
                </a:lnTo>
                <a:lnTo>
                  <a:pt x="283" y="361"/>
                </a:lnTo>
                <a:lnTo>
                  <a:pt x="293" y="351"/>
                </a:lnTo>
                <a:lnTo>
                  <a:pt x="313" y="332"/>
                </a:lnTo>
                <a:lnTo>
                  <a:pt x="313" y="322"/>
                </a:lnTo>
                <a:lnTo>
                  <a:pt x="293" y="293"/>
                </a:lnTo>
                <a:lnTo>
                  <a:pt x="264" y="234"/>
                </a:lnTo>
                <a:lnTo>
                  <a:pt x="264" y="215"/>
                </a:lnTo>
                <a:lnTo>
                  <a:pt x="273" y="195"/>
                </a:lnTo>
                <a:lnTo>
                  <a:pt x="273" y="176"/>
                </a:lnTo>
                <a:lnTo>
                  <a:pt x="264" y="156"/>
                </a:lnTo>
                <a:lnTo>
                  <a:pt x="254" y="146"/>
                </a:lnTo>
                <a:lnTo>
                  <a:pt x="254" y="127"/>
                </a:lnTo>
                <a:lnTo>
                  <a:pt x="254" y="117"/>
                </a:lnTo>
                <a:lnTo>
                  <a:pt x="244" y="97"/>
                </a:lnTo>
                <a:lnTo>
                  <a:pt x="225" y="97"/>
                </a:lnTo>
                <a:lnTo>
                  <a:pt x="205" y="88"/>
                </a:lnTo>
                <a:lnTo>
                  <a:pt x="195" y="88"/>
                </a:lnTo>
                <a:lnTo>
                  <a:pt x="205" y="78"/>
                </a:lnTo>
                <a:lnTo>
                  <a:pt x="195" y="68"/>
                </a:lnTo>
                <a:lnTo>
                  <a:pt x="186" y="68"/>
                </a:lnTo>
                <a:lnTo>
                  <a:pt x="176" y="78"/>
                </a:lnTo>
                <a:lnTo>
                  <a:pt x="166" y="58"/>
                </a:lnTo>
                <a:lnTo>
                  <a:pt x="156" y="39"/>
                </a:lnTo>
                <a:lnTo>
                  <a:pt x="127" y="0"/>
                </a:lnTo>
                <a:lnTo>
                  <a:pt x="117" y="10"/>
                </a:lnTo>
                <a:lnTo>
                  <a:pt x="98" y="19"/>
                </a:lnTo>
                <a:lnTo>
                  <a:pt x="98" y="0"/>
                </a:lnTo>
                <a:lnTo>
                  <a:pt x="78" y="10"/>
                </a:lnTo>
                <a:lnTo>
                  <a:pt x="69" y="29"/>
                </a:lnTo>
                <a:lnTo>
                  <a:pt x="59" y="29"/>
                </a:lnTo>
                <a:lnTo>
                  <a:pt x="59" y="49"/>
                </a:lnTo>
                <a:lnTo>
                  <a:pt x="69" y="58"/>
                </a:lnTo>
                <a:lnTo>
                  <a:pt x="59" y="68"/>
                </a:lnTo>
                <a:lnTo>
                  <a:pt x="49" y="97"/>
                </a:lnTo>
                <a:lnTo>
                  <a:pt x="59" y="107"/>
                </a:lnTo>
                <a:lnTo>
                  <a:pt x="39" y="127"/>
                </a:lnTo>
                <a:lnTo>
                  <a:pt x="30" y="107"/>
                </a:lnTo>
                <a:lnTo>
                  <a:pt x="20" y="127"/>
                </a:lnTo>
                <a:lnTo>
                  <a:pt x="20" y="146"/>
                </a:lnTo>
                <a:lnTo>
                  <a:pt x="20" y="166"/>
                </a:lnTo>
                <a:lnTo>
                  <a:pt x="30" y="185"/>
                </a:lnTo>
                <a:lnTo>
                  <a:pt x="39" y="185"/>
                </a:lnTo>
                <a:lnTo>
                  <a:pt x="49" y="195"/>
                </a:lnTo>
                <a:lnTo>
                  <a:pt x="49" y="215"/>
                </a:lnTo>
                <a:lnTo>
                  <a:pt x="30" y="215"/>
                </a:lnTo>
                <a:lnTo>
                  <a:pt x="10" y="215"/>
                </a:lnTo>
                <a:lnTo>
                  <a:pt x="0" y="215"/>
                </a:lnTo>
                <a:lnTo>
                  <a:pt x="10" y="224"/>
                </a:lnTo>
                <a:lnTo>
                  <a:pt x="20" y="234"/>
                </a:lnTo>
                <a:lnTo>
                  <a:pt x="20" y="254"/>
                </a:lnTo>
                <a:lnTo>
                  <a:pt x="20" y="263"/>
                </a:lnTo>
                <a:close/>
              </a:path>
            </a:pathLst>
          </a:custGeom>
          <a:solidFill>
            <a:srgbClr val="99C7BC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92" name="Freeform 347"/>
          <p:cNvSpPr>
            <a:spLocks noChangeAspect="1"/>
          </p:cNvSpPr>
          <p:nvPr>
            <p:custDataLst>
              <p:tags r:id="rId58"/>
            </p:custDataLst>
          </p:nvPr>
        </p:nvSpPr>
        <p:spPr bwMode="auto">
          <a:xfrm>
            <a:off x="2359025" y="4560888"/>
            <a:ext cx="285750" cy="266700"/>
          </a:xfrm>
          <a:custGeom>
            <a:avLst/>
            <a:gdLst>
              <a:gd name="T0" fmla="*/ 104332 w 430"/>
              <a:gd name="T1" fmla="*/ 194133 h 430"/>
              <a:gd name="T2" fmla="*/ 91041 w 430"/>
              <a:gd name="T3" fmla="*/ 169944 h 430"/>
              <a:gd name="T4" fmla="*/ 71770 w 430"/>
              <a:gd name="T5" fmla="*/ 121566 h 430"/>
              <a:gd name="T6" fmla="*/ 77751 w 430"/>
              <a:gd name="T7" fmla="*/ 97377 h 430"/>
              <a:gd name="T8" fmla="*/ 65124 w 430"/>
              <a:gd name="T9" fmla="*/ 84972 h 430"/>
              <a:gd name="T10" fmla="*/ 65124 w 430"/>
              <a:gd name="T11" fmla="*/ 60783 h 430"/>
              <a:gd name="T12" fmla="*/ 45853 w 430"/>
              <a:gd name="T13" fmla="*/ 48378 h 430"/>
              <a:gd name="T14" fmla="*/ 25917 w 430"/>
              <a:gd name="T15" fmla="*/ 42796 h 430"/>
              <a:gd name="T16" fmla="*/ 25917 w 430"/>
              <a:gd name="T17" fmla="*/ 30391 h 430"/>
              <a:gd name="T18" fmla="*/ 13291 w 430"/>
              <a:gd name="T19" fmla="*/ 36594 h 430"/>
              <a:gd name="T20" fmla="*/ 0 w 430"/>
              <a:gd name="T21" fmla="*/ 18607 h 430"/>
              <a:gd name="T22" fmla="*/ 19936 w 430"/>
              <a:gd name="T23" fmla="*/ 6202 h 430"/>
              <a:gd name="T24" fmla="*/ 45853 w 430"/>
              <a:gd name="T25" fmla="*/ 18607 h 430"/>
              <a:gd name="T26" fmla="*/ 51834 w 430"/>
              <a:gd name="T27" fmla="*/ 0 h 430"/>
              <a:gd name="T28" fmla="*/ 58479 w 430"/>
              <a:gd name="T29" fmla="*/ 24189 h 430"/>
              <a:gd name="T30" fmla="*/ 71770 w 430"/>
              <a:gd name="T31" fmla="*/ 42796 h 430"/>
              <a:gd name="T32" fmla="*/ 77751 w 430"/>
              <a:gd name="T33" fmla="*/ 72567 h 430"/>
              <a:gd name="T34" fmla="*/ 104332 w 430"/>
              <a:gd name="T35" fmla="*/ 84972 h 430"/>
              <a:gd name="T36" fmla="*/ 123603 w 430"/>
              <a:gd name="T37" fmla="*/ 72567 h 430"/>
              <a:gd name="T38" fmla="*/ 130249 w 430"/>
              <a:gd name="T39" fmla="*/ 60783 h 430"/>
              <a:gd name="T40" fmla="*/ 156166 w 430"/>
              <a:gd name="T41" fmla="*/ 60783 h 430"/>
              <a:gd name="T42" fmla="*/ 188063 w 430"/>
              <a:gd name="T43" fmla="*/ 42796 h 430"/>
              <a:gd name="T44" fmla="*/ 175437 w 430"/>
              <a:gd name="T45" fmla="*/ 30391 h 430"/>
              <a:gd name="T46" fmla="*/ 156166 w 430"/>
              <a:gd name="T47" fmla="*/ 30391 h 430"/>
              <a:gd name="T48" fmla="*/ 175437 w 430"/>
              <a:gd name="T49" fmla="*/ 18607 h 430"/>
              <a:gd name="T50" fmla="*/ 188063 w 430"/>
              <a:gd name="T51" fmla="*/ 12405 h 430"/>
              <a:gd name="T52" fmla="*/ 207999 w 430"/>
              <a:gd name="T53" fmla="*/ 24189 h 430"/>
              <a:gd name="T54" fmla="*/ 213980 w 430"/>
              <a:gd name="T55" fmla="*/ 6202 h 430"/>
              <a:gd name="T56" fmla="*/ 227271 w 430"/>
              <a:gd name="T57" fmla="*/ 18607 h 430"/>
              <a:gd name="T58" fmla="*/ 246542 w 430"/>
              <a:gd name="T59" fmla="*/ 24189 h 430"/>
              <a:gd name="T60" fmla="*/ 259833 w 430"/>
              <a:gd name="T61" fmla="*/ 48378 h 430"/>
              <a:gd name="T62" fmla="*/ 259833 w 430"/>
              <a:gd name="T63" fmla="*/ 60783 h 430"/>
              <a:gd name="T64" fmla="*/ 253188 w 430"/>
              <a:gd name="T65" fmla="*/ 91174 h 430"/>
              <a:gd name="T66" fmla="*/ 259833 w 430"/>
              <a:gd name="T67" fmla="*/ 109161 h 430"/>
              <a:gd name="T68" fmla="*/ 285750 w 430"/>
              <a:gd name="T69" fmla="*/ 121566 h 430"/>
              <a:gd name="T70" fmla="*/ 285750 w 430"/>
              <a:gd name="T71" fmla="*/ 127148 h 430"/>
              <a:gd name="T72" fmla="*/ 259833 w 430"/>
              <a:gd name="T73" fmla="*/ 121566 h 430"/>
              <a:gd name="T74" fmla="*/ 246542 w 430"/>
              <a:gd name="T75" fmla="*/ 151337 h 430"/>
              <a:gd name="T76" fmla="*/ 253188 w 430"/>
              <a:gd name="T77" fmla="*/ 175526 h 430"/>
              <a:gd name="T78" fmla="*/ 227271 w 430"/>
              <a:gd name="T79" fmla="*/ 175526 h 430"/>
              <a:gd name="T80" fmla="*/ 213980 w 430"/>
              <a:gd name="T81" fmla="*/ 175526 h 430"/>
              <a:gd name="T82" fmla="*/ 207999 w 430"/>
              <a:gd name="T83" fmla="*/ 181728 h 430"/>
              <a:gd name="T84" fmla="*/ 207999 w 430"/>
              <a:gd name="T85" fmla="*/ 205917 h 430"/>
              <a:gd name="T86" fmla="*/ 182083 w 430"/>
              <a:gd name="T87" fmla="*/ 218322 h 430"/>
              <a:gd name="T88" fmla="*/ 194709 w 430"/>
              <a:gd name="T89" fmla="*/ 236309 h 430"/>
              <a:gd name="T90" fmla="*/ 188063 w 430"/>
              <a:gd name="T91" fmla="*/ 254295 h 430"/>
              <a:gd name="T92" fmla="*/ 168792 w 430"/>
              <a:gd name="T93" fmla="*/ 260498 h 430"/>
              <a:gd name="T94" fmla="*/ 142875 w 430"/>
              <a:gd name="T95" fmla="*/ 266700 h 430"/>
              <a:gd name="T96" fmla="*/ 130249 w 430"/>
              <a:gd name="T97" fmla="*/ 260498 h 430"/>
              <a:gd name="T98" fmla="*/ 136230 w 430"/>
              <a:gd name="T99" fmla="*/ 254295 h 430"/>
              <a:gd name="T100" fmla="*/ 123603 w 430"/>
              <a:gd name="T101" fmla="*/ 248093 h 430"/>
              <a:gd name="T102" fmla="*/ 91041 w 430"/>
              <a:gd name="T103" fmla="*/ 205917 h 430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430"/>
              <a:gd name="T157" fmla="*/ 0 h 430"/>
              <a:gd name="T158" fmla="*/ 430 w 430"/>
              <a:gd name="T159" fmla="*/ 430 h 430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430" h="430">
                <a:moveTo>
                  <a:pt x="137" y="332"/>
                </a:moveTo>
                <a:lnTo>
                  <a:pt x="157" y="313"/>
                </a:lnTo>
                <a:lnTo>
                  <a:pt x="157" y="303"/>
                </a:lnTo>
                <a:lnTo>
                  <a:pt x="137" y="274"/>
                </a:lnTo>
                <a:lnTo>
                  <a:pt x="117" y="225"/>
                </a:lnTo>
                <a:lnTo>
                  <a:pt x="108" y="196"/>
                </a:lnTo>
                <a:lnTo>
                  <a:pt x="117" y="176"/>
                </a:lnTo>
                <a:lnTo>
                  <a:pt x="117" y="157"/>
                </a:lnTo>
                <a:lnTo>
                  <a:pt x="117" y="147"/>
                </a:lnTo>
                <a:lnTo>
                  <a:pt x="98" y="137"/>
                </a:lnTo>
                <a:lnTo>
                  <a:pt x="98" y="117"/>
                </a:lnTo>
                <a:lnTo>
                  <a:pt x="98" y="98"/>
                </a:lnTo>
                <a:lnTo>
                  <a:pt x="88" y="78"/>
                </a:lnTo>
                <a:lnTo>
                  <a:pt x="69" y="78"/>
                </a:lnTo>
                <a:lnTo>
                  <a:pt x="49" y="78"/>
                </a:lnTo>
                <a:lnTo>
                  <a:pt x="39" y="69"/>
                </a:lnTo>
                <a:lnTo>
                  <a:pt x="49" y="59"/>
                </a:lnTo>
                <a:lnTo>
                  <a:pt x="39" y="49"/>
                </a:lnTo>
                <a:lnTo>
                  <a:pt x="30" y="59"/>
                </a:lnTo>
                <a:lnTo>
                  <a:pt x="20" y="59"/>
                </a:lnTo>
                <a:lnTo>
                  <a:pt x="10" y="39"/>
                </a:lnTo>
                <a:lnTo>
                  <a:pt x="0" y="30"/>
                </a:lnTo>
                <a:lnTo>
                  <a:pt x="20" y="10"/>
                </a:lnTo>
                <a:lnTo>
                  <a:pt x="30" y="10"/>
                </a:lnTo>
                <a:lnTo>
                  <a:pt x="59" y="20"/>
                </a:lnTo>
                <a:lnTo>
                  <a:pt x="69" y="30"/>
                </a:lnTo>
                <a:lnTo>
                  <a:pt x="78" y="10"/>
                </a:lnTo>
                <a:lnTo>
                  <a:pt x="78" y="0"/>
                </a:lnTo>
                <a:lnTo>
                  <a:pt x="88" y="30"/>
                </a:lnTo>
                <a:lnTo>
                  <a:pt x="88" y="39"/>
                </a:lnTo>
                <a:lnTo>
                  <a:pt x="108" y="49"/>
                </a:lnTo>
                <a:lnTo>
                  <a:pt x="108" y="69"/>
                </a:lnTo>
                <a:lnTo>
                  <a:pt x="117" y="98"/>
                </a:lnTo>
                <a:lnTo>
                  <a:pt x="117" y="117"/>
                </a:lnTo>
                <a:lnTo>
                  <a:pt x="157" y="117"/>
                </a:lnTo>
                <a:lnTo>
                  <a:pt x="157" y="137"/>
                </a:lnTo>
                <a:lnTo>
                  <a:pt x="166" y="137"/>
                </a:lnTo>
                <a:lnTo>
                  <a:pt x="186" y="117"/>
                </a:lnTo>
                <a:lnTo>
                  <a:pt x="176" y="108"/>
                </a:lnTo>
                <a:lnTo>
                  <a:pt x="196" y="98"/>
                </a:lnTo>
                <a:lnTo>
                  <a:pt x="215" y="108"/>
                </a:lnTo>
                <a:lnTo>
                  <a:pt x="235" y="98"/>
                </a:lnTo>
                <a:lnTo>
                  <a:pt x="264" y="88"/>
                </a:lnTo>
                <a:lnTo>
                  <a:pt x="283" y="69"/>
                </a:lnTo>
                <a:lnTo>
                  <a:pt x="274" y="59"/>
                </a:lnTo>
                <a:lnTo>
                  <a:pt x="264" y="49"/>
                </a:lnTo>
                <a:lnTo>
                  <a:pt x="244" y="59"/>
                </a:lnTo>
                <a:lnTo>
                  <a:pt x="235" y="49"/>
                </a:lnTo>
                <a:lnTo>
                  <a:pt x="244" y="39"/>
                </a:lnTo>
                <a:lnTo>
                  <a:pt x="264" y="30"/>
                </a:lnTo>
                <a:lnTo>
                  <a:pt x="264" y="10"/>
                </a:lnTo>
                <a:lnTo>
                  <a:pt x="283" y="20"/>
                </a:lnTo>
                <a:lnTo>
                  <a:pt x="303" y="30"/>
                </a:lnTo>
                <a:lnTo>
                  <a:pt x="313" y="39"/>
                </a:lnTo>
                <a:lnTo>
                  <a:pt x="322" y="30"/>
                </a:lnTo>
                <a:lnTo>
                  <a:pt x="322" y="10"/>
                </a:lnTo>
                <a:lnTo>
                  <a:pt x="342" y="10"/>
                </a:lnTo>
                <a:lnTo>
                  <a:pt x="342" y="30"/>
                </a:lnTo>
                <a:lnTo>
                  <a:pt x="352" y="39"/>
                </a:lnTo>
                <a:lnTo>
                  <a:pt x="371" y="39"/>
                </a:lnTo>
                <a:lnTo>
                  <a:pt x="371" y="59"/>
                </a:lnTo>
                <a:lnTo>
                  <a:pt x="391" y="78"/>
                </a:lnTo>
                <a:lnTo>
                  <a:pt x="381" y="88"/>
                </a:lnTo>
                <a:lnTo>
                  <a:pt x="391" y="98"/>
                </a:lnTo>
                <a:lnTo>
                  <a:pt x="381" y="117"/>
                </a:lnTo>
                <a:lnTo>
                  <a:pt x="381" y="147"/>
                </a:lnTo>
                <a:lnTo>
                  <a:pt x="381" y="166"/>
                </a:lnTo>
                <a:lnTo>
                  <a:pt x="391" y="176"/>
                </a:lnTo>
                <a:lnTo>
                  <a:pt x="410" y="176"/>
                </a:lnTo>
                <a:lnTo>
                  <a:pt x="430" y="196"/>
                </a:lnTo>
                <a:lnTo>
                  <a:pt x="430" y="205"/>
                </a:lnTo>
                <a:lnTo>
                  <a:pt x="410" y="196"/>
                </a:lnTo>
                <a:lnTo>
                  <a:pt x="391" y="196"/>
                </a:lnTo>
                <a:lnTo>
                  <a:pt x="381" y="225"/>
                </a:lnTo>
                <a:lnTo>
                  <a:pt x="371" y="244"/>
                </a:lnTo>
                <a:lnTo>
                  <a:pt x="371" y="264"/>
                </a:lnTo>
                <a:lnTo>
                  <a:pt x="381" y="283"/>
                </a:lnTo>
                <a:lnTo>
                  <a:pt x="361" y="283"/>
                </a:lnTo>
                <a:lnTo>
                  <a:pt x="342" y="283"/>
                </a:lnTo>
                <a:lnTo>
                  <a:pt x="332" y="293"/>
                </a:lnTo>
                <a:lnTo>
                  <a:pt x="322" y="283"/>
                </a:lnTo>
                <a:lnTo>
                  <a:pt x="303" y="283"/>
                </a:lnTo>
                <a:lnTo>
                  <a:pt x="313" y="293"/>
                </a:lnTo>
                <a:lnTo>
                  <a:pt x="303" y="313"/>
                </a:lnTo>
                <a:lnTo>
                  <a:pt x="313" y="332"/>
                </a:lnTo>
                <a:lnTo>
                  <a:pt x="293" y="342"/>
                </a:lnTo>
                <a:lnTo>
                  <a:pt x="274" y="352"/>
                </a:lnTo>
                <a:lnTo>
                  <a:pt x="274" y="371"/>
                </a:lnTo>
                <a:lnTo>
                  <a:pt x="293" y="381"/>
                </a:lnTo>
                <a:lnTo>
                  <a:pt x="293" y="400"/>
                </a:lnTo>
                <a:lnTo>
                  <a:pt x="283" y="410"/>
                </a:lnTo>
                <a:lnTo>
                  <a:pt x="274" y="420"/>
                </a:lnTo>
                <a:lnTo>
                  <a:pt x="254" y="420"/>
                </a:lnTo>
                <a:lnTo>
                  <a:pt x="235" y="430"/>
                </a:lnTo>
                <a:lnTo>
                  <a:pt x="215" y="430"/>
                </a:lnTo>
                <a:lnTo>
                  <a:pt x="215" y="420"/>
                </a:lnTo>
                <a:lnTo>
                  <a:pt x="196" y="420"/>
                </a:lnTo>
                <a:lnTo>
                  <a:pt x="205" y="410"/>
                </a:lnTo>
                <a:lnTo>
                  <a:pt x="196" y="391"/>
                </a:lnTo>
                <a:lnTo>
                  <a:pt x="186" y="400"/>
                </a:lnTo>
                <a:lnTo>
                  <a:pt x="166" y="352"/>
                </a:lnTo>
                <a:lnTo>
                  <a:pt x="137" y="332"/>
                </a:lnTo>
                <a:close/>
              </a:path>
            </a:pathLst>
          </a:custGeom>
          <a:solidFill>
            <a:srgbClr val="99C7BC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93" name="Freeform 346"/>
          <p:cNvSpPr>
            <a:spLocks noChangeAspect="1"/>
          </p:cNvSpPr>
          <p:nvPr>
            <p:custDataLst>
              <p:tags r:id="rId59"/>
            </p:custDataLst>
          </p:nvPr>
        </p:nvSpPr>
        <p:spPr bwMode="auto">
          <a:xfrm>
            <a:off x="2541588" y="4578350"/>
            <a:ext cx="161925" cy="254000"/>
          </a:xfrm>
          <a:custGeom>
            <a:avLst/>
            <a:gdLst>
              <a:gd name="T0" fmla="*/ 25988 w 243"/>
              <a:gd name="T1" fmla="*/ 217980 h 409"/>
              <a:gd name="T2" fmla="*/ 31985 w 243"/>
              <a:gd name="T3" fmla="*/ 224191 h 409"/>
              <a:gd name="T4" fmla="*/ 45312 w 243"/>
              <a:gd name="T5" fmla="*/ 229780 h 409"/>
              <a:gd name="T6" fmla="*/ 57973 w 243"/>
              <a:gd name="T7" fmla="*/ 242200 h 409"/>
              <a:gd name="T8" fmla="*/ 77964 w 243"/>
              <a:gd name="T9" fmla="*/ 242200 h 409"/>
              <a:gd name="T10" fmla="*/ 90625 w 243"/>
              <a:gd name="T11" fmla="*/ 248411 h 409"/>
              <a:gd name="T12" fmla="*/ 97288 w 243"/>
              <a:gd name="T13" fmla="*/ 248411 h 409"/>
              <a:gd name="T14" fmla="*/ 123276 w 243"/>
              <a:gd name="T15" fmla="*/ 248411 h 409"/>
              <a:gd name="T16" fmla="*/ 129940 w 243"/>
              <a:gd name="T17" fmla="*/ 235990 h 409"/>
              <a:gd name="T18" fmla="*/ 109949 w 243"/>
              <a:gd name="T19" fmla="*/ 217980 h 409"/>
              <a:gd name="T20" fmla="*/ 116613 w 243"/>
              <a:gd name="T21" fmla="*/ 205560 h 409"/>
              <a:gd name="T22" fmla="*/ 123276 w 243"/>
              <a:gd name="T23" fmla="*/ 211770 h 409"/>
              <a:gd name="T24" fmla="*/ 135937 w 243"/>
              <a:gd name="T25" fmla="*/ 217980 h 409"/>
              <a:gd name="T26" fmla="*/ 149264 w 243"/>
              <a:gd name="T27" fmla="*/ 199971 h 409"/>
              <a:gd name="T28" fmla="*/ 155928 w 243"/>
              <a:gd name="T29" fmla="*/ 157120 h 409"/>
              <a:gd name="T30" fmla="*/ 155928 w 243"/>
              <a:gd name="T31" fmla="*/ 139110 h 409"/>
              <a:gd name="T32" fmla="*/ 142601 w 243"/>
              <a:gd name="T33" fmla="*/ 114890 h 409"/>
              <a:gd name="T34" fmla="*/ 129940 w 243"/>
              <a:gd name="T35" fmla="*/ 114890 h 409"/>
              <a:gd name="T36" fmla="*/ 129940 w 243"/>
              <a:gd name="T37" fmla="*/ 103090 h 409"/>
              <a:gd name="T38" fmla="*/ 142601 w 243"/>
              <a:gd name="T39" fmla="*/ 90670 h 409"/>
              <a:gd name="T40" fmla="*/ 149264 w 243"/>
              <a:gd name="T41" fmla="*/ 72660 h 409"/>
              <a:gd name="T42" fmla="*/ 142601 w 243"/>
              <a:gd name="T43" fmla="*/ 48440 h 409"/>
              <a:gd name="T44" fmla="*/ 155928 w 243"/>
              <a:gd name="T45" fmla="*/ 42230 h 409"/>
              <a:gd name="T46" fmla="*/ 155928 w 243"/>
              <a:gd name="T47" fmla="*/ 29809 h 409"/>
              <a:gd name="T48" fmla="*/ 123276 w 243"/>
              <a:gd name="T49" fmla="*/ 18010 h 409"/>
              <a:gd name="T50" fmla="*/ 97288 w 243"/>
              <a:gd name="T51" fmla="*/ 5589 h 409"/>
              <a:gd name="T52" fmla="*/ 90625 w 243"/>
              <a:gd name="T53" fmla="*/ 5589 h 409"/>
              <a:gd name="T54" fmla="*/ 77964 w 243"/>
              <a:gd name="T55" fmla="*/ 0 h 409"/>
              <a:gd name="T56" fmla="*/ 71300 w 243"/>
              <a:gd name="T57" fmla="*/ 36020 h 409"/>
              <a:gd name="T58" fmla="*/ 71300 w 243"/>
              <a:gd name="T59" fmla="*/ 54029 h 409"/>
              <a:gd name="T60" fmla="*/ 71300 w 243"/>
              <a:gd name="T61" fmla="*/ 84460 h 409"/>
              <a:gd name="T62" fmla="*/ 90625 w 243"/>
              <a:gd name="T63" fmla="*/ 90670 h 409"/>
              <a:gd name="T64" fmla="*/ 103952 w 243"/>
              <a:gd name="T65" fmla="*/ 108680 h 409"/>
              <a:gd name="T66" fmla="*/ 90625 w 243"/>
              <a:gd name="T67" fmla="*/ 103090 h 409"/>
              <a:gd name="T68" fmla="*/ 71300 w 243"/>
              <a:gd name="T69" fmla="*/ 114890 h 409"/>
              <a:gd name="T70" fmla="*/ 64637 w 243"/>
              <a:gd name="T71" fmla="*/ 145320 h 409"/>
              <a:gd name="T72" fmla="*/ 57973 w 243"/>
              <a:gd name="T73" fmla="*/ 157120 h 409"/>
              <a:gd name="T74" fmla="*/ 38649 w 243"/>
              <a:gd name="T75" fmla="*/ 157120 h 409"/>
              <a:gd name="T76" fmla="*/ 19324 w 243"/>
              <a:gd name="T77" fmla="*/ 151531 h 409"/>
              <a:gd name="T78" fmla="*/ 19324 w 243"/>
              <a:gd name="T79" fmla="*/ 175751 h 409"/>
              <a:gd name="T80" fmla="*/ 12661 w 243"/>
              <a:gd name="T81" fmla="*/ 193760 h 409"/>
              <a:gd name="T82" fmla="*/ 0 w 243"/>
              <a:gd name="T83" fmla="*/ 211770 h 409"/>
              <a:gd name="T84" fmla="*/ 12661 w 243"/>
              <a:gd name="T85" fmla="*/ 229780 h 409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43"/>
              <a:gd name="T130" fmla="*/ 0 h 409"/>
              <a:gd name="T131" fmla="*/ 243 w 243"/>
              <a:gd name="T132" fmla="*/ 409 h 409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43" h="409">
                <a:moveTo>
                  <a:pt x="29" y="351"/>
                </a:moveTo>
                <a:lnTo>
                  <a:pt x="39" y="351"/>
                </a:lnTo>
                <a:lnTo>
                  <a:pt x="39" y="370"/>
                </a:lnTo>
                <a:lnTo>
                  <a:pt x="48" y="361"/>
                </a:lnTo>
                <a:lnTo>
                  <a:pt x="48" y="380"/>
                </a:lnTo>
                <a:lnTo>
                  <a:pt x="68" y="370"/>
                </a:lnTo>
                <a:lnTo>
                  <a:pt x="68" y="380"/>
                </a:lnTo>
                <a:lnTo>
                  <a:pt x="87" y="390"/>
                </a:lnTo>
                <a:lnTo>
                  <a:pt x="97" y="390"/>
                </a:lnTo>
                <a:lnTo>
                  <a:pt x="117" y="390"/>
                </a:lnTo>
                <a:lnTo>
                  <a:pt x="126" y="409"/>
                </a:lnTo>
                <a:lnTo>
                  <a:pt x="136" y="400"/>
                </a:lnTo>
                <a:lnTo>
                  <a:pt x="136" y="390"/>
                </a:lnTo>
                <a:lnTo>
                  <a:pt x="146" y="400"/>
                </a:lnTo>
                <a:lnTo>
                  <a:pt x="165" y="400"/>
                </a:lnTo>
                <a:lnTo>
                  <a:pt x="185" y="400"/>
                </a:lnTo>
                <a:lnTo>
                  <a:pt x="195" y="390"/>
                </a:lnTo>
                <a:lnTo>
                  <a:pt x="195" y="380"/>
                </a:lnTo>
                <a:lnTo>
                  <a:pt x="185" y="370"/>
                </a:lnTo>
                <a:lnTo>
                  <a:pt x="165" y="351"/>
                </a:lnTo>
                <a:lnTo>
                  <a:pt x="165" y="341"/>
                </a:lnTo>
                <a:lnTo>
                  <a:pt x="175" y="331"/>
                </a:lnTo>
                <a:lnTo>
                  <a:pt x="185" y="331"/>
                </a:lnTo>
                <a:lnTo>
                  <a:pt x="185" y="341"/>
                </a:lnTo>
                <a:lnTo>
                  <a:pt x="195" y="351"/>
                </a:lnTo>
                <a:lnTo>
                  <a:pt x="204" y="351"/>
                </a:lnTo>
                <a:lnTo>
                  <a:pt x="214" y="341"/>
                </a:lnTo>
                <a:lnTo>
                  <a:pt x="224" y="322"/>
                </a:lnTo>
                <a:lnTo>
                  <a:pt x="224" y="292"/>
                </a:lnTo>
                <a:lnTo>
                  <a:pt x="234" y="253"/>
                </a:lnTo>
                <a:lnTo>
                  <a:pt x="234" y="234"/>
                </a:lnTo>
                <a:lnTo>
                  <a:pt x="234" y="224"/>
                </a:lnTo>
                <a:lnTo>
                  <a:pt x="214" y="205"/>
                </a:lnTo>
                <a:lnTo>
                  <a:pt x="214" y="185"/>
                </a:lnTo>
                <a:lnTo>
                  <a:pt x="204" y="185"/>
                </a:lnTo>
                <a:lnTo>
                  <a:pt x="195" y="185"/>
                </a:lnTo>
                <a:lnTo>
                  <a:pt x="195" y="175"/>
                </a:lnTo>
                <a:lnTo>
                  <a:pt x="195" y="166"/>
                </a:lnTo>
                <a:lnTo>
                  <a:pt x="204" y="156"/>
                </a:lnTo>
                <a:lnTo>
                  <a:pt x="214" y="146"/>
                </a:lnTo>
                <a:lnTo>
                  <a:pt x="224" y="136"/>
                </a:lnTo>
                <a:lnTo>
                  <a:pt x="224" y="117"/>
                </a:lnTo>
                <a:lnTo>
                  <a:pt x="214" y="97"/>
                </a:lnTo>
                <a:lnTo>
                  <a:pt x="214" y="78"/>
                </a:lnTo>
                <a:lnTo>
                  <a:pt x="224" y="78"/>
                </a:lnTo>
                <a:lnTo>
                  <a:pt x="234" y="68"/>
                </a:lnTo>
                <a:lnTo>
                  <a:pt x="243" y="58"/>
                </a:lnTo>
                <a:lnTo>
                  <a:pt x="234" y="48"/>
                </a:lnTo>
                <a:lnTo>
                  <a:pt x="204" y="29"/>
                </a:lnTo>
                <a:lnTo>
                  <a:pt x="185" y="29"/>
                </a:lnTo>
                <a:lnTo>
                  <a:pt x="165" y="9"/>
                </a:lnTo>
                <a:lnTo>
                  <a:pt x="146" y="9"/>
                </a:lnTo>
                <a:lnTo>
                  <a:pt x="136" y="9"/>
                </a:lnTo>
                <a:lnTo>
                  <a:pt x="126" y="0"/>
                </a:lnTo>
                <a:lnTo>
                  <a:pt x="117" y="0"/>
                </a:lnTo>
                <a:lnTo>
                  <a:pt x="117" y="39"/>
                </a:lnTo>
                <a:lnTo>
                  <a:pt x="107" y="58"/>
                </a:lnTo>
                <a:lnTo>
                  <a:pt x="117" y="68"/>
                </a:lnTo>
                <a:lnTo>
                  <a:pt x="107" y="87"/>
                </a:lnTo>
                <a:lnTo>
                  <a:pt x="107" y="107"/>
                </a:lnTo>
                <a:lnTo>
                  <a:pt x="107" y="136"/>
                </a:lnTo>
                <a:lnTo>
                  <a:pt x="117" y="146"/>
                </a:lnTo>
                <a:lnTo>
                  <a:pt x="136" y="146"/>
                </a:lnTo>
                <a:lnTo>
                  <a:pt x="156" y="166"/>
                </a:lnTo>
                <a:lnTo>
                  <a:pt x="156" y="175"/>
                </a:lnTo>
                <a:lnTo>
                  <a:pt x="146" y="175"/>
                </a:lnTo>
                <a:lnTo>
                  <a:pt x="136" y="166"/>
                </a:lnTo>
                <a:lnTo>
                  <a:pt x="117" y="166"/>
                </a:lnTo>
                <a:lnTo>
                  <a:pt x="107" y="185"/>
                </a:lnTo>
                <a:lnTo>
                  <a:pt x="97" y="214"/>
                </a:lnTo>
                <a:lnTo>
                  <a:pt x="97" y="234"/>
                </a:lnTo>
                <a:lnTo>
                  <a:pt x="97" y="244"/>
                </a:lnTo>
                <a:lnTo>
                  <a:pt x="87" y="253"/>
                </a:lnTo>
                <a:lnTo>
                  <a:pt x="68" y="244"/>
                </a:lnTo>
                <a:lnTo>
                  <a:pt x="58" y="253"/>
                </a:lnTo>
                <a:lnTo>
                  <a:pt x="48" y="244"/>
                </a:lnTo>
                <a:lnTo>
                  <a:pt x="29" y="244"/>
                </a:lnTo>
                <a:lnTo>
                  <a:pt x="39" y="263"/>
                </a:lnTo>
                <a:lnTo>
                  <a:pt x="29" y="283"/>
                </a:lnTo>
                <a:lnTo>
                  <a:pt x="39" y="292"/>
                </a:lnTo>
                <a:lnTo>
                  <a:pt x="19" y="312"/>
                </a:lnTo>
                <a:lnTo>
                  <a:pt x="0" y="322"/>
                </a:lnTo>
                <a:lnTo>
                  <a:pt x="0" y="341"/>
                </a:lnTo>
                <a:lnTo>
                  <a:pt x="19" y="351"/>
                </a:lnTo>
                <a:lnTo>
                  <a:pt x="19" y="370"/>
                </a:lnTo>
                <a:lnTo>
                  <a:pt x="29" y="351"/>
                </a:lnTo>
                <a:close/>
              </a:path>
            </a:pathLst>
          </a:custGeom>
          <a:solidFill>
            <a:srgbClr val="CCECFF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grpSp>
        <p:nvGrpSpPr>
          <p:cNvPr id="18494" name="Group 343"/>
          <p:cNvGrpSpPr>
            <a:grpSpLocks noChangeAspect="1"/>
          </p:cNvGrpSpPr>
          <p:nvPr>
            <p:custDataLst>
              <p:tags r:id="rId60"/>
            </p:custDataLst>
          </p:nvPr>
        </p:nvGrpSpPr>
        <p:grpSpPr bwMode="auto">
          <a:xfrm>
            <a:off x="2541588" y="4578350"/>
            <a:ext cx="161925" cy="254000"/>
            <a:chOff x="1327" y="2781"/>
            <a:chExt cx="243" cy="409"/>
          </a:xfrm>
        </p:grpSpPr>
        <p:sp>
          <p:nvSpPr>
            <p:cNvPr id="18804" name="Freeform 345"/>
            <p:cNvSpPr>
              <a:spLocks noChangeAspect="1"/>
            </p:cNvSpPr>
            <p:nvPr/>
          </p:nvSpPr>
          <p:spPr bwMode="auto">
            <a:xfrm>
              <a:off x="1327" y="2781"/>
              <a:ext cx="243" cy="409"/>
            </a:xfrm>
            <a:custGeom>
              <a:avLst/>
              <a:gdLst>
                <a:gd name="T0" fmla="*/ 39 w 243"/>
                <a:gd name="T1" fmla="*/ 351 h 409"/>
                <a:gd name="T2" fmla="*/ 48 w 243"/>
                <a:gd name="T3" fmla="*/ 361 h 409"/>
                <a:gd name="T4" fmla="*/ 68 w 243"/>
                <a:gd name="T5" fmla="*/ 380 h 409"/>
                <a:gd name="T6" fmla="*/ 87 w 243"/>
                <a:gd name="T7" fmla="*/ 390 h 409"/>
                <a:gd name="T8" fmla="*/ 117 w 243"/>
                <a:gd name="T9" fmla="*/ 390 h 409"/>
                <a:gd name="T10" fmla="*/ 136 w 243"/>
                <a:gd name="T11" fmla="*/ 400 h 409"/>
                <a:gd name="T12" fmla="*/ 146 w 243"/>
                <a:gd name="T13" fmla="*/ 400 h 409"/>
                <a:gd name="T14" fmla="*/ 185 w 243"/>
                <a:gd name="T15" fmla="*/ 400 h 409"/>
                <a:gd name="T16" fmla="*/ 195 w 243"/>
                <a:gd name="T17" fmla="*/ 380 h 409"/>
                <a:gd name="T18" fmla="*/ 165 w 243"/>
                <a:gd name="T19" fmla="*/ 351 h 409"/>
                <a:gd name="T20" fmla="*/ 175 w 243"/>
                <a:gd name="T21" fmla="*/ 331 h 409"/>
                <a:gd name="T22" fmla="*/ 185 w 243"/>
                <a:gd name="T23" fmla="*/ 341 h 409"/>
                <a:gd name="T24" fmla="*/ 204 w 243"/>
                <a:gd name="T25" fmla="*/ 351 h 409"/>
                <a:gd name="T26" fmla="*/ 224 w 243"/>
                <a:gd name="T27" fmla="*/ 322 h 409"/>
                <a:gd name="T28" fmla="*/ 234 w 243"/>
                <a:gd name="T29" fmla="*/ 253 h 409"/>
                <a:gd name="T30" fmla="*/ 234 w 243"/>
                <a:gd name="T31" fmla="*/ 224 h 409"/>
                <a:gd name="T32" fmla="*/ 214 w 243"/>
                <a:gd name="T33" fmla="*/ 185 h 409"/>
                <a:gd name="T34" fmla="*/ 195 w 243"/>
                <a:gd name="T35" fmla="*/ 185 h 409"/>
                <a:gd name="T36" fmla="*/ 195 w 243"/>
                <a:gd name="T37" fmla="*/ 166 h 409"/>
                <a:gd name="T38" fmla="*/ 214 w 243"/>
                <a:gd name="T39" fmla="*/ 146 h 409"/>
                <a:gd name="T40" fmla="*/ 224 w 243"/>
                <a:gd name="T41" fmla="*/ 117 h 409"/>
                <a:gd name="T42" fmla="*/ 214 w 243"/>
                <a:gd name="T43" fmla="*/ 78 h 409"/>
                <a:gd name="T44" fmla="*/ 243 w 243"/>
                <a:gd name="T45" fmla="*/ 68 h 409"/>
                <a:gd name="T46" fmla="*/ 234 w 243"/>
                <a:gd name="T47" fmla="*/ 48 h 409"/>
                <a:gd name="T48" fmla="*/ 185 w 243"/>
                <a:gd name="T49" fmla="*/ 29 h 409"/>
                <a:gd name="T50" fmla="*/ 146 w 243"/>
                <a:gd name="T51" fmla="*/ 9 h 409"/>
                <a:gd name="T52" fmla="*/ 136 w 243"/>
                <a:gd name="T53" fmla="*/ 9 h 409"/>
                <a:gd name="T54" fmla="*/ 117 w 243"/>
                <a:gd name="T55" fmla="*/ 0 h 409"/>
                <a:gd name="T56" fmla="*/ 107 w 243"/>
                <a:gd name="T57" fmla="*/ 58 h 409"/>
                <a:gd name="T58" fmla="*/ 107 w 243"/>
                <a:gd name="T59" fmla="*/ 87 h 409"/>
                <a:gd name="T60" fmla="*/ 107 w 243"/>
                <a:gd name="T61" fmla="*/ 136 h 409"/>
                <a:gd name="T62" fmla="*/ 136 w 243"/>
                <a:gd name="T63" fmla="*/ 146 h 409"/>
                <a:gd name="T64" fmla="*/ 156 w 243"/>
                <a:gd name="T65" fmla="*/ 175 h 409"/>
                <a:gd name="T66" fmla="*/ 136 w 243"/>
                <a:gd name="T67" fmla="*/ 166 h 409"/>
                <a:gd name="T68" fmla="*/ 107 w 243"/>
                <a:gd name="T69" fmla="*/ 185 h 409"/>
                <a:gd name="T70" fmla="*/ 97 w 243"/>
                <a:gd name="T71" fmla="*/ 234 h 409"/>
                <a:gd name="T72" fmla="*/ 87 w 243"/>
                <a:gd name="T73" fmla="*/ 253 h 409"/>
                <a:gd name="T74" fmla="*/ 58 w 243"/>
                <a:gd name="T75" fmla="*/ 263 h 409"/>
                <a:gd name="T76" fmla="*/ 29 w 243"/>
                <a:gd name="T77" fmla="*/ 244 h 409"/>
                <a:gd name="T78" fmla="*/ 29 w 243"/>
                <a:gd name="T79" fmla="*/ 283 h 409"/>
                <a:gd name="T80" fmla="*/ 19 w 243"/>
                <a:gd name="T81" fmla="*/ 312 h 409"/>
                <a:gd name="T82" fmla="*/ 0 w 243"/>
                <a:gd name="T83" fmla="*/ 341 h 409"/>
                <a:gd name="T84" fmla="*/ 19 w 243"/>
                <a:gd name="T85" fmla="*/ 370 h 40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43"/>
                <a:gd name="T130" fmla="*/ 0 h 409"/>
                <a:gd name="T131" fmla="*/ 243 w 243"/>
                <a:gd name="T132" fmla="*/ 409 h 409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43" h="409">
                  <a:moveTo>
                    <a:pt x="29" y="351"/>
                  </a:moveTo>
                  <a:lnTo>
                    <a:pt x="39" y="351"/>
                  </a:lnTo>
                  <a:lnTo>
                    <a:pt x="39" y="370"/>
                  </a:lnTo>
                  <a:lnTo>
                    <a:pt x="48" y="361"/>
                  </a:lnTo>
                  <a:lnTo>
                    <a:pt x="48" y="380"/>
                  </a:lnTo>
                  <a:lnTo>
                    <a:pt x="68" y="380"/>
                  </a:lnTo>
                  <a:lnTo>
                    <a:pt x="87" y="390"/>
                  </a:lnTo>
                  <a:lnTo>
                    <a:pt x="97" y="390"/>
                  </a:lnTo>
                  <a:lnTo>
                    <a:pt x="117" y="390"/>
                  </a:lnTo>
                  <a:lnTo>
                    <a:pt x="126" y="409"/>
                  </a:lnTo>
                  <a:lnTo>
                    <a:pt x="136" y="400"/>
                  </a:lnTo>
                  <a:lnTo>
                    <a:pt x="136" y="390"/>
                  </a:lnTo>
                  <a:lnTo>
                    <a:pt x="146" y="400"/>
                  </a:lnTo>
                  <a:lnTo>
                    <a:pt x="165" y="400"/>
                  </a:lnTo>
                  <a:lnTo>
                    <a:pt x="185" y="400"/>
                  </a:lnTo>
                  <a:lnTo>
                    <a:pt x="195" y="400"/>
                  </a:lnTo>
                  <a:lnTo>
                    <a:pt x="195" y="380"/>
                  </a:lnTo>
                  <a:lnTo>
                    <a:pt x="185" y="370"/>
                  </a:lnTo>
                  <a:lnTo>
                    <a:pt x="165" y="351"/>
                  </a:lnTo>
                  <a:lnTo>
                    <a:pt x="165" y="341"/>
                  </a:lnTo>
                  <a:lnTo>
                    <a:pt x="175" y="331"/>
                  </a:lnTo>
                  <a:lnTo>
                    <a:pt x="185" y="331"/>
                  </a:lnTo>
                  <a:lnTo>
                    <a:pt x="185" y="341"/>
                  </a:lnTo>
                  <a:lnTo>
                    <a:pt x="195" y="351"/>
                  </a:lnTo>
                  <a:lnTo>
                    <a:pt x="204" y="351"/>
                  </a:lnTo>
                  <a:lnTo>
                    <a:pt x="214" y="341"/>
                  </a:lnTo>
                  <a:lnTo>
                    <a:pt x="224" y="322"/>
                  </a:lnTo>
                  <a:lnTo>
                    <a:pt x="224" y="302"/>
                  </a:lnTo>
                  <a:lnTo>
                    <a:pt x="234" y="253"/>
                  </a:lnTo>
                  <a:lnTo>
                    <a:pt x="243" y="234"/>
                  </a:lnTo>
                  <a:lnTo>
                    <a:pt x="234" y="224"/>
                  </a:lnTo>
                  <a:lnTo>
                    <a:pt x="214" y="205"/>
                  </a:lnTo>
                  <a:lnTo>
                    <a:pt x="214" y="185"/>
                  </a:lnTo>
                  <a:lnTo>
                    <a:pt x="204" y="185"/>
                  </a:lnTo>
                  <a:lnTo>
                    <a:pt x="195" y="185"/>
                  </a:lnTo>
                  <a:lnTo>
                    <a:pt x="195" y="175"/>
                  </a:lnTo>
                  <a:lnTo>
                    <a:pt x="195" y="166"/>
                  </a:lnTo>
                  <a:lnTo>
                    <a:pt x="204" y="156"/>
                  </a:lnTo>
                  <a:lnTo>
                    <a:pt x="214" y="146"/>
                  </a:lnTo>
                  <a:lnTo>
                    <a:pt x="224" y="136"/>
                  </a:lnTo>
                  <a:lnTo>
                    <a:pt x="224" y="117"/>
                  </a:lnTo>
                  <a:lnTo>
                    <a:pt x="214" y="107"/>
                  </a:lnTo>
                  <a:lnTo>
                    <a:pt x="214" y="78"/>
                  </a:lnTo>
                  <a:lnTo>
                    <a:pt x="224" y="78"/>
                  </a:lnTo>
                  <a:lnTo>
                    <a:pt x="243" y="68"/>
                  </a:lnTo>
                  <a:lnTo>
                    <a:pt x="243" y="58"/>
                  </a:lnTo>
                  <a:lnTo>
                    <a:pt x="234" y="48"/>
                  </a:lnTo>
                  <a:lnTo>
                    <a:pt x="204" y="29"/>
                  </a:lnTo>
                  <a:lnTo>
                    <a:pt x="185" y="29"/>
                  </a:lnTo>
                  <a:lnTo>
                    <a:pt x="165" y="9"/>
                  </a:lnTo>
                  <a:lnTo>
                    <a:pt x="146" y="9"/>
                  </a:lnTo>
                  <a:lnTo>
                    <a:pt x="136" y="9"/>
                  </a:lnTo>
                  <a:lnTo>
                    <a:pt x="126" y="0"/>
                  </a:lnTo>
                  <a:lnTo>
                    <a:pt x="117" y="0"/>
                  </a:lnTo>
                  <a:lnTo>
                    <a:pt x="117" y="48"/>
                  </a:lnTo>
                  <a:lnTo>
                    <a:pt x="107" y="58"/>
                  </a:lnTo>
                  <a:lnTo>
                    <a:pt x="117" y="68"/>
                  </a:lnTo>
                  <a:lnTo>
                    <a:pt x="107" y="87"/>
                  </a:lnTo>
                  <a:lnTo>
                    <a:pt x="107" y="107"/>
                  </a:lnTo>
                  <a:lnTo>
                    <a:pt x="107" y="136"/>
                  </a:lnTo>
                  <a:lnTo>
                    <a:pt x="117" y="146"/>
                  </a:lnTo>
                  <a:lnTo>
                    <a:pt x="136" y="146"/>
                  </a:lnTo>
                  <a:lnTo>
                    <a:pt x="156" y="166"/>
                  </a:lnTo>
                  <a:lnTo>
                    <a:pt x="156" y="175"/>
                  </a:lnTo>
                  <a:lnTo>
                    <a:pt x="146" y="175"/>
                  </a:lnTo>
                  <a:lnTo>
                    <a:pt x="136" y="166"/>
                  </a:lnTo>
                  <a:lnTo>
                    <a:pt x="117" y="166"/>
                  </a:lnTo>
                  <a:lnTo>
                    <a:pt x="107" y="185"/>
                  </a:lnTo>
                  <a:lnTo>
                    <a:pt x="97" y="214"/>
                  </a:lnTo>
                  <a:lnTo>
                    <a:pt x="97" y="234"/>
                  </a:lnTo>
                  <a:lnTo>
                    <a:pt x="97" y="244"/>
                  </a:lnTo>
                  <a:lnTo>
                    <a:pt x="87" y="253"/>
                  </a:lnTo>
                  <a:lnTo>
                    <a:pt x="68" y="244"/>
                  </a:lnTo>
                  <a:lnTo>
                    <a:pt x="58" y="263"/>
                  </a:lnTo>
                  <a:lnTo>
                    <a:pt x="48" y="244"/>
                  </a:lnTo>
                  <a:lnTo>
                    <a:pt x="29" y="244"/>
                  </a:lnTo>
                  <a:lnTo>
                    <a:pt x="39" y="263"/>
                  </a:lnTo>
                  <a:lnTo>
                    <a:pt x="29" y="283"/>
                  </a:lnTo>
                  <a:lnTo>
                    <a:pt x="39" y="302"/>
                  </a:lnTo>
                  <a:lnTo>
                    <a:pt x="19" y="312"/>
                  </a:lnTo>
                  <a:lnTo>
                    <a:pt x="0" y="322"/>
                  </a:lnTo>
                  <a:lnTo>
                    <a:pt x="0" y="341"/>
                  </a:lnTo>
                  <a:lnTo>
                    <a:pt x="19" y="351"/>
                  </a:lnTo>
                  <a:lnTo>
                    <a:pt x="19" y="370"/>
                  </a:lnTo>
                  <a:lnTo>
                    <a:pt x="29" y="351"/>
                  </a:lnTo>
                  <a:close/>
                </a:path>
              </a:pathLst>
            </a:custGeom>
            <a:solidFill>
              <a:srgbClr val="99C7B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8805" name="Freeform 344"/>
            <p:cNvSpPr>
              <a:spLocks noChangeAspect="1"/>
            </p:cNvSpPr>
            <p:nvPr/>
          </p:nvSpPr>
          <p:spPr bwMode="auto">
            <a:xfrm>
              <a:off x="1327" y="2781"/>
              <a:ext cx="243" cy="409"/>
            </a:xfrm>
            <a:custGeom>
              <a:avLst/>
              <a:gdLst>
                <a:gd name="T0" fmla="*/ 39 w 243"/>
                <a:gd name="T1" fmla="*/ 351 h 409"/>
                <a:gd name="T2" fmla="*/ 48 w 243"/>
                <a:gd name="T3" fmla="*/ 361 h 409"/>
                <a:gd name="T4" fmla="*/ 68 w 243"/>
                <a:gd name="T5" fmla="*/ 380 h 409"/>
                <a:gd name="T6" fmla="*/ 87 w 243"/>
                <a:gd name="T7" fmla="*/ 390 h 409"/>
                <a:gd name="T8" fmla="*/ 117 w 243"/>
                <a:gd name="T9" fmla="*/ 390 h 409"/>
                <a:gd name="T10" fmla="*/ 136 w 243"/>
                <a:gd name="T11" fmla="*/ 400 h 409"/>
                <a:gd name="T12" fmla="*/ 146 w 243"/>
                <a:gd name="T13" fmla="*/ 400 h 409"/>
                <a:gd name="T14" fmla="*/ 185 w 243"/>
                <a:gd name="T15" fmla="*/ 400 h 409"/>
                <a:gd name="T16" fmla="*/ 195 w 243"/>
                <a:gd name="T17" fmla="*/ 380 h 409"/>
                <a:gd name="T18" fmla="*/ 165 w 243"/>
                <a:gd name="T19" fmla="*/ 351 h 409"/>
                <a:gd name="T20" fmla="*/ 175 w 243"/>
                <a:gd name="T21" fmla="*/ 331 h 409"/>
                <a:gd name="T22" fmla="*/ 185 w 243"/>
                <a:gd name="T23" fmla="*/ 341 h 409"/>
                <a:gd name="T24" fmla="*/ 204 w 243"/>
                <a:gd name="T25" fmla="*/ 351 h 409"/>
                <a:gd name="T26" fmla="*/ 224 w 243"/>
                <a:gd name="T27" fmla="*/ 322 h 409"/>
                <a:gd name="T28" fmla="*/ 234 w 243"/>
                <a:gd name="T29" fmla="*/ 253 h 409"/>
                <a:gd name="T30" fmla="*/ 234 w 243"/>
                <a:gd name="T31" fmla="*/ 224 h 409"/>
                <a:gd name="T32" fmla="*/ 214 w 243"/>
                <a:gd name="T33" fmla="*/ 185 h 409"/>
                <a:gd name="T34" fmla="*/ 195 w 243"/>
                <a:gd name="T35" fmla="*/ 185 h 409"/>
                <a:gd name="T36" fmla="*/ 195 w 243"/>
                <a:gd name="T37" fmla="*/ 166 h 409"/>
                <a:gd name="T38" fmla="*/ 214 w 243"/>
                <a:gd name="T39" fmla="*/ 146 h 409"/>
                <a:gd name="T40" fmla="*/ 224 w 243"/>
                <a:gd name="T41" fmla="*/ 117 h 409"/>
                <a:gd name="T42" fmla="*/ 214 w 243"/>
                <a:gd name="T43" fmla="*/ 78 h 409"/>
                <a:gd name="T44" fmla="*/ 243 w 243"/>
                <a:gd name="T45" fmla="*/ 68 h 409"/>
                <a:gd name="T46" fmla="*/ 234 w 243"/>
                <a:gd name="T47" fmla="*/ 48 h 409"/>
                <a:gd name="T48" fmla="*/ 185 w 243"/>
                <a:gd name="T49" fmla="*/ 29 h 409"/>
                <a:gd name="T50" fmla="*/ 146 w 243"/>
                <a:gd name="T51" fmla="*/ 9 h 409"/>
                <a:gd name="T52" fmla="*/ 136 w 243"/>
                <a:gd name="T53" fmla="*/ 9 h 409"/>
                <a:gd name="T54" fmla="*/ 117 w 243"/>
                <a:gd name="T55" fmla="*/ 0 h 409"/>
                <a:gd name="T56" fmla="*/ 107 w 243"/>
                <a:gd name="T57" fmla="*/ 58 h 409"/>
                <a:gd name="T58" fmla="*/ 107 w 243"/>
                <a:gd name="T59" fmla="*/ 87 h 409"/>
                <a:gd name="T60" fmla="*/ 107 w 243"/>
                <a:gd name="T61" fmla="*/ 136 h 409"/>
                <a:gd name="T62" fmla="*/ 136 w 243"/>
                <a:gd name="T63" fmla="*/ 146 h 409"/>
                <a:gd name="T64" fmla="*/ 156 w 243"/>
                <a:gd name="T65" fmla="*/ 175 h 409"/>
                <a:gd name="T66" fmla="*/ 136 w 243"/>
                <a:gd name="T67" fmla="*/ 166 h 409"/>
                <a:gd name="T68" fmla="*/ 107 w 243"/>
                <a:gd name="T69" fmla="*/ 185 h 409"/>
                <a:gd name="T70" fmla="*/ 97 w 243"/>
                <a:gd name="T71" fmla="*/ 234 h 409"/>
                <a:gd name="T72" fmla="*/ 87 w 243"/>
                <a:gd name="T73" fmla="*/ 253 h 409"/>
                <a:gd name="T74" fmla="*/ 58 w 243"/>
                <a:gd name="T75" fmla="*/ 263 h 409"/>
                <a:gd name="T76" fmla="*/ 29 w 243"/>
                <a:gd name="T77" fmla="*/ 244 h 409"/>
                <a:gd name="T78" fmla="*/ 29 w 243"/>
                <a:gd name="T79" fmla="*/ 283 h 409"/>
                <a:gd name="T80" fmla="*/ 19 w 243"/>
                <a:gd name="T81" fmla="*/ 312 h 409"/>
                <a:gd name="T82" fmla="*/ 0 w 243"/>
                <a:gd name="T83" fmla="*/ 341 h 409"/>
                <a:gd name="T84" fmla="*/ 19 w 243"/>
                <a:gd name="T85" fmla="*/ 370 h 40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43"/>
                <a:gd name="T130" fmla="*/ 0 h 409"/>
                <a:gd name="T131" fmla="*/ 243 w 243"/>
                <a:gd name="T132" fmla="*/ 409 h 409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43" h="409">
                  <a:moveTo>
                    <a:pt x="29" y="351"/>
                  </a:moveTo>
                  <a:lnTo>
                    <a:pt x="39" y="351"/>
                  </a:lnTo>
                  <a:lnTo>
                    <a:pt x="39" y="370"/>
                  </a:lnTo>
                  <a:lnTo>
                    <a:pt x="48" y="361"/>
                  </a:lnTo>
                  <a:lnTo>
                    <a:pt x="48" y="380"/>
                  </a:lnTo>
                  <a:lnTo>
                    <a:pt x="68" y="380"/>
                  </a:lnTo>
                  <a:lnTo>
                    <a:pt x="87" y="390"/>
                  </a:lnTo>
                  <a:lnTo>
                    <a:pt x="97" y="390"/>
                  </a:lnTo>
                  <a:lnTo>
                    <a:pt x="117" y="390"/>
                  </a:lnTo>
                  <a:lnTo>
                    <a:pt x="126" y="409"/>
                  </a:lnTo>
                  <a:lnTo>
                    <a:pt x="136" y="400"/>
                  </a:lnTo>
                  <a:lnTo>
                    <a:pt x="136" y="390"/>
                  </a:lnTo>
                  <a:lnTo>
                    <a:pt x="146" y="400"/>
                  </a:lnTo>
                  <a:lnTo>
                    <a:pt x="165" y="400"/>
                  </a:lnTo>
                  <a:lnTo>
                    <a:pt x="185" y="400"/>
                  </a:lnTo>
                  <a:lnTo>
                    <a:pt x="195" y="400"/>
                  </a:lnTo>
                  <a:lnTo>
                    <a:pt x="195" y="380"/>
                  </a:lnTo>
                  <a:lnTo>
                    <a:pt x="185" y="370"/>
                  </a:lnTo>
                  <a:lnTo>
                    <a:pt x="165" y="351"/>
                  </a:lnTo>
                  <a:lnTo>
                    <a:pt x="165" y="341"/>
                  </a:lnTo>
                  <a:lnTo>
                    <a:pt x="175" y="331"/>
                  </a:lnTo>
                  <a:lnTo>
                    <a:pt x="185" y="331"/>
                  </a:lnTo>
                  <a:lnTo>
                    <a:pt x="185" y="341"/>
                  </a:lnTo>
                  <a:lnTo>
                    <a:pt x="195" y="351"/>
                  </a:lnTo>
                  <a:lnTo>
                    <a:pt x="204" y="351"/>
                  </a:lnTo>
                  <a:lnTo>
                    <a:pt x="214" y="341"/>
                  </a:lnTo>
                  <a:lnTo>
                    <a:pt x="224" y="322"/>
                  </a:lnTo>
                  <a:lnTo>
                    <a:pt x="224" y="302"/>
                  </a:lnTo>
                  <a:lnTo>
                    <a:pt x="234" y="253"/>
                  </a:lnTo>
                  <a:lnTo>
                    <a:pt x="243" y="234"/>
                  </a:lnTo>
                  <a:lnTo>
                    <a:pt x="234" y="224"/>
                  </a:lnTo>
                  <a:lnTo>
                    <a:pt x="214" y="205"/>
                  </a:lnTo>
                  <a:lnTo>
                    <a:pt x="214" y="185"/>
                  </a:lnTo>
                  <a:lnTo>
                    <a:pt x="204" y="185"/>
                  </a:lnTo>
                  <a:lnTo>
                    <a:pt x="195" y="185"/>
                  </a:lnTo>
                  <a:lnTo>
                    <a:pt x="195" y="175"/>
                  </a:lnTo>
                  <a:lnTo>
                    <a:pt x="195" y="166"/>
                  </a:lnTo>
                  <a:lnTo>
                    <a:pt x="204" y="156"/>
                  </a:lnTo>
                  <a:lnTo>
                    <a:pt x="214" y="146"/>
                  </a:lnTo>
                  <a:lnTo>
                    <a:pt x="224" y="136"/>
                  </a:lnTo>
                  <a:lnTo>
                    <a:pt x="224" y="117"/>
                  </a:lnTo>
                  <a:lnTo>
                    <a:pt x="214" y="107"/>
                  </a:lnTo>
                  <a:lnTo>
                    <a:pt x="214" y="78"/>
                  </a:lnTo>
                  <a:lnTo>
                    <a:pt x="224" y="78"/>
                  </a:lnTo>
                  <a:lnTo>
                    <a:pt x="243" y="68"/>
                  </a:lnTo>
                  <a:lnTo>
                    <a:pt x="243" y="58"/>
                  </a:lnTo>
                  <a:lnTo>
                    <a:pt x="234" y="48"/>
                  </a:lnTo>
                  <a:lnTo>
                    <a:pt x="204" y="29"/>
                  </a:lnTo>
                  <a:lnTo>
                    <a:pt x="185" y="29"/>
                  </a:lnTo>
                  <a:lnTo>
                    <a:pt x="165" y="9"/>
                  </a:lnTo>
                  <a:lnTo>
                    <a:pt x="146" y="9"/>
                  </a:lnTo>
                  <a:lnTo>
                    <a:pt x="136" y="9"/>
                  </a:lnTo>
                  <a:lnTo>
                    <a:pt x="126" y="0"/>
                  </a:lnTo>
                  <a:lnTo>
                    <a:pt x="117" y="0"/>
                  </a:lnTo>
                  <a:lnTo>
                    <a:pt x="117" y="48"/>
                  </a:lnTo>
                  <a:lnTo>
                    <a:pt x="107" y="58"/>
                  </a:lnTo>
                  <a:lnTo>
                    <a:pt x="117" y="68"/>
                  </a:lnTo>
                  <a:lnTo>
                    <a:pt x="107" y="87"/>
                  </a:lnTo>
                  <a:lnTo>
                    <a:pt x="107" y="107"/>
                  </a:lnTo>
                  <a:lnTo>
                    <a:pt x="107" y="136"/>
                  </a:lnTo>
                  <a:lnTo>
                    <a:pt x="117" y="146"/>
                  </a:lnTo>
                  <a:lnTo>
                    <a:pt x="136" y="146"/>
                  </a:lnTo>
                  <a:lnTo>
                    <a:pt x="156" y="166"/>
                  </a:lnTo>
                  <a:lnTo>
                    <a:pt x="156" y="175"/>
                  </a:lnTo>
                  <a:lnTo>
                    <a:pt x="146" y="175"/>
                  </a:lnTo>
                  <a:lnTo>
                    <a:pt x="136" y="166"/>
                  </a:lnTo>
                  <a:lnTo>
                    <a:pt x="117" y="166"/>
                  </a:lnTo>
                  <a:lnTo>
                    <a:pt x="107" y="185"/>
                  </a:lnTo>
                  <a:lnTo>
                    <a:pt x="97" y="214"/>
                  </a:lnTo>
                  <a:lnTo>
                    <a:pt x="97" y="234"/>
                  </a:lnTo>
                  <a:lnTo>
                    <a:pt x="97" y="244"/>
                  </a:lnTo>
                  <a:lnTo>
                    <a:pt x="87" y="253"/>
                  </a:lnTo>
                  <a:lnTo>
                    <a:pt x="68" y="244"/>
                  </a:lnTo>
                  <a:lnTo>
                    <a:pt x="58" y="263"/>
                  </a:lnTo>
                  <a:lnTo>
                    <a:pt x="48" y="244"/>
                  </a:lnTo>
                  <a:lnTo>
                    <a:pt x="29" y="244"/>
                  </a:lnTo>
                  <a:lnTo>
                    <a:pt x="39" y="263"/>
                  </a:lnTo>
                  <a:lnTo>
                    <a:pt x="29" y="283"/>
                  </a:lnTo>
                  <a:lnTo>
                    <a:pt x="39" y="302"/>
                  </a:lnTo>
                  <a:lnTo>
                    <a:pt x="19" y="312"/>
                  </a:lnTo>
                  <a:lnTo>
                    <a:pt x="0" y="322"/>
                  </a:lnTo>
                  <a:lnTo>
                    <a:pt x="0" y="341"/>
                  </a:lnTo>
                  <a:lnTo>
                    <a:pt x="19" y="351"/>
                  </a:lnTo>
                  <a:lnTo>
                    <a:pt x="19" y="370"/>
                  </a:lnTo>
                  <a:lnTo>
                    <a:pt x="29" y="351"/>
                  </a:lnTo>
                </a:path>
              </a:pathLst>
            </a:custGeom>
            <a:noFill/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18495" name="Freeform 341"/>
          <p:cNvSpPr>
            <a:spLocks noChangeAspect="1"/>
          </p:cNvSpPr>
          <p:nvPr>
            <p:custDataLst>
              <p:tags r:id="rId61"/>
            </p:custDataLst>
          </p:nvPr>
        </p:nvSpPr>
        <p:spPr bwMode="auto">
          <a:xfrm>
            <a:off x="2214563" y="4711700"/>
            <a:ext cx="117475" cy="79375"/>
          </a:xfrm>
          <a:custGeom>
            <a:avLst/>
            <a:gdLst>
              <a:gd name="T0" fmla="*/ 26180 w 175"/>
              <a:gd name="T1" fmla="*/ 61250 h 127"/>
              <a:gd name="T2" fmla="*/ 26180 w 175"/>
              <a:gd name="T3" fmla="*/ 43125 h 127"/>
              <a:gd name="T4" fmla="*/ 19467 w 175"/>
              <a:gd name="T5" fmla="*/ 30625 h 127"/>
              <a:gd name="T6" fmla="*/ 6713 w 175"/>
              <a:gd name="T7" fmla="*/ 24375 h 127"/>
              <a:gd name="T8" fmla="*/ 6713 w 175"/>
              <a:gd name="T9" fmla="*/ 12500 h 127"/>
              <a:gd name="T10" fmla="*/ 0 w 175"/>
              <a:gd name="T11" fmla="*/ 6250 h 127"/>
              <a:gd name="T12" fmla="*/ 19467 w 175"/>
              <a:gd name="T13" fmla="*/ 0 h 127"/>
              <a:gd name="T14" fmla="*/ 32893 w 175"/>
              <a:gd name="T15" fmla="*/ 0 h 127"/>
              <a:gd name="T16" fmla="*/ 52360 w 175"/>
              <a:gd name="T17" fmla="*/ 0 h 127"/>
              <a:gd name="T18" fmla="*/ 65115 w 175"/>
              <a:gd name="T19" fmla="*/ 6250 h 127"/>
              <a:gd name="T20" fmla="*/ 71828 w 175"/>
              <a:gd name="T21" fmla="*/ 12500 h 127"/>
              <a:gd name="T22" fmla="*/ 65115 w 175"/>
              <a:gd name="T23" fmla="*/ 18750 h 127"/>
              <a:gd name="T24" fmla="*/ 85253 w 175"/>
              <a:gd name="T25" fmla="*/ 24375 h 127"/>
              <a:gd name="T26" fmla="*/ 85253 w 175"/>
              <a:gd name="T27" fmla="*/ 30625 h 127"/>
              <a:gd name="T28" fmla="*/ 85253 w 175"/>
              <a:gd name="T29" fmla="*/ 36875 h 127"/>
              <a:gd name="T30" fmla="*/ 104721 w 175"/>
              <a:gd name="T31" fmla="*/ 30625 h 127"/>
              <a:gd name="T32" fmla="*/ 104721 w 175"/>
              <a:gd name="T33" fmla="*/ 43125 h 127"/>
              <a:gd name="T34" fmla="*/ 117475 w 175"/>
              <a:gd name="T35" fmla="*/ 43125 h 127"/>
              <a:gd name="T36" fmla="*/ 117475 w 175"/>
              <a:gd name="T37" fmla="*/ 55000 h 127"/>
              <a:gd name="T38" fmla="*/ 117475 w 175"/>
              <a:gd name="T39" fmla="*/ 61250 h 127"/>
              <a:gd name="T40" fmla="*/ 104721 w 175"/>
              <a:gd name="T41" fmla="*/ 73125 h 127"/>
              <a:gd name="T42" fmla="*/ 98008 w 175"/>
              <a:gd name="T43" fmla="*/ 73125 h 127"/>
              <a:gd name="T44" fmla="*/ 85253 w 175"/>
              <a:gd name="T45" fmla="*/ 79375 h 127"/>
              <a:gd name="T46" fmla="*/ 71828 w 175"/>
              <a:gd name="T47" fmla="*/ 73125 h 127"/>
              <a:gd name="T48" fmla="*/ 65115 w 175"/>
              <a:gd name="T49" fmla="*/ 73125 h 127"/>
              <a:gd name="T50" fmla="*/ 52360 w 175"/>
              <a:gd name="T51" fmla="*/ 73125 h 127"/>
              <a:gd name="T52" fmla="*/ 32893 w 175"/>
              <a:gd name="T53" fmla="*/ 73125 h 127"/>
              <a:gd name="T54" fmla="*/ 26180 w 175"/>
              <a:gd name="T55" fmla="*/ 73125 h 127"/>
              <a:gd name="T56" fmla="*/ 26180 w 175"/>
              <a:gd name="T57" fmla="*/ 61250 h 127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175"/>
              <a:gd name="T88" fmla="*/ 0 h 127"/>
              <a:gd name="T89" fmla="*/ 175 w 175"/>
              <a:gd name="T90" fmla="*/ 127 h 127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175" h="127">
                <a:moveTo>
                  <a:pt x="39" y="98"/>
                </a:moveTo>
                <a:lnTo>
                  <a:pt x="39" y="69"/>
                </a:lnTo>
                <a:lnTo>
                  <a:pt x="29" y="49"/>
                </a:lnTo>
                <a:lnTo>
                  <a:pt x="10" y="39"/>
                </a:lnTo>
                <a:lnTo>
                  <a:pt x="10" y="20"/>
                </a:lnTo>
                <a:lnTo>
                  <a:pt x="0" y="10"/>
                </a:lnTo>
                <a:lnTo>
                  <a:pt x="29" y="0"/>
                </a:lnTo>
                <a:lnTo>
                  <a:pt x="49" y="0"/>
                </a:lnTo>
                <a:lnTo>
                  <a:pt x="78" y="0"/>
                </a:lnTo>
                <a:lnTo>
                  <a:pt x="97" y="10"/>
                </a:lnTo>
                <a:lnTo>
                  <a:pt x="107" y="20"/>
                </a:lnTo>
                <a:lnTo>
                  <a:pt x="97" y="30"/>
                </a:lnTo>
                <a:lnTo>
                  <a:pt x="127" y="39"/>
                </a:lnTo>
                <a:lnTo>
                  <a:pt x="127" y="49"/>
                </a:lnTo>
                <a:lnTo>
                  <a:pt x="127" y="59"/>
                </a:lnTo>
                <a:lnTo>
                  <a:pt x="156" y="49"/>
                </a:lnTo>
                <a:lnTo>
                  <a:pt x="156" y="69"/>
                </a:lnTo>
                <a:lnTo>
                  <a:pt x="175" y="69"/>
                </a:lnTo>
                <a:lnTo>
                  <a:pt x="175" y="88"/>
                </a:lnTo>
                <a:lnTo>
                  <a:pt x="175" y="98"/>
                </a:lnTo>
                <a:lnTo>
                  <a:pt x="156" y="117"/>
                </a:lnTo>
                <a:lnTo>
                  <a:pt x="146" y="117"/>
                </a:lnTo>
                <a:lnTo>
                  <a:pt x="127" y="127"/>
                </a:lnTo>
                <a:lnTo>
                  <a:pt x="107" y="117"/>
                </a:lnTo>
                <a:lnTo>
                  <a:pt x="97" y="117"/>
                </a:lnTo>
                <a:lnTo>
                  <a:pt x="78" y="117"/>
                </a:lnTo>
                <a:lnTo>
                  <a:pt x="49" y="117"/>
                </a:lnTo>
                <a:lnTo>
                  <a:pt x="39" y="117"/>
                </a:lnTo>
                <a:lnTo>
                  <a:pt x="39" y="98"/>
                </a:lnTo>
                <a:close/>
              </a:path>
            </a:pathLst>
          </a:custGeom>
          <a:solidFill>
            <a:srgbClr val="CCECFF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grpSp>
        <p:nvGrpSpPr>
          <p:cNvPr id="18496" name="Group 338"/>
          <p:cNvGrpSpPr>
            <a:grpSpLocks noChangeAspect="1"/>
          </p:cNvGrpSpPr>
          <p:nvPr>
            <p:custDataLst>
              <p:tags r:id="rId62"/>
            </p:custDataLst>
          </p:nvPr>
        </p:nvGrpSpPr>
        <p:grpSpPr bwMode="auto">
          <a:xfrm>
            <a:off x="2214563" y="4711700"/>
            <a:ext cx="117475" cy="79375"/>
            <a:chOff x="839" y="2995"/>
            <a:chExt cx="175" cy="127"/>
          </a:xfrm>
        </p:grpSpPr>
        <p:sp>
          <p:nvSpPr>
            <p:cNvPr id="18802" name="Freeform 340"/>
            <p:cNvSpPr>
              <a:spLocks noChangeAspect="1"/>
            </p:cNvSpPr>
            <p:nvPr/>
          </p:nvSpPr>
          <p:spPr bwMode="auto">
            <a:xfrm>
              <a:off x="839" y="2995"/>
              <a:ext cx="175" cy="127"/>
            </a:xfrm>
            <a:custGeom>
              <a:avLst/>
              <a:gdLst>
                <a:gd name="T0" fmla="*/ 39 w 175"/>
                <a:gd name="T1" fmla="*/ 98 h 127"/>
                <a:gd name="T2" fmla="*/ 39 w 175"/>
                <a:gd name="T3" fmla="*/ 69 h 127"/>
                <a:gd name="T4" fmla="*/ 29 w 175"/>
                <a:gd name="T5" fmla="*/ 59 h 127"/>
                <a:gd name="T6" fmla="*/ 10 w 175"/>
                <a:gd name="T7" fmla="*/ 39 h 127"/>
                <a:gd name="T8" fmla="*/ 10 w 175"/>
                <a:gd name="T9" fmla="*/ 20 h 127"/>
                <a:gd name="T10" fmla="*/ 0 w 175"/>
                <a:gd name="T11" fmla="*/ 20 h 127"/>
                <a:gd name="T12" fmla="*/ 29 w 175"/>
                <a:gd name="T13" fmla="*/ 0 h 127"/>
                <a:gd name="T14" fmla="*/ 49 w 175"/>
                <a:gd name="T15" fmla="*/ 0 h 127"/>
                <a:gd name="T16" fmla="*/ 78 w 175"/>
                <a:gd name="T17" fmla="*/ 0 h 127"/>
                <a:gd name="T18" fmla="*/ 97 w 175"/>
                <a:gd name="T19" fmla="*/ 10 h 127"/>
                <a:gd name="T20" fmla="*/ 107 w 175"/>
                <a:gd name="T21" fmla="*/ 20 h 127"/>
                <a:gd name="T22" fmla="*/ 97 w 175"/>
                <a:gd name="T23" fmla="*/ 30 h 127"/>
                <a:gd name="T24" fmla="*/ 127 w 175"/>
                <a:gd name="T25" fmla="*/ 39 h 127"/>
                <a:gd name="T26" fmla="*/ 127 w 175"/>
                <a:gd name="T27" fmla="*/ 49 h 127"/>
                <a:gd name="T28" fmla="*/ 127 w 175"/>
                <a:gd name="T29" fmla="*/ 59 h 127"/>
                <a:gd name="T30" fmla="*/ 156 w 175"/>
                <a:gd name="T31" fmla="*/ 59 h 127"/>
                <a:gd name="T32" fmla="*/ 156 w 175"/>
                <a:gd name="T33" fmla="*/ 69 h 127"/>
                <a:gd name="T34" fmla="*/ 175 w 175"/>
                <a:gd name="T35" fmla="*/ 78 h 127"/>
                <a:gd name="T36" fmla="*/ 175 w 175"/>
                <a:gd name="T37" fmla="*/ 88 h 127"/>
                <a:gd name="T38" fmla="*/ 175 w 175"/>
                <a:gd name="T39" fmla="*/ 98 h 127"/>
                <a:gd name="T40" fmla="*/ 156 w 175"/>
                <a:gd name="T41" fmla="*/ 108 h 127"/>
                <a:gd name="T42" fmla="*/ 146 w 175"/>
                <a:gd name="T43" fmla="*/ 117 h 127"/>
                <a:gd name="T44" fmla="*/ 127 w 175"/>
                <a:gd name="T45" fmla="*/ 127 h 127"/>
                <a:gd name="T46" fmla="*/ 107 w 175"/>
                <a:gd name="T47" fmla="*/ 117 h 127"/>
                <a:gd name="T48" fmla="*/ 97 w 175"/>
                <a:gd name="T49" fmla="*/ 108 h 127"/>
                <a:gd name="T50" fmla="*/ 78 w 175"/>
                <a:gd name="T51" fmla="*/ 117 h 127"/>
                <a:gd name="T52" fmla="*/ 49 w 175"/>
                <a:gd name="T53" fmla="*/ 117 h 127"/>
                <a:gd name="T54" fmla="*/ 39 w 175"/>
                <a:gd name="T55" fmla="*/ 117 h 127"/>
                <a:gd name="T56" fmla="*/ 39 w 175"/>
                <a:gd name="T57" fmla="*/ 98 h 12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5"/>
                <a:gd name="T88" fmla="*/ 0 h 127"/>
                <a:gd name="T89" fmla="*/ 175 w 175"/>
                <a:gd name="T90" fmla="*/ 127 h 127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5" h="127">
                  <a:moveTo>
                    <a:pt x="39" y="98"/>
                  </a:moveTo>
                  <a:lnTo>
                    <a:pt x="39" y="69"/>
                  </a:lnTo>
                  <a:lnTo>
                    <a:pt x="29" y="59"/>
                  </a:lnTo>
                  <a:lnTo>
                    <a:pt x="10" y="39"/>
                  </a:lnTo>
                  <a:lnTo>
                    <a:pt x="10" y="20"/>
                  </a:lnTo>
                  <a:lnTo>
                    <a:pt x="0" y="20"/>
                  </a:lnTo>
                  <a:lnTo>
                    <a:pt x="29" y="0"/>
                  </a:lnTo>
                  <a:lnTo>
                    <a:pt x="49" y="0"/>
                  </a:lnTo>
                  <a:lnTo>
                    <a:pt x="78" y="0"/>
                  </a:lnTo>
                  <a:lnTo>
                    <a:pt x="97" y="10"/>
                  </a:lnTo>
                  <a:lnTo>
                    <a:pt x="107" y="20"/>
                  </a:lnTo>
                  <a:lnTo>
                    <a:pt x="97" y="30"/>
                  </a:lnTo>
                  <a:lnTo>
                    <a:pt x="127" y="39"/>
                  </a:lnTo>
                  <a:lnTo>
                    <a:pt x="127" y="49"/>
                  </a:lnTo>
                  <a:lnTo>
                    <a:pt x="127" y="59"/>
                  </a:lnTo>
                  <a:lnTo>
                    <a:pt x="156" y="59"/>
                  </a:lnTo>
                  <a:lnTo>
                    <a:pt x="156" y="69"/>
                  </a:lnTo>
                  <a:lnTo>
                    <a:pt x="175" y="78"/>
                  </a:lnTo>
                  <a:lnTo>
                    <a:pt x="175" y="88"/>
                  </a:lnTo>
                  <a:lnTo>
                    <a:pt x="175" y="98"/>
                  </a:lnTo>
                  <a:lnTo>
                    <a:pt x="156" y="108"/>
                  </a:lnTo>
                  <a:lnTo>
                    <a:pt x="146" y="117"/>
                  </a:lnTo>
                  <a:lnTo>
                    <a:pt x="127" y="127"/>
                  </a:lnTo>
                  <a:lnTo>
                    <a:pt x="107" y="117"/>
                  </a:lnTo>
                  <a:lnTo>
                    <a:pt x="97" y="108"/>
                  </a:lnTo>
                  <a:lnTo>
                    <a:pt x="78" y="117"/>
                  </a:lnTo>
                  <a:lnTo>
                    <a:pt x="49" y="117"/>
                  </a:lnTo>
                  <a:lnTo>
                    <a:pt x="39" y="117"/>
                  </a:lnTo>
                  <a:lnTo>
                    <a:pt x="39" y="98"/>
                  </a:lnTo>
                  <a:close/>
                </a:path>
              </a:pathLst>
            </a:custGeom>
            <a:solidFill>
              <a:srgbClr val="99C7B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8803" name="Freeform 339"/>
            <p:cNvSpPr>
              <a:spLocks noChangeAspect="1"/>
            </p:cNvSpPr>
            <p:nvPr/>
          </p:nvSpPr>
          <p:spPr bwMode="auto">
            <a:xfrm>
              <a:off x="839" y="2995"/>
              <a:ext cx="175" cy="127"/>
            </a:xfrm>
            <a:custGeom>
              <a:avLst/>
              <a:gdLst>
                <a:gd name="T0" fmla="*/ 39 w 175"/>
                <a:gd name="T1" fmla="*/ 98 h 127"/>
                <a:gd name="T2" fmla="*/ 39 w 175"/>
                <a:gd name="T3" fmla="*/ 69 h 127"/>
                <a:gd name="T4" fmla="*/ 29 w 175"/>
                <a:gd name="T5" fmla="*/ 59 h 127"/>
                <a:gd name="T6" fmla="*/ 10 w 175"/>
                <a:gd name="T7" fmla="*/ 39 h 127"/>
                <a:gd name="T8" fmla="*/ 10 w 175"/>
                <a:gd name="T9" fmla="*/ 20 h 127"/>
                <a:gd name="T10" fmla="*/ 0 w 175"/>
                <a:gd name="T11" fmla="*/ 20 h 127"/>
                <a:gd name="T12" fmla="*/ 29 w 175"/>
                <a:gd name="T13" fmla="*/ 0 h 127"/>
                <a:gd name="T14" fmla="*/ 49 w 175"/>
                <a:gd name="T15" fmla="*/ 0 h 127"/>
                <a:gd name="T16" fmla="*/ 78 w 175"/>
                <a:gd name="T17" fmla="*/ 0 h 127"/>
                <a:gd name="T18" fmla="*/ 97 w 175"/>
                <a:gd name="T19" fmla="*/ 10 h 127"/>
                <a:gd name="T20" fmla="*/ 107 w 175"/>
                <a:gd name="T21" fmla="*/ 20 h 127"/>
                <a:gd name="T22" fmla="*/ 97 w 175"/>
                <a:gd name="T23" fmla="*/ 30 h 127"/>
                <a:gd name="T24" fmla="*/ 127 w 175"/>
                <a:gd name="T25" fmla="*/ 39 h 127"/>
                <a:gd name="T26" fmla="*/ 127 w 175"/>
                <a:gd name="T27" fmla="*/ 49 h 127"/>
                <a:gd name="T28" fmla="*/ 127 w 175"/>
                <a:gd name="T29" fmla="*/ 59 h 127"/>
                <a:gd name="T30" fmla="*/ 156 w 175"/>
                <a:gd name="T31" fmla="*/ 59 h 127"/>
                <a:gd name="T32" fmla="*/ 156 w 175"/>
                <a:gd name="T33" fmla="*/ 69 h 127"/>
                <a:gd name="T34" fmla="*/ 175 w 175"/>
                <a:gd name="T35" fmla="*/ 78 h 127"/>
                <a:gd name="T36" fmla="*/ 175 w 175"/>
                <a:gd name="T37" fmla="*/ 88 h 127"/>
                <a:gd name="T38" fmla="*/ 175 w 175"/>
                <a:gd name="T39" fmla="*/ 98 h 127"/>
                <a:gd name="T40" fmla="*/ 156 w 175"/>
                <a:gd name="T41" fmla="*/ 108 h 127"/>
                <a:gd name="T42" fmla="*/ 146 w 175"/>
                <a:gd name="T43" fmla="*/ 117 h 127"/>
                <a:gd name="T44" fmla="*/ 127 w 175"/>
                <a:gd name="T45" fmla="*/ 127 h 127"/>
                <a:gd name="T46" fmla="*/ 107 w 175"/>
                <a:gd name="T47" fmla="*/ 117 h 127"/>
                <a:gd name="T48" fmla="*/ 97 w 175"/>
                <a:gd name="T49" fmla="*/ 108 h 127"/>
                <a:gd name="T50" fmla="*/ 78 w 175"/>
                <a:gd name="T51" fmla="*/ 117 h 127"/>
                <a:gd name="T52" fmla="*/ 49 w 175"/>
                <a:gd name="T53" fmla="*/ 117 h 127"/>
                <a:gd name="T54" fmla="*/ 39 w 175"/>
                <a:gd name="T55" fmla="*/ 117 h 127"/>
                <a:gd name="T56" fmla="*/ 39 w 175"/>
                <a:gd name="T57" fmla="*/ 98 h 12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5"/>
                <a:gd name="T88" fmla="*/ 0 h 127"/>
                <a:gd name="T89" fmla="*/ 175 w 175"/>
                <a:gd name="T90" fmla="*/ 127 h 127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5" h="127">
                  <a:moveTo>
                    <a:pt x="39" y="98"/>
                  </a:moveTo>
                  <a:lnTo>
                    <a:pt x="39" y="69"/>
                  </a:lnTo>
                  <a:lnTo>
                    <a:pt x="29" y="59"/>
                  </a:lnTo>
                  <a:lnTo>
                    <a:pt x="10" y="39"/>
                  </a:lnTo>
                  <a:lnTo>
                    <a:pt x="10" y="20"/>
                  </a:lnTo>
                  <a:lnTo>
                    <a:pt x="0" y="20"/>
                  </a:lnTo>
                  <a:lnTo>
                    <a:pt x="29" y="0"/>
                  </a:lnTo>
                  <a:lnTo>
                    <a:pt x="49" y="0"/>
                  </a:lnTo>
                  <a:lnTo>
                    <a:pt x="78" y="0"/>
                  </a:lnTo>
                  <a:lnTo>
                    <a:pt x="97" y="10"/>
                  </a:lnTo>
                  <a:lnTo>
                    <a:pt x="107" y="20"/>
                  </a:lnTo>
                  <a:lnTo>
                    <a:pt x="97" y="30"/>
                  </a:lnTo>
                  <a:lnTo>
                    <a:pt x="127" y="39"/>
                  </a:lnTo>
                  <a:lnTo>
                    <a:pt x="127" y="49"/>
                  </a:lnTo>
                  <a:lnTo>
                    <a:pt x="127" y="59"/>
                  </a:lnTo>
                  <a:lnTo>
                    <a:pt x="156" y="59"/>
                  </a:lnTo>
                  <a:lnTo>
                    <a:pt x="156" y="69"/>
                  </a:lnTo>
                  <a:lnTo>
                    <a:pt x="175" y="78"/>
                  </a:lnTo>
                  <a:lnTo>
                    <a:pt x="175" y="88"/>
                  </a:lnTo>
                  <a:lnTo>
                    <a:pt x="175" y="98"/>
                  </a:lnTo>
                  <a:lnTo>
                    <a:pt x="156" y="108"/>
                  </a:lnTo>
                  <a:lnTo>
                    <a:pt x="146" y="117"/>
                  </a:lnTo>
                  <a:lnTo>
                    <a:pt x="127" y="127"/>
                  </a:lnTo>
                  <a:lnTo>
                    <a:pt x="107" y="117"/>
                  </a:lnTo>
                  <a:lnTo>
                    <a:pt x="97" y="108"/>
                  </a:lnTo>
                  <a:lnTo>
                    <a:pt x="78" y="117"/>
                  </a:lnTo>
                  <a:lnTo>
                    <a:pt x="49" y="117"/>
                  </a:lnTo>
                  <a:lnTo>
                    <a:pt x="39" y="117"/>
                  </a:lnTo>
                  <a:lnTo>
                    <a:pt x="39" y="98"/>
                  </a:lnTo>
                </a:path>
              </a:pathLst>
            </a:custGeom>
            <a:noFill/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18497" name="Freeform 337"/>
          <p:cNvSpPr>
            <a:spLocks noChangeAspect="1"/>
          </p:cNvSpPr>
          <p:nvPr>
            <p:custDataLst>
              <p:tags r:id="rId63"/>
            </p:custDataLst>
          </p:nvPr>
        </p:nvSpPr>
        <p:spPr bwMode="auto">
          <a:xfrm>
            <a:off x="2241550" y="4772025"/>
            <a:ext cx="103188" cy="66675"/>
          </a:xfrm>
          <a:custGeom>
            <a:avLst/>
            <a:gdLst>
              <a:gd name="T0" fmla="*/ 96573 w 156"/>
              <a:gd name="T1" fmla="*/ 18071 h 107"/>
              <a:gd name="T2" fmla="*/ 96573 w 156"/>
              <a:gd name="T3" fmla="*/ 24302 h 107"/>
              <a:gd name="T4" fmla="*/ 89959 w 156"/>
              <a:gd name="T5" fmla="*/ 24302 h 107"/>
              <a:gd name="T6" fmla="*/ 89959 w 156"/>
              <a:gd name="T7" fmla="*/ 18071 h 107"/>
              <a:gd name="T8" fmla="*/ 84006 w 156"/>
              <a:gd name="T9" fmla="*/ 18071 h 107"/>
              <a:gd name="T10" fmla="*/ 77391 w 156"/>
              <a:gd name="T11" fmla="*/ 18071 h 107"/>
              <a:gd name="T12" fmla="*/ 70776 w 156"/>
              <a:gd name="T13" fmla="*/ 24302 h 107"/>
              <a:gd name="T14" fmla="*/ 77391 w 156"/>
              <a:gd name="T15" fmla="*/ 36142 h 107"/>
              <a:gd name="T16" fmla="*/ 70776 w 156"/>
              <a:gd name="T17" fmla="*/ 36142 h 107"/>
              <a:gd name="T18" fmla="*/ 70776 w 156"/>
              <a:gd name="T19" fmla="*/ 48604 h 107"/>
              <a:gd name="T20" fmla="*/ 64162 w 156"/>
              <a:gd name="T21" fmla="*/ 60444 h 107"/>
              <a:gd name="T22" fmla="*/ 58209 w 156"/>
              <a:gd name="T23" fmla="*/ 66675 h 107"/>
              <a:gd name="T24" fmla="*/ 44979 w 156"/>
              <a:gd name="T25" fmla="*/ 60444 h 107"/>
              <a:gd name="T26" fmla="*/ 32412 w 156"/>
              <a:gd name="T27" fmla="*/ 60444 h 107"/>
              <a:gd name="T28" fmla="*/ 25797 w 156"/>
              <a:gd name="T29" fmla="*/ 54836 h 107"/>
              <a:gd name="T30" fmla="*/ 19182 w 156"/>
              <a:gd name="T31" fmla="*/ 48604 h 107"/>
              <a:gd name="T32" fmla="*/ 12568 w 156"/>
              <a:gd name="T33" fmla="*/ 54836 h 107"/>
              <a:gd name="T34" fmla="*/ 0 w 156"/>
              <a:gd name="T35" fmla="*/ 48604 h 107"/>
              <a:gd name="T36" fmla="*/ 0 w 156"/>
              <a:gd name="T37" fmla="*/ 36142 h 107"/>
              <a:gd name="T38" fmla="*/ 6615 w 156"/>
              <a:gd name="T39" fmla="*/ 30533 h 107"/>
              <a:gd name="T40" fmla="*/ 6615 w 156"/>
              <a:gd name="T41" fmla="*/ 18071 h 107"/>
              <a:gd name="T42" fmla="*/ 0 w 156"/>
              <a:gd name="T43" fmla="*/ 11839 h 107"/>
              <a:gd name="T44" fmla="*/ 12568 w 156"/>
              <a:gd name="T45" fmla="*/ 11839 h 107"/>
              <a:gd name="T46" fmla="*/ 25797 w 156"/>
              <a:gd name="T47" fmla="*/ 11839 h 107"/>
              <a:gd name="T48" fmla="*/ 38365 w 156"/>
              <a:gd name="T49" fmla="*/ 11839 h 107"/>
              <a:gd name="T50" fmla="*/ 44979 w 156"/>
              <a:gd name="T51" fmla="*/ 11839 h 107"/>
              <a:gd name="T52" fmla="*/ 58209 w 156"/>
              <a:gd name="T53" fmla="*/ 18071 h 107"/>
              <a:gd name="T54" fmla="*/ 70776 w 156"/>
              <a:gd name="T55" fmla="*/ 11839 h 107"/>
              <a:gd name="T56" fmla="*/ 77391 w 156"/>
              <a:gd name="T57" fmla="*/ 11839 h 107"/>
              <a:gd name="T58" fmla="*/ 89959 w 156"/>
              <a:gd name="T59" fmla="*/ 0 h 107"/>
              <a:gd name="T60" fmla="*/ 103188 w 156"/>
              <a:gd name="T61" fmla="*/ 6231 h 107"/>
              <a:gd name="T62" fmla="*/ 96573 w 156"/>
              <a:gd name="T63" fmla="*/ 11839 h 107"/>
              <a:gd name="T64" fmla="*/ 96573 w 156"/>
              <a:gd name="T65" fmla="*/ 18071 h 10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56"/>
              <a:gd name="T100" fmla="*/ 0 h 107"/>
              <a:gd name="T101" fmla="*/ 156 w 156"/>
              <a:gd name="T102" fmla="*/ 107 h 107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56" h="107">
                <a:moveTo>
                  <a:pt x="146" y="29"/>
                </a:moveTo>
                <a:lnTo>
                  <a:pt x="146" y="39"/>
                </a:lnTo>
                <a:lnTo>
                  <a:pt x="136" y="39"/>
                </a:lnTo>
                <a:lnTo>
                  <a:pt x="136" y="29"/>
                </a:lnTo>
                <a:lnTo>
                  <a:pt x="127" y="29"/>
                </a:lnTo>
                <a:lnTo>
                  <a:pt x="117" y="29"/>
                </a:lnTo>
                <a:lnTo>
                  <a:pt x="107" y="39"/>
                </a:lnTo>
                <a:lnTo>
                  <a:pt x="117" y="58"/>
                </a:lnTo>
                <a:lnTo>
                  <a:pt x="107" y="58"/>
                </a:lnTo>
                <a:lnTo>
                  <a:pt x="107" y="78"/>
                </a:lnTo>
                <a:lnTo>
                  <a:pt x="97" y="97"/>
                </a:lnTo>
                <a:lnTo>
                  <a:pt x="88" y="107"/>
                </a:lnTo>
                <a:lnTo>
                  <a:pt x="68" y="97"/>
                </a:lnTo>
                <a:lnTo>
                  <a:pt x="49" y="97"/>
                </a:lnTo>
                <a:lnTo>
                  <a:pt x="39" y="88"/>
                </a:lnTo>
                <a:lnTo>
                  <a:pt x="29" y="78"/>
                </a:lnTo>
                <a:lnTo>
                  <a:pt x="19" y="88"/>
                </a:lnTo>
                <a:lnTo>
                  <a:pt x="0" y="78"/>
                </a:lnTo>
                <a:lnTo>
                  <a:pt x="0" y="58"/>
                </a:lnTo>
                <a:lnTo>
                  <a:pt x="10" y="49"/>
                </a:lnTo>
                <a:lnTo>
                  <a:pt x="10" y="29"/>
                </a:lnTo>
                <a:lnTo>
                  <a:pt x="0" y="19"/>
                </a:lnTo>
                <a:lnTo>
                  <a:pt x="19" y="19"/>
                </a:lnTo>
                <a:lnTo>
                  <a:pt x="39" y="19"/>
                </a:lnTo>
                <a:lnTo>
                  <a:pt x="58" y="19"/>
                </a:lnTo>
                <a:lnTo>
                  <a:pt x="68" y="19"/>
                </a:lnTo>
                <a:lnTo>
                  <a:pt x="88" y="29"/>
                </a:lnTo>
                <a:lnTo>
                  <a:pt x="107" y="19"/>
                </a:lnTo>
                <a:lnTo>
                  <a:pt x="117" y="19"/>
                </a:lnTo>
                <a:lnTo>
                  <a:pt x="136" y="0"/>
                </a:lnTo>
                <a:lnTo>
                  <a:pt x="156" y="10"/>
                </a:lnTo>
                <a:lnTo>
                  <a:pt x="146" y="19"/>
                </a:lnTo>
                <a:lnTo>
                  <a:pt x="146" y="29"/>
                </a:lnTo>
                <a:close/>
              </a:path>
            </a:pathLst>
          </a:custGeom>
          <a:solidFill>
            <a:srgbClr val="CCECFF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grpSp>
        <p:nvGrpSpPr>
          <p:cNvPr id="18498" name="Group 334"/>
          <p:cNvGrpSpPr>
            <a:grpSpLocks noChangeAspect="1"/>
          </p:cNvGrpSpPr>
          <p:nvPr>
            <p:custDataLst>
              <p:tags r:id="rId64"/>
            </p:custDataLst>
          </p:nvPr>
        </p:nvGrpSpPr>
        <p:grpSpPr bwMode="auto">
          <a:xfrm>
            <a:off x="2241550" y="4772025"/>
            <a:ext cx="103188" cy="66675"/>
            <a:chOff x="878" y="3093"/>
            <a:chExt cx="156" cy="107"/>
          </a:xfrm>
        </p:grpSpPr>
        <p:sp>
          <p:nvSpPr>
            <p:cNvPr id="18800" name="Freeform 336"/>
            <p:cNvSpPr>
              <a:spLocks noChangeAspect="1"/>
            </p:cNvSpPr>
            <p:nvPr/>
          </p:nvSpPr>
          <p:spPr bwMode="auto">
            <a:xfrm>
              <a:off x="878" y="3093"/>
              <a:ext cx="156" cy="107"/>
            </a:xfrm>
            <a:custGeom>
              <a:avLst/>
              <a:gdLst>
                <a:gd name="T0" fmla="*/ 146 w 156"/>
                <a:gd name="T1" fmla="*/ 39 h 107"/>
                <a:gd name="T2" fmla="*/ 136 w 156"/>
                <a:gd name="T3" fmla="*/ 39 h 107"/>
                <a:gd name="T4" fmla="*/ 136 w 156"/>
                <a:gd name="T5" fmla="*/ 39 h 107"/>
                <a:gd name="T6" fmla="*/ 136 w 156"/>
                <a:gd name="T7" fmla="*/ 29 h 107"/>
                <a:gd name="T8" fmla="*/ 127 w 156"/>
                <a:gd name="T9" fmla="*/ 29 h 107"/>
                <a:gd name="T10" fmla="*/ 117 w 156"/>
                <a:gd name="T11" fmla="*/ 39 h 107"/>
                <a:gd name="T12" fmla="*/ 107 w 156"/>
                <a:gd name="T13" fmla="*/ 39 h 107"/>
                <a:gd name="T14" fmla="*/ 117 w 156"/>
                <a:gd name="T15" fmla="*/ 58 h 107"/>
                <a:gd name="T16" fmla="*/ 107 w 156"/>
                <a:gd name="T17" fmla="*/ 58 h 107"/>
                <a:gd name="T18" fmla="*/ 107 w 156"/>
                <a:gd name="T19" fmla="*/ 78 h 107"/>
                <a:gd name="T20" fmla="*/ 97 w 156"/>
                <a:gd name="T21" fmla="*/ 97 h 107"/>
                <a:gd name="T22" fmla="*/ 88 w 156"/>
                <a:gd name="T23" fmla="*/ 107 h 107"/>
                <a:gd name="T24" fmla="*/ 68 w 156"/>
                <a:gd name="T25" fmla="*/ 97 h 107"/>
                <a:gd name="T26" fmla="*/ 49 w 156"/>
                <a:gd name="T27" fmla="*/ 97 h 107"/>
                <a:gd name="T28" fmla="*/ 39 w 156"/>
                <a:gd name="T29" fmla="*/ 88 h 107"/>
                <a:gd name="T30" fmla="*/ 29 w 156"/>
                <a:gd name="T31" fmla="*/ 78 h 107"/>
                <a:gd name="T32" fmla="*/ 19 w 156"/>
                <a:gd name="T33" fmla="*/ 88 h 107"/>
                <a:gd name="T34" fmla="*/ 0 w 156"/>
                <a:gd name="T35" fmla="*/ 78 h 107"/>
                <a:gd name="T36" fmla="*/ 0 w 156"/>
                <a:gd name="T37" fmla="*/ 58 h 107"/>
                <a:gd name="T38" fmla="*/ 10 w 156"/>
                <a:gd name="T39" fmla="*/ 49 h 107"/>
                <a:gd name="T40" fmla="*/ 10 w 156"/>
                <a:gd name="T41" fmla="*/ 29 h 107"/>
                <a:gd name="T42" fmla="*/ 0 w 156"/>
                <a:gd name="T43" fmla="*/ 19 h 107"/>
                <a:gd name="T44" fmla="*/ 19 w 156"/>
                <a:gd name="T45" fmla="*/ 19 h 107"/>
                <a:gd name="T46" fmla="*/ 39 w 156"/>
                <a:gd name="T47" fmla="*/ 19 h 107"/>
                <a:gd name="T48" fmla="*/ 58 w 156"/>
                <a:gd name="T49" fmla="*/ 19 h 107"/>
                <a:gd name="T50" fmla="*/ 68 w 156"/>
                <a:gd name="T51" fmla="*/ 19 h 107"/>
                <a:gd name="T52" fmla="*/ 88 w 156"/>
                <a:gd name="T53" fmla="*/ 29 h 107"/>
                <a:gd name="T54" fmla="*/ 107 w 156"/>
                <a:gd name="T55" fmla="*/ 19 h 107"/>
                <a:gd name="T56" fmla="*/ 117 w 156"/>
                <a:gd name="T57" fmla="*/ 19 h 107"/>
                <a:gd name="T58" fmla="*/ 136 w 156"/>
                <a:gd name="T59" fmla="*/ 0 h 107"/>
                <a:gd name="T60" fmla="*/ 156 w 156"/>
                <a:gd name="T61" fmla="*/ 10 h 107"/>
                <a:gd name="T62" fmla="*/ 146 w 156"/>
                <a:gd name="T63" fmla="*/ 19 h 107"/>
                <a:gd name="T64" fmla="*/ 146 w 156"/>
                <a:gd name="T65" fmla="*/ 39 h 10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56"/>
                <a:gd name="T100" fmla="*/ 0 h 107"/>
                <a:gd name="T101" fmla="*/ 156 w 156"/>
                <a:gd name="T102" fmla="*/ 107 h 10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56" h="107">
                  <a:moveTo>
                    <a:pt x="146" y="39"/>
                  </a:moveTo>
                  <a:lnTo>
                    <a:pt x="136" y="39"/>
                  </a:lnTo>
                  <a:lnTo>
                    <a:pt x="136" y="29"/>
                  </a:lnTo>
                  <a:lnTo>
                    <a:pt x="127" y="29"/>
                  </a:lnTo>
                  <a:lnTo>
                    <a:pt x="117" y="39"/>
                  </a:lnTo>
                  <a:lnTo>
                    <a:pt x="107" y="39"/>
                  </a:lnTo>
                  <a:lnTo>
                    <a:pt x="117" y="58"/>
                  </a:lnTo>
                  <a:lnTo>
                    <a:pt x="107" y="58"/>
                  </a:lnTo>
                  <a:lnTo>
                    <a:pt x="107" y="78"/>
                  </a:lnTo>
                  <a:lnTo>
                    <a:pt x="97" y="97"/>
                  </a:lnTo>
                  <a:lnTo>
                    <a:pt x="88" y="107"/>
                  </a:lnTo>
                  <a:lnTo>
                    <a:pt x="68" y="97"/>
                  </a:lnTo>
                  <a:lnTo>
                    <a:pt x="49" y="97"/>
                  </a:lnTo>
                  <a:lnTo>
                    <a:pt x="39" y="88"/>
                  </a:lnTo>
                  <a:lnTo>
                    <a:pt x="29" y="78"/>
                  </a:lnTo>
                  <a:lnTo>
                    <a:pt x="19" y="88"/>
                  </a:lnTo>
                  <a:lnTo>
                    <a:pt x="0" y="78"/>
                  </a:lnTo>
                  <a:lnTo>
                    <a:pt x="0" y="58"/>
                  </a:lnTo>
                  <a:lnTo>
                    <a:pt x="10" y="49"/>
                  </a:lnTo>
                  <a:lnTo>
                    <a:pt x="10" y="29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9" y="19"/>
                  </a:lnTo>
                  <a:lnTo>
                    <a:pt x="58" y="19"/>
                  </a:lnTo>
                  <a:lnTo>
                    <a:pt x="68" y="19"/>
                  </a:lnTo>
                  <a:lnTo>
                    <a:pt x="88" y="29"/>
                  </a:lnTo>
                  <a:lnTo>
                    <a:pt x="107" y="19"/>
                  </a:lnTo>
                  <a:lnTo>
                    <a:pt x="117" y="19"/>
                  </a:lnTo>
                  <a:lnTo>
                    <a:pt x="136" y="0"/>
                  </a:lnTo>
                  <a:lnTo>
                    <a:pt x="156" y="10"/>
                  </a:lnTo>
                  <a:lnTo>
                    <a:pt x="146" y="19"/>
                  </a:lnTo>
                  <a:lnTo>
                    <a:pt x="146" y="39"/>
                  </a:lnTo>
                  <a:close/>
                </a:path>
              </a:pathLst>
            </a:custGeom>
            <a:solidFill>
              <a:srgbClr val="99C7B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8801" name="Freeform 335"/>
            <p:cNvSpPr>
              <a:spLocks noChangeAspect="1"/>
            </p:cNvSpPr>
            <p:nvPr/>
          </p:nvSpPr>
          <p:spPr bwMode="auto">
            <a:xfrm>
              <a:off x="878" y="3093"/>
              <a:ext cx="156" cy="107"/>
            </a:xfrm>
            <a:custGeom>
              <a:avLst/>
              <a:gdLst>
                <a:gd name="T0" fmla="*/ 146 w 156"/>
                <a:gd name="T1" fmla="*/ 39 h 107"/>
                <a:gd name="T2" fmla="*/ 136 w 156"/>
                <a:gd name="T3" fmla="*/ 39 h 107"/>
                <a:gd name="T4" fmla="*/ 136 w 156"/>
                <a:gd name="T5" fmla="*/ 39 h 107"/>
                <a:gd name="T6" fmla="*/ 136 w 156"/>
                <a:gd name="T7" fmla="*/ 29 h 107"/>
                <a:gd name="T8" fmla="*/ 127 w 156"/>
                <a:gd name="T9" fmla="*/ 29 h 107"/>
                <a:gd name="T10" fmla="*/ 117 w 156"/>
                <a:gd name="T11" fmla="*/ 39 h 107"/>
                <a:gd name="T12" fmla="*/ 107 w 156"/>
                <a:gd name="T13" fmla="*/ 39 h 107"/>
                <a:gd name="T14" fmla="*/ 117 w 156"/>
                <a:gd name="T15" fmla="*/ 58 h 107"/>
                <a:gd name="T16" fmla="*/ 107 w 156"/>
                <a:gd name="T17" fmla="*/ 58 h 107"/>
                <a:gd name="T18" fmla="*/ 107 w 156"/>
                <a:gd name="T19" fmla="*/ 78 h 107"/>
                <a:gd name="T20" fmla="*/ 97 w 156"/>
                <a:gd name="T21" fmla="*/ 97 h 107"/>
                <a:gd name="T22" fmla="*/ 88 w 156"/>
                <a:gd name="T23" fmla="*/ 107 h 107"/>
                <a:gd name="T24" fmla="*/ 68 w 156"/>
                <a:gd name="T25" fmla="*/ 97 h 107"/>
                <a:gd name="T26" fmla="*/ 49 w 156"/>
                <a:gd name="T27" fmla="*/ 97 h 107"/>
                <a:gd name="T28" fmla="*/ 39 w 156"/>
                <a:gd name="T29" fmla="*/ 88 h 107"/>
                <a:gd name="T30" fmla="*/ 29 w 156"/>
                <a:gd name="T31" fmla="*/ 78 h 107"/>
                <a:gd name="T32" fmla="*/ 19 w 156"/>
                <a:gd name="T33" fmla="*/ 88 h 107"/>
                <a:gd name="T34" fmla="*/ 0 w 156"/>
                <a:gd name="T35" fmla="*/ 78 h 107"/>
                <a:gd name="T36" fmla="*/ 0 w 156"/>
                <a:gd name="T37" fmla="*/ 58 h 107"/>
                <a:gd name="T38" fmla="*/ 10 w 156"/>
                <a:gd name="T39" fmla="*/ 49 h 107"/>
                <a:gd name="T40" fmla="*/ 10 w 156"/>
                <a:gd name="T41" fmla="*/ 29 h 107"/>
                <a:gd name="T42" fmla="*/ 0 w 156"/>
                <a:gd name="T43" fmla="*/ 19 h 107"/>
                <a:gd name="T44" fmla="*/ 19 w 156"/>
                <a:gd name="T45" fmla="*/ 19 h 107"/>
                <a:gd name="T46" fmla="*/ 39 w 156"/>
                <a:gd name="T47" fmla="*/ 19 h 107"/>
                <a:gd name="T48" fmla="*/ 58 w 156"/>
                <a:gd name="T49" fmla="*/ 19 h 107"/>
                <a:gd name="T50" fmla="*/ 68 w 156"/>
                <a:gd name="T51" fmla="*/ 19 h 107"/>
                <a:gd name="T52" fmla="*/ 88 w 156"/>
                <a:gd name="T53" fmla="*/ 29 h 107"/>
                <a:gd name="T54" fmla="*/ 107 w 156"/>
                <a:gd name="T55" fmla="*/ 19 h 107"/>
                <a:gd name="T56" fmla="*/ 117 w 156"/>
                <a:gd name="T57" fmla="*/ 19 h 107"/>
                <a:gd name="T58" fmla="*/ 136 w 156"/>
                <a:gd name="T59" fmla="*/ 0 h 107"/>
                <a:gd name="T60" fmla="*/ 156 w 156"/>
                <a:gd name="T61" fmla="*/ 10 h 107"/>
                <a:gd name="T62" fmla="*/ 146 w 156"/>
                <a:gd name="T63" fmla="*/ 19 h 107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56"/>
                <a:gd name="T97" fmla="*/ 0 h 107"/>
                <a:gd name="T98" fmla="*/ 156 w 156"/>
                <a:gd name="T99" fmla="*/ 107 h 107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56" h="107">
                  <a:moveTo>
                    <a:pt x="146" y="39"/>
                  </a:moveTo>
                  <a:lnTo>
                    <a:pt x="136" y="39"/>
                  </a:lnTo>
                  <a:lnTo>
                    <a:pt x="136" y="29"/>
                  </a:lnTo>
                  <a:lnTo>
                    <a:pt x="127" y="29"/>
                  </a:lnTo>
                  <a:lnTo>
                    <a:pt x="117" y="39"/>
                  </a:lnTo>
                  <a:lnTo>
                    <a:pt x="107" y="39"/>
                  </a:lnTo>
                  <a:lnTo>
                    <a:pt x="117" y="58"/>
                  </a:lnTo>
                  <a:lnTo>
                    <a:pt x="107" y="58"/>
                  </a:lnTo>
                  <a:lnTo>
                    <a:pt x="107" y="78"/>
                  </a:lnTo>
                  <a:lnTo>
                    <a:pt x="97" y="97"/>
                  </a:lnTo>
                  <a:lnTo>
                    <a:pt x="88" y="107"/>
                  </a:lnTo>
                  <a:lnTo>
                    <a:pt x="68" y="97"/>
                  </a:lnTo>
                  <a:lnTo>
                    <a:pt x="49" y="97"/>
                  </a:lnTo>
                  <a:lnTo>
                    <a:pt x="39" y="88"/>
                  </a:lnTo>
                  <a:lnTo>
                    <a:pt x="29" y="78"/>
                  </a:lnTo>
                  <a:lnTo>
                    <a:pt x="19" y="88"/>
                  </a:lnTo>
                  <a:lnTo>
                    <a:pt x="0" y="78"/>
                  </a:lnTo>
                  <a:lnTo>
                    <a:pt x="0" y="58"/>
                  </a:lnTo>
                  <a:lnTo>
                    <a:pt x="10" y="49"/>
                  </a:lnTo>
                  <a:lnTo>
                    <a:pt x="10" y="29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9" y="19"/>
                  </a:lnTo>
                  <a:lnTo>
                    <a:pt x="58" y="19"/>
                  </a:lnTo>
                  <a:lnTo>
                    <a:pt x="68" y="19"/>
                  </a:lnTo>
                  <a:lnTo>
                    <a:pt x="88" y="29"/>
                  </a:lnTo>
                  <a:lnTo>
                    <a:pt x="107" y="19"/>
                  </a:lnTo>
                  <a:lnTo>
                    <a:pt x="117" y="19"/>
                  </a:lnTo>
                  <a:lnTo>
                    <a:pt x="136" y="0"/>
                  </a:lnTo>
                  <a:lnTo>
                    <a:pt x="156" y="10"/>
                  </a:lnTo>
                  <a:lnTo>
                    <a:pt x="146" y="19"/>
                  </a:lnTo>
                </a:path>
              </a:pathLst>
            </a:custGeom>
            <a:noFill/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18499" name="Freeform 333"/>
          <p:cNvSpPr>
            <a:spLocks noChangeAspect="1"/>
          </p:cNvSpPr>
          <p:nvPr>
            <p:custDataLst>
              <p:tags r:id="rId65"/>
            </p:custDataLst>
          </p:nvPr>
        </p:nvSpPr>
        <p:spPr bwMode="auto">
          <a:xfrm>
            <a:off x="2279650" y="4791075"/>
            <a:ext cx="65088" cy="73025"/>
          </a:xfrm>
          <a:custGeom>
            <a:avLst/>
            <a:gdLst>
              <a:gd name="T0" fmla="*/ 19925 w 98"/>
              <a:gd name="T1" fmla="*/ 73025 h 117"/>
              <a:gd name="T2" fmla="*/ 39186 w 98"/>
              <a:gd name="T3" fmla="*/ 66784 h 117"/>
              <a:gd name="T4" fmla="*/ 51805 w 98"/>
              <a:gd name="T5" fmla="*/ 48683 h 117"/>
              <a:gd name="T6" fmla="*/ 65088 w 98"/>
              <a:gd name="T7" fmla="*/ 30583 h 117"/>
              <a:gd name="T8" fmla="*/ 65088 w 98"/>
              <a:gd name="T9" fmla="*/ 12483 h 117"/>
              <a:gd name="T10" fmla="*/ 58446 w 98"/>
              <a:gd name="T11" fmla="*/ 0 h 117"/>
              <a:gd name="T12" fmla="*/ 58446 w 98"/>
              <a:gd name="T13" fmla="*/ 6241 h 117"/>
              <a:gd name="T14" fmla="*/ 51805 w 98"/>
              <a:gd name="T15" fmla="*/ 6241 h 117"/>
              <a:gd name="T16" fmla="*/ 51805 w 98"/>
              <a:gd name="T17" fmla="*/ 0 h 117"/>
              <a:gd name="T18" fmla="*/ 45827 w 98"/>
              <a:gd name="T19" fmla="*/ 0 h 117"/>
              <a:gd name="T20" fmla="*/ 39186 w 98"/>
              <a:gd name="T21" fmla="*/ 0 h 117"/>
              <a:gd name="T22" fmla="*/ 32544 w 98"/>
              <a:gd name="T23" fmla="*/ 6241 h 117"/>
              <a:gd name="T24" fmla="*/ 39186 w 98"/>
              <a:gd name="T25" fmla="*/ 12483 h 117"/>
              <a:gd name="T26" fmla="*/ 32544 w 98"/>
              <a:gd name="T27" fmla="*/ 18100 h 117"/>
              <a:gd name="T28" fmla="*/ 32544 w 98"/>
              <a:gd name="T29" fmla="*/ 30583 h 117"/>
              <a:gd name="T30" fmla="*/ 25902 w 98"/>
              <a:gd name="T31" fmla="*/ 42442 h 117"/>
              <a:gd name="T32" fmla="*/ 19925 w 98"/>
              <a:gd name="T33" fmla="*/ 48683 h 117"/>
              <a:gd name="T34" fmla="*/ 6642 w 98"/>
              <a:gd name="T35" fmla="*/ 42442 h 117"/>
              <a:gd name="T36" fmla="*/ 0 w 98"/>
              <a:gd name="T37" fmla="*/ 48683 h 117"/>
              <a:gd name="T38" fmla="*/ 6642 w 98"/>
              <a:gd name="T39" fmla="*/ 54925 h 117"/>
              <a:gd name="T40" fmla="*/ 19925 w 98"/>
              <a:gd name="T41" fmla="*/ 66784 h 117"/>
              <a:gd name="T42" fmla="*/ 19925 w 98"/>
              <a:gd name="T43" fmla="*/ 73025 h 117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98"/>
              <a:gd name="T67" fmla="*/ 0 h 117"/>
              <a:gd name="T68" fmla="*/ 98 w 98"/>
              <a:gd name="T69" fmla="*/ 117 h 117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98" h="117">
                <a:moveTo>
                  <a:pt x="30" y="117"/>
                </a:moveTo>
                <a:lnTo>
                  <a:pt x="59" y="107"/>
                </a:lnTo>
                <a:lnTo>
                  <a:pt x="78" y="78"/>
                </a:lnTo>
                <a:lnTo>
                  <a:pt x="98" y="49"/>
                </a:lnTo>
                <a:lnTo>
                  <a:pt x="98" y="20"/>
                </a:lnTo>
                <a:lnTo>
                  <a:pt x="88" y="0"/>
                </a:lnTo>
                <a:lnTo>
                  <a:pt x="88" y="10"/>
                </a:lnTo>
                <a:lnTo>
                  <a:pt x="78" y="10"/>
                </a:lnTo>
                <a:lnTo>
                  <a:pt x="78" y="0"/>
                </a:lnTo>
                <a:lnTo>
                  <a:pt x="69" y="0"/>
                </a:lnTo>
                <a:lnTo>
                  <a:pt x="59" y="0"/>
                </a:lnTo>
                <a:lnTo>
                  <a:pt x="49" y="10"/>
                </a:lnTo>
                <a:lnTo>
                  <a:pt x="59" y="20"/>
                </a:lnTo>
                <a:lnTo>
                  <a:pt x="49" y="29"/>
                </a:lnTo>
                <a:lnTo>
                  <a:pt x="49" y="49"/>
                </a:lnTo>
                <a:lnTo>
                  <a:pt x="39" y="68"/>
                </a:lnTo>
                <a:lnTo>
                  <a:pt x="30" y="78"/>
                </a:lnTo>
                <a:lnTo>
                  <a:pt x="10" y="68"/>
                </a:lnTo>
                <a:lnTo>
                  <a:pt x="0" y="78"/>
                </a:lnTo>
                <a:lnTo>
                  <a:pt x="10" y="88"/>
                </a:lnTo>
                <a:lnTo>
                  <a:pt x="30" y="107"/>
                </a:lnTo>
                <a:lnTo>
                  <a:pt x="30" y="117"/>
                </a:lnTo>
                <a:close/>
              </a:path>
            </a:pathLst>
          </a:custGeom>
          <a:solidFill>
            <a:srgbClr val="CCECFF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grpSp>
        <p:nvGrpSpPr>
          <p:cNvPr id="18500" name="Group 330"/>
          <p:cNvGrpSpPr>
            <a:grpSpLocks noChangeAspect="1"/>
          </p:cNvGrpSpPr>
          <p:nvPr>
            <p:custDataLst>
              <p:tags r:id="rId66"/>
            </p:custDataLst>
          </p:nvPr>
        </p:nvGrpSpPr>
        <p:grpSpPr bwMode="auto">
          <a:xfrm>
            <a:off x="2279650" y="4791075"/>
            <a:ext cx="65088" cy="73025"/>
            <a:chOff x="936" y="3122"/>
            <a:chExt cx="98" cy="117"/>
          </a:xfrm>
        </p:grpSpPr>
        <p:sp>
          <p:nvSpPr>
            <p:cNvPr id="18798" name="Freeform 332"/>
            <p:cNvSpPr>
              <a:spLocks noChangeAspect="1"/>
            </p:cNvSpPr>
            <p:nvPr/>
          </p:nvSpPr>
          <p:spPr bwMode="auto">
            <a:xfrm>
              <a:off x="936" y="3122"/>
              <a:ext cx="98" cy="117"/>
            </a:xfrm>
            <a:custGeom>
              <a:avLst/>
              <a:gdLst>
                <a:gd name="T0" fmla="*/ 30 w 98"/>
                <a:gd name="T1" fmla="*/ 117 h 117"/>
                <a:gd name="T2" fmla="*/ 59 w 98"/>
                <a:gd name="T3" fmla="*/ 107 h 117"/>
                <a:gd name="T4" fmla="*/ 78 w 98"/>
                <a:gd name="T5" fmla="*/ 78 h 117"/>
                <a:gd name="T6" fmla="*/ 98 w 98"/>
                <a:gd name="T7" fmla="*/ 49 h 117"/>
                <a:gd name="T8" fmla="*/ 98 w 98"/>
                <a:gd name="T9" fmla="*/ 20 h 117"/>
                <a:gd name="T10" fmla="*/ 88 w 98"/>
                <a:gd name="T11" fmla="*/ 0 h 117"/>
                <a:gd name="T12" fmla="*/ 88 w 98"/>
                <a:gd name="T13" fmla="*/ 10 h 117"/>
                <a:gd name="T14" fmla="*/ 78 w 98"/>
                <a:gd name="T15" fmla="*/ 10 h 117"/>
                <a:gd name="T16" fmla="*/ 78 w 98"/>
                <a:gd name="T17" fmla="*/ 0 h 117"/>
                <a:gd name="T18" fmla="*/ 69 w 98"/>
                <a:gd name="T19" fmla="*/ 0 h 117"/>
                <a:gd name="T20" fmla="*/ 59 w 98"/>
                <a:gd name="T21" fmla="*/ 0 h 117"/>
                <a:gd name="T22" fmla="*/ 49 w 98"/>
                <a:gd name="T23" fmla="*/ 10 h 117"/>
                <a:gd name="T24" fmla="*/ 59 w 98"/>
                <a:gd name="T25" fmla="*/ 20 h 117"/>
                <a:gd name="T26" fmla="*/ 49 w 98"/>
                <a:gd name="T27" fmla="*/ 29 h 117"/>
                <a:gd name="T28" fmla="*/ 49 w 98"/>
                <a:gd name="T29" fmla="*/ 49 h 117"/>
                <a:gd name="T30" fmla="*/ 49 w 98"/>
                <a:gd name="T31" fmla="*/ 68 h 117"/>
                <a:gd name="T32" fmla="*/ 30 w 98"/>
                <a:gd name="T33" fmla="*/ 78 h 117"/>
                <a:gd name="T34" fmla="*/ 10 w 98"/>
                <a:gd name="T35" fmla="*/ 68 h 117"/>
                <a:gd name="T36" fmla="*/ 0 w 98"/>
                <a:gd name="T37" fmla="*/ 78 h 117"/>
                <a:gd name="T38" fmla="*/ 10 w 98"/>
                <a:gd name="T39" fmla="*/ 88 h 117"/>
                <a:gd name="T40" fmla="*/ 30 w 98"/>
                <a:gd name="T41" fmla="*/ 98 h 117"/>
                <a:gd name="T42" fmla="*/ 30 w 98"/>
                <a:gd name="T43" fmla="*/ 117 h 117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98"/>
                <a:gd name="T67" fmla="*/ 0 h 117"/>
                <a:gd name="T68" fmla="*/ 98 w 98"/>
                <a:gd name="T69" fmla="*/ 117 h 117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98" h="117">
                  <a:moveTo>
                    <a:pt x="30" y="117"/>
                  </a:moveTo>
                  <a:lnTo>
                    <a:pt x="59" y="107"/>
                  </a:lnTo>
                  <a:lnTo>
                    <a:pt x="78" y="78"/>
                  </a:lnTo>
                  <a:lnTo>
                    <a:pt x="98" y="49"/>
                  </a:lnTo>
                  <a:lnTo>
                    <a:pt x="98" y="20"/>
                  </a:lnTo>
                  <a:lnTo>
                    <a:pt x="88" y="0"/>
                  </a:lnTo>
                  <a:lnTo>
                    <a:pt x="88" y="10"/>
                  </a:lnTo>
                  <a:lnTo>
                    <a:pt x="78" y="10"/>
                  </a:lnTo>
                  <a:lnTo>
                    <a:pt x="78" y="0"/>
                  </a:lnTo>
                  <a:lnTo>
                    <a:pt x="69" y="0"/>
                  </a:lnTo>
                  <a:lnTo>
                    <a:pt x="59" y="0"/>
                  </a:lnTo>
                  <a:lnTo>
                    <a:pt x="49" y="10"/>
                  </a:lnTo>
                  <a:lnTo>
                    <a:pt x="59" y="20"/>
                  </a:lnTo>
                  <a:lnTo>
                    <a:pt x="49" y="29"/>
                  </a:lnTo>
                  <a:lnTo>
                    <a:pt x="49" y="49"/>
                  </a:lnTo>
                  <a:lnTo>
                    <a:pt x="49" y="68"/>
                  </a:lnTo>
                  <a:lnTo>
                    <a:pt x="30" y="78"/>
                  </a:lnTo>
                  <a:lnTo>
                    <a:pt x="10" y="68"/>
                  </a:lnTo>
                  <a:lnTo>
                    <a:pt x="0" y="78"/>
                  </a:lnTo>
                  <a:lnTo>
                    <a:pt x="10" y="88"/>
                  </a:lnTo>
                  <a:lnTo>
                    <a:pt x="30" y="98"/>
                  </a:lnTo>
                  <a:lnTo>
                    <a:pt x="30" y="117"/>
                  </a:lnTo>
                  <a:close/>
                </a:path>
              </a:pathLst>
            </a:custGeom>
            <a:solidFill>
              <a:srgbClr val="99C7B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8799" name="Freeform 331"/>
            <p:cNvSpPr>
              <a:spLocks noChangeAspect="1"/>
            </p:cNvSpPr>
            <p:nvPr/>
          </p:nvSpPr>
          <p:spPr bwMode="auto">
            <a:xfrm>
              <a:off x="936" y="3122"/>
              <a:ext cx="98" cy="117"/>
            </a:xfrm>
            <a:custGeom>
              <a:avLst/>
              <a:gdLst>
                <a:gd name="T0" fmla="*/ 30 w 98"/>
                <a:gd name="T1" fmla="*/ 117 h 117"/>
                <a:gd name="T2" fmla="*/ 59 w 98"/>
                <a:gd name="T3" fmla="*/ 107 h 117"/>
                <a:gd name="T4" fmla="*/ 78 w 98"/>
                <a:gd name="T5" fmla="*/ 78 h 117"/>
                <a:gd name="T6" fmla="*/ 98 w 98"/>
                <a:gd name="T7" fmla="*/ 49 h 117"/>
                <a:gd name="T8" fmla="*/ 98 w 98"/>
                <a:gd name="T9" fmla="*/ 20 h 117"/>
                <a:gd name="T10" fmla="*/ 88 w 98"/>
                <a:gd name="T11" fmla="*/ 0 h 117"/>
                <a:gd name="T12" fmla="*/ 88 w 98"/>
                <a:gd name="T13" fmla="*/ 10 h 117"/>
                <a:gd name="T14" fmla="*/ 78 w 98"/>
                <a:gd name="T15" fmla="*/ 10 h 117"/>
                <a:gd name="T16" fmla="*/ 78 w 98"/>
                <a:gd name="T17" fmla="*/ 0 h 117"/>
                <a:gd name="T18" fmla="*/ 69 w 98"/>
                <a:gd name="T19" fmla="*/ 0 h 117"/>
                <a:gd name="T20" fmla="*/ 59 w 98"/>
                <a:gd name="T21" fmla="*/ 0 h 117"/>
                <a:gd name="T22" fmla="*/ 49 w 98"/>
                <a:gd name="T23" fmla="*/ 10 h 117"/>
                <a:gd name="T24" fmla="*/ 59 w 98"/>
                <a:gd name="T25" fmla="*/ 20 h 117"/>
                <a:gd name="T26" fmla="*/ 49 w 98"/>
                <a:gd name="T27" fmla="*/ 29 h 117"/>
                <a:gd name="T28" fmla="*/ 49 w 98"/>
                <a:gd name="T29" fmla="*/ 49 h 117"/>
                <a:gd name="T30" fmla="*/ 49 w 98"/>
                <a:gd name="T31" fmla="*/ 68 h 117"/>
                <a:gd name="T32" fmla="*/ 30 w 98"/>
                <a:gd name="T33" fmla="*/ 78 h 117"/>
                <a:gd name="T34" fmla="*/ 10 w 98"/>
                <a:gd name="T35" fmla="*/ 68 h 117"/>
                <a:gd name="T36" fmla="*/ 0 w 98"/>
                <a:gd name="T37" fmla="*/ 78 h 117"/>
                <a:gd name="T38" fmla="*/ 10 w 98"/>
                <a:gd name="T39" fmla="*/ 88 h 117"/>
                <a:gd name="T40" fmla="*/ 30 w 98"/>
                <a:gd name="T41" fmla="*/ 98 h 117"/>
                <a:gd name="T42" fmla="*/ 30 w 98"/>
                <a:gd name="T43" fmla="*/ 117 h 117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98"/>
                <a:gd name="T67" fmla="*/ 0 h 117"/>
                <a:gd name="T68" fmla="*/ 98 w 98"/>
                <a:gd name="T69" fmla="*/ 117 h 117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98" h="117">
                  <a:moveTo>
                    <a:pt x="30" y="117"/>
                  </a:moveTo>
                  <a:lnTo>
                    <a:pt x="59" y="107"/>
                  </a:lnTo>
                  <a:lnTo>
                    <a:pt x="78" y="78"/>
                  </a:lnTo>
                  <a:lnTo>
                    <a:pt x="98" y="49"/>
                  </a:lnTo>
                  <a:lnTo>
                    <a:pt x="98" y="20"/>
                  </a:lnTo>
                  <a:lnTo>
                    <a:pt x="88" y="0"/>
                  </a:lnTo>
                  <a:lnTo>
                    <a:pt x="88" y="10"/>
                  </a:lnTo>
                  <a:lnTo>
                    <a:pt x="78" y="10"/>
                  </a:lnTo>
                  <a:lnTo>
                    <a:pt x="78" y="0"/>
                  </a:lnTo>
                  <a:lnTo>
                    <a:pt x="69" y="0"/>
                  </a:lnTo>
                  <a:lnTo>
                    <a:pt x="59" y="0"/>
                  </a:lnTo>
                  <a:lnTo>
                    <a:pt x="49" y="10"/>
                  </a:lnTo>
                  <a:lnTo>
                    <a:pt x="59" y="20"/>
                  </a:lnTo>
                  <a:lnTo>
                    <a:pt x="49" y="29"/>
                  </a:lnTo>
                  <a:lnTo>
                    <a:pt x="49" y="49"/>
                  </a:lnTo>
                  <a:lnTo>
                    <a:pt x="49" y="68"/>
                  </a:lnTo>
                  <a:lnTo>
                    <a:pt x="30" y="78"/>
                  </a:lnTo>
                  <a:lnTo>
                    <a:pt x="10" y="68"/>
                  </a:lnTo>
                  <a:lnTo>
                    <a:pt x="0" y="78"/>
                  </a:lnTo>
                  <a:lnTo>
                    <a:pt x="10" y="88"/>
                  </a:lnTo>
                  <a:lnTo>
                    <a:pt x="30" y="98"/>
                  </a:lnTo>
                  <a:lnTo>
                    <a:pt x="30" y="117"/>
                  </a:lnTo>
                </a:path>
              </a:pathLst>
            </a:custGeom>
            <a:noFill/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18501" name="Freeform 329"/>
          <p:cNvSpPr>
            <a:spLocks noChangeAspect="1"/>
          </p:cNvSpPr>
          <p:nvPr>
            <p:custDataLst>
              <p:tags r:id="rId67"/>
            </p:custDataLst>
          </p:nvPr>
        </p:nvSpPr>
        <p:spPr bwMode="auto">
          <a:xfrm>
            <a:off x="2300288" y="4791075"/>
            <a:ext cx="115887" cy="109538"/>
          </a:xfrm>
          <a:custGeom>
            <a:avLst/>
            <a:gdLst>
              <a:gd name="T0" fmla="*/ 45030 w 175"/>
              <a:gd name="T1" fmla="*/ 12447 h 176"/>
              <a:gd name="T2" fmla="*/ 45030 w 175"/>
              <a:gd name="T3" fmla="*/ 30496 h 176"/>
              <a:gd name="T4" fmla="*/ 31786 w 175"/>
              <a:gd name="T5" fmla="*/ 48545 h 176"/>
              <a:gd name="T6" fmla="*/ 19204 w 175"/>
              <a:gd name="T7" fmla="*/ 66594 h 176"/>
              <a:gd name="T8" fmla="*/ 0 w 175"/>
              <a:gd name="T9" fmla="*/ 72817 h 176"/>
              <a:gd name="T10" fmla="*/ 0 w 175"/>
              <a:gd name="T11" fmla="*/ 85265 h 176"/>
              <a:gd name="T12" fmla="*/ 12582 w 175"/>
              <a:gd name="T13" fmla="*/ 97090 h 176"/>
              <a:gd name="T14" fmla="*/ 25826 w 175"/>
              <a:gd name="T15" fmla="*/ 103313 h 176"/>
              <a:gd name="T16" fmla="*/ 38408 w 175"/>
              <a:gd name="T17" fmla="*/ 97090 h 176"/>
              <a:gd name="T18" fmla="*/ 45030 w 175"/>
              <a:gd name="T19" fmla="*/ 91488 h 176"/>
              <a:gd name="T20" fmla="*/ 45030 w 175"/>
              <a:gd name="T21" fmla="*/ 97090 h 176"/>
              <a:gd name="T22" fmla="*/ 51652 w 175"/>
              <a:gd name="T23" fmla="*/ 109537 h 176"/>
              <a:gd name="T24" fmla="*/ 57612 w 175"/>
              <a:gd name="T25" fmla="*/ 109537 h 176"/>
              <a:gd name="T26" fmla="*/ 64235 w 175"/>
              <a:gd name="T27" fmla="*/ 103313 h 176"/>
              <a:gd name="T28" fmla="*/ 77479 w 175"/>
              <a:gd name="T29" fmla="*/ 97090 h 176"/>
              <a:gd name="T30" fmla="*/ 70857 w 175"/>
              <a:gd name="T31" fmla="*/ 85265 h 176"/>
              <a:gd name="T32" fmla="*/ 77479 w 175"/>
              <a:gd name="T33" fmla="*/ 79041 h 176"/>
              <a:gd name="T34" fmla="*/ 77479 w 175"/>
              <a:gd name="T35" fmla="*/ 72817 h 176"/>
              <a:gd name="T36" fmla="*/ 83439 w 175"/>
              <a:gd name="T37" fmla="*/ 79041 h 176"/>
              <a:gd name="T38" fmla="*/ 103305 w 175"/>
              <a:gd name="T39" fmla="*/ 72817 h 176"/>
              <a:gd name="T40" fmla="*/ 109265 w 175"/>
              <a:gd name="T41" fmla="*/ 72817 h 176"/>
              <a:gd name="T42" fmla="*/ 115887 w 175"/>
              <a:gd name="T43" fmla="*/ 66594 h 176"/>
              <a:gd name="T44" fmla="*/ 115887 w 175"/>
              <a:gd name="T45" fmla="*/ 54769 h 176"/>
              <a:gd name="T46" fmla="*/ 109265 w 175"/>
              <a:gd name="T47" fmla="*/ 54769 h 176"/>
              <a:gd name="T48" fmla="*/ 96683 w 175"/>
              <a:gd name="T49" fmla="*/ 54769 h 176"/>
              <a:gd name="T50" fmla="*/ 90061 w 175"/>
              <a:gd name="T51" fmla="*/ 48545 h 176"/>
              <a:gd name="T52" fmla="*/ 96683 w 175"/>
              <a:gd name="T53" fmla="*/ 36720 h 176"/>
              <a:gd name="T54" fmla="*/ 96683 w 175"/>
              <a:gd name="T55" fmla="*/ 30496 h 176"/>
              <a:gd name="T56" fmla="*/ 83439 w 175"/>
              <a:gd name="T57" fmla="*/ 30496 h 176"/>
              <a:gd name="T58" fmla="*/ 83439 w 175"/>
              <a:gd name="T59" fmla="*/ 24272 h 176"/>
              <a:gd name="T60" fmla="*/ 83439 w 175"/>
              <a:gd name="T61" fmla="*/ 18049 h 176"/>
              <a:gd name="T62" fmla="*/ 70857 w 175"/>
              <a:gd name="T63" fmla="*/ 24272 h 176"/>
              <a:gd name="T64" fmla="*/ 64235 w 175"/>
              <a:gd name="T65" fmla="*/ 18049 h 176"/>
              <a:gd name="T66" fmla="*/ 64235 w 175"/>
              <a:gd name="T67" fmla="*/ 6224 h 176"/>
              <a:gd name="T68" fmla="*/ 64235 w 175"/>
              <a:gd name="T69" fmla="*/ 0 h 176"/>
              <a:gd name="T70" fmla="*/ 45030 w 175"/>
              <a:gd name="T71" fmla="*/ 12447 h 17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175"/>
              <a:gd name="T109" fmla="*/ 0 h 176"/>
              <a:gd name="T110" fmla="*/ 175 w 175"/>
              <a:gd name="T111" fmla="*/ 176 h 17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175" h="176">
                <a:moveTo>
                  <a:pt x="68" y="20"/>
                </a:moveTo>
                <a:lnTo>
                  <a:pt x="68" y="49"/>
                </a:lnTo>
                <a:lnTo>
                  <a:pt x="48" y="78"/>
                </a:lnTo>
                <a:lnTo>
                  <a:pt x="29" y="107"/>
                </a:lnTo>
                <a:lnTo>
                  <a:pt x="0" y="117"/>
                </a:lnTo>
                <a:lnTo>
                  <a:pt x="0" y="137"/>
                </a:lnTo>
                <a:lnTo>
                  <a:pt x="19" y="156"/>
                </a:lnTo>
                <a:lnTo>
                  <a:pt x="39" y="166"/>
                </a:lnTo>
                <a:lnTo>
                  <a:pt x="58" y="156"/>
                </a:lnTo>
                <a:lnTo>
                  <a:pt x="68" y="147"/>
                </a:lnTo>
                <a:lnTo>
                  <a:pt x="68" y="156"/>
                </a:lnTo>
                <a:lnTo>
                  <a:pt x="78" y="176"/>
                </a:lnTo>
                <a:lnTo>
                  <a:pt x="87" y="176"/>
                </a:lnTo>
                <a:lnTo>
                  <a:pt x="97" y="166"/>
                </a:lnTo>
                <a:lnTo>
                  <a:pt x="117" y="156"/>
                </a:lnTo>
                <a:lnTo>
                  <a:pt x="107" y="137"/>
                </a:lnTo>
                <a:lnTo>
                  <a:pt x="117" y="127"/>
                </a:lnTo>
                <a:lnTo>
                  <a:pt x="117" y="117"/>
                </a:lnTo>
                <a:lnTo>
                  <a:pt x="126" y="127"/>
                </a:lnTo>
                <a:lnTo>
                  <a:pt x="156" y="117"/>
                </a:lnTo>
                <a:lnTo>
                  <a:pt x="165" y="117"/>
                </a:lnTo>
                <a:lnTo>
                  <a:pt x="175" y="107"/>
                </a:lnTo>
                <a:lnTo>
                  <a:pt x="175" y="88"/>
                </a:lnTo>
                <a:lnTo>
                  <a:pt x="165" y="88"/>
                </a:lnTo>
                <a:lnTo>
                  <a:pt x="146" y="88"/>
                </a:lnTo>
                <a:lnTo>
                  <a:pt x="136" y="78"/>
                </a:lnTo>
                <a:lnTo>
                  <a:pt x="146" y="59"/>
                </a:lnTo>
                <a:lnTo>
                  <a:pt x="146" y="49"/>
                </a:lnTo>
                <a:lnTo>
                  <a:pt x="126" y="49"/>
                </a:lnTo>
                <a:lnTo>
                  <a:pt x="126" y="39"/>
                </a:lnTo>
                <a:lnTo>
                  <a:pt x="126" y="29"/>
                </a:lnTo>
                <a:lnTo>
                  <a:pt x="107" y="39"/>
                </a:lnTo>
                <a:lnTo>
                  <a:pt x="97" y="29"/>
                </a:lnTo>
                <a:lnTo>
                  <a:pt x="97" y="10"/>
                </a:lnTo>
                <a:lnTo>
                  <a:pt x="97" y="0"/>
                </a:lnTo>
                <a:lnTo>
                  <a:pt x="68" y="20"/>
                </a:lnTo>
                <a:close/>
              </a:path>
            </a:pathLst>
          </a:custGeom>
          <a:solidFill>
            <a:srgbClr val="CCECFF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grpSp>
        <p:nvGrpSpPr>
          <p:cNvPr id="18502" name="Group 326"/>
          <p:cNvGrpSpPr>
            <a:grpSpLocks noChangeAspect="1"/>
          </p:cNvGrpSpPr>
          <p:nvPr>
            <p:custDataLst>
              <p:tags r:id="rId68"/>
            </p:custDataLst>
          </p:nvPr>
        </p:nvGrpSpPr>
        <p:grpSpPr bwMode="auto">
          <a:xfrm>
            <a:off x="2300288" y="4791075"/>
            <a:ext cx="115887" cy="109538"/>
            <a:chOff x="966" y="3122"/>
            <a:chExt cx="175" cy="176"/>
          </a:xfrm>
        </p:grpSpPr>
        <p:sp>
          <p:nvSpPr>
            <p:cNvPr id="18796" name="Freeform 328"/>
            <p:cNvSpPr>
              <a:spLocks noChangeAspect="1"/>
            </p:cNvSpPr>
            <p:nvPr/>
          </p:nvSpPr>
          <p:spPr bwMode="auto">
            <a:xfrm>
              <a:off x="966" y="3122"/>
              <a:ext cx="175" cy="176"/>
            </a:xfrm>
            <a:custGeom>
              <a:avLst/>
              <a:gdLst>
                <a:gd name="T0" fmla="*/ 68 w 175"/>
                <a:gd name="T1" fmla="*/ 20 h 176"/>
                <a:gd name="T2" fmla="*/ 68 w 175"/>
                <a:gd name="T3" fmla="*/ 49 h 176"/>
                <a:gd name="T4" fmla="*/ 48 w 175"/>
                <a:gd name="T5" fmla="*/ 78 h 176"/>
                <a:gd name="T6" fmla="*/ 29 w 175"/>
                <a:gd name="T7" fmla="*/ 107 h 176"/>
                <a:gd name="T8" fmla="*/ 0 w 175"/>
                <a:gd name="T9" fmla="*/ 117 h 176"/>
                <a:gd name="T10" fmla="*/ 0 w 175"/>
                <a:gd name="T11" fmla="*/ 137 h 176"/>
                <a:gd name="T12" fmla="*/ 19 w 175"/>
                <a:gd name="T13" fmla="*/ 156 h 176"/>
                <a:gd name="T14" fmla="*/ 39 w 175"/>
                <a:gd name="T15" fmla="*/ 156 h 176"/>
                <a:gd name="T16" fmla="*/ 58 w 175"/>
                <a:gd name="T17" fmla="*/ 156 h 176"/>
                <a:gd name="T18" fmla="*/ 68 w 175"/>
                <a:gd name="T19" fmla="*/ 147 h 176"/>
                <a:gd name="T20" fmla="*/ 68 w 175"/>
                <a:gd name="T21" fmla="*/ 156 h 176"/>
                <a:gd name="T22" fmla="*/ 78 w 175"/>
                <a:gd name="T23" fmla="*/ 176 h 176"/>
                <a:gd name="T24" fmla="*/ 87 w 175"/>
                <a:gd name="T25" fmla="*/ 176 h 176"/>
                <a:gd name="T26" fmla="*/ 97 w 175"/>
                <a:gd name="T27" fmla="*/ 156 h 176"/>
                <a:gd name="T28" fmla="*/ 117 w 175"/>
                <a:gd name="T29" fmla="*/ 156 h 176"/>
                <a:gd name="T30" fmla="*/ 107 w 175"/>
                <a:gd name="T31" fmla="*/ 137 h 176"/>
                <a:gd name="T32" fmla="*/ 117 w 175"/>
                <a:gd name="T33" fmla="*/ 127 h 176"/>
                <a:gd name="T34" fmla="*/ 117 w 175"/>
                <a:gd name="T35" fmla="*/ 117 h 176"/>
                <a:gd name="T36" fmla="*/ 126 w 175"/>
                <a:gd name="T37" fmla="*/ 117 h 176"/>
                <a:gd name="T38" fmla="*/ 156 w 175"/>
                <a:gd name="T39" fmla="*/ 117 h 176"/>
                <a:gd name="T40" fmla="*/ 165 w 175"/>
                <a:gd name="T41" fmla="*/ 117 h 176"/>
                <a:gd name="T42" fmla="*/ 175 w 175"/>
                <a:gd name="T43" fmla="*/ 107 h 176"/>
                <a:gd name="T44" fmla="*/ 175 w 175"/>
                <a:gd name="T45" fmla="*/ 88 h 176"/>
                <a:gd name="T46" fmla="*/ 165 w 175"/>
                <a:gd name="T47" fmla="*/ 78 h 176"/>
                <a:gd name="T48" fmla="*/ 146 w 175"/>
                <a:gd name="T49" fmla="*/ 78 h 176"/>
                <a:gd name="T50" fmla="*/ 136 w 175"/>
                <a:gd name="T51" fmla="*/ 78 h 176"/>
                <a:gd name="T52" fmla="*/ 146 w 175"/>
                <a:gd name="T53" fmla="*/ 68 h 176"/>
                <a:gd name="T54" fmla="*/ 146 w 175"/>
                <a:gd name="T55" fmla="*/ 49 h 176"/>
                <a:gd name="T56" fmla="*/ 126 w 175"/>
                <a:gd name="T57" fmla="*/ 49 h 176"/>
                <a:gd name="T58" fmla="*/ 126 w 175"/>
                <a:gd name="T59" fmla="*/ 39 h 176"/>
                <a:gd name="T60" fmla="*/ 126 w 175"/>
                <a:gd name="T61" fmla="*/ 29 h 176"/>
                <a:gd name="T62" fmla="*/ 107 w 175"/>
                <a:gd name="T63" fmla="*/ 39 h 176"/>
                <a:gd name="T64" fmla="*/ 87 w 175"/>
                <a:gd name="T65" fmla="*/ 29 h 176"/>
                <a:gd name="T66" fmla="*/ 97 w 175"/>
                <a:gd name="T67" fmla="*/ 10 h 176"/>
                <a:gd name="T68" fmla="*/ 87 w 175"/>
                <a:gd name="T69" fmla="*/ 0 h 176"/>
                <a:gd name="T70" fmla="*/ 68 w 175"/>
                <a:gd name="T71" fmla="*/ 20 h 17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75"/>
                <a:gd name="T109" fmla="*/ 0 h 176"/>
                <a:gd name="T110" fmla="*/ 175 w 175"/>
                <a:gd name="T111" fmla="*/ 176 h 17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75" h="176">
                  <a:moveTo>
                    <a:pt x="68" y="20"/>
                  </a:moveTo>
                  <a:lnTo>
                    <a:pt x="68" y="49"/>
                  </a:lnTo>
                  <a:lnTo>
                    <a:pt x="48" y="78"/>
                  </a:lnTo>
                  <a:lnTo>
                    <a:pt x="29" y="107"/>
                  </a:lnTo>
                  <a:lnTo>
                    <a:pt x="0" y="117"/>
                  </a:lnTo>
                  <a:lnTo>
                    <a:pt x="0" y="137"/>
                  </a:lnTo>
                  <a:lnTo>
                    <a:pt x="19" y="156"/>
                  </a:lnTo>
                  <a:lnTo>
                    <a:pt x="39" y="156"/>
                  </a:lnTo>
                  <a:lnTo>
                    <a:pt x="58" y="156"/>
                  </a:lnTo>
                  <a:lnTo>
                    <a:pt x="68" y="147"/>
                  </a:lnTo>
                  <a:lnTo>
                    <a:pt x="68" y="156"/>
                  </a:lnTo>
                  <a:lnTo>
                    <a:pt x="78" y="176"/>
                  </a:lnTo>
                  <a:lnTo>
                    <a:pt x="87" y="176"/>
                  </a:lnTo>
                  <a:lnTo>
                    <a:pt x="97" y="156"/>
                  </a:lnTo>
                  <a:lnTo>
                    <a:pt x="117" y="156"/>
                  </a:lnTo>
                  <a:lnTo>
                    <a:pt x="107" y="137"/>
                  </a:lnTo>
                  <a:lnTo>
                    <a:pt x="117" y="127"/>
                  </a:lnTo>
                  <a:lnTo>
                    <a:pt x="117" y="117"/>
                  </a:lnTo>
                  <a:lnTo>
                    <a:pt x="126" y="117"/>
                  </a:lnTo>
                  <a:lnTo>
                    <a:pt x="156" y="117"/>
                  </a:lnTo>
                  <a:lnTo>
                    <a:pt x="165" y="117"/>
                  </a:lnTo>
                  <a:lnTo>
                    <a:pt x="175" y="107"/>
                  </a:lnTo>
                  <a:lnTo>
                    <a:pt x="175" y="88"/>
                  </a:lnTo>
                  <a:lnTo>
                    <a:pt x="165" y="78"/>
                  </a:lnTo>
                  <a:lnTo>
                    <a:pt x="146" y="78"/>
                  </a:lnTo>
                  <a:lnTo>
                    <a:pt x="136" y="78"/>
                  </a:lnTo>
                  <a:lnTo>
                    <a:pt x="146" y="68"/>
                  </a:lnTo>
                  <a:lnTo>
                    <a:pt x="146" y="49"/>
                  </a:lnTo>
                  <a:lnTo>
                    <a:pt x="126" y="49"/>
                  </a:lnTo>
                  <a:lnTo>
                    <a:pt x="126" y="39"/>
                  </a:lnTo>
                  <a:lnTo>
                    <a:pt x="126" y="29"/>
                  </a:lnTo>
                  <a:lnTo>
                    <a:pt x="107" y="39"/>
                  </a:lnTo>
                  <a:lnTo>
                    <a:pt x="87" y="29"/>
                  </a:lnTo>
                  <a:lnTo>
                    <a:pt x="97" y="10"/>
                  </a:lnTo>
                  <a:lnTo>
                    <a:pt x="87" y="0"/>
                  </a:lnTo>
                  <a:lnTo>
                    <a:pt x="68" y="20"/>
                  </a:lnTo>
                  <a:close/>
                </a:path>
              </a:pathLst>
            </a:custGeom>
            <a:solidFill>
              <a:srgbClr val="99C7B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8797" name="Freeform 327"/>
            <p:cNvSpPr>
              <a:spLocks noChangeAspect="1"/>
            </p:cNvSpPr>
            <p:nvPr/>
          </p:nvSpPr>
          <p:spPr bwMode="auto">
            <a:xfrm>
              <a:off x="966" y="3122"/>
              <a:ext cx="175" cy="176"/>
            </a:xfrm>
            <a:custGeom>
              <a:avLst/>
              <a:gdLst>
                <a:gd name="T0" fmla="*/ 68 w 175"/>
                <a:gd name="T1" fmla="*/ 20 h 176"/>
                <a:gd name="T2" fmla="*/ 68 w 175"/>
                <a:gd name="T3" fmla="*/ 49 h 176"/>
                <a:gd name="T4" fmla="*/ 48 w 175"/>
                <a:gd name="T5" fmla="*/ 78 h 176"/>
                <a:gd name="T6" fmla="*/ 29 w 175"/>
                <a:gd name="T7" fmla="*/ 107 h 176"/>
                <a:gd name="T8" fmla="*/ 0 w 175"/>
                <a:gd name="T9" fmla="*/ 117 h 176"/>
                <a:gd name="T10" fmla="*/ 0 w 175"/>
                <a:gd name="T11" fmla="*/ 137 h 176"/>
                <a:gd name="T12" fmla="*/ 19 w 175"/>
                <a:gd name="T13" fmla="*/ 156 h 176"/>
                <a:gd name="T14" fmla="*/ 39 w 175"/>
                <a:gd name="T15" fmla="*/ 156 h 176"/>
                <a:gd name="T16" fmla="*/ 58 w 175"/>
                <a:gd name="T17" fmla="*/ 156 h 176"/>
                <a:gd name="T18" fmla="*/ 68 w 175"/>
                <a:gd name="T19" fmla="*/ 147 h 176"/>
                <a:gd name="T20" fmla="*/ 68 w 175"/>
                <a:gd name="T21" fmla="*/ 156 h 176"/>
                <a:gd name="T22" fmla="*/ 78 w 175"/>
                <a:gd name="T23" fmla="*/ 176 h 176"/>
                <a:gd name="T24" fmla="*/ 87 w 175"/>
                <a:gd name="T25" fmla="*/ 176 h 176"/>
                <a:gd name="T26" fmla="*/ 97 w 175"/>
                <a:gd name="T27" fmla="*/ 156 h 176"/>
                <a:gd name="T28" fmla="*/ 117 w 175"/>
                <a:gd name="T29" fmla="*/ 156 h 176"/>
                <a:gd name="T30" fmla="*/ 107 w 175"/>
                <a:gd name="T31" fmla="*/ 137 h 176"/>
                <a:gd name="T32" fmla="*/ 117 w 175"/>
                <a:gd name="T33" fmla="*/ 127 h 176"/>
                <a:gd name="T34" fmla="*/ 117 w 175"/>
                <a:gd name="T35" fmla="*/ 117 h 176"/>
                <a:gd name="T36" fmla="*/ 126 w 175"/>
                <a:gd name="T37" fmla="*/ 117 h 176"/>
                <a:gd name="T38" fmla="*/ 156 w 175"/>
                <a:gd name="T39" fmla="*/ 117 h 176"/>
                <a:gd name="T40" fmla="*/ 165 w 175"/>
                <a:gd name="T41" fmla="*/ 117 h 176"/>
                <a:gd name="T42" fmla="*/ 175 w 175"/>
                <a:gd name="T43" fmla="*/ 107 h 176"/>
                <a:gd name="T44" fmla="*/ 175 w 175"/>
                <a:gd name="T45" fmla="*/ 88 h 176"/>
                <a:gd name="T46" fmla="*/ 165 w 175"/>
                <a:gd name="T47" fmla="*/ 78 h 176"/>
                <a:gd name="T48" fmla="*/ 146 w 175"/>
                <a:gd name="T49" fmla="*/ 78 h 176"/>
                <a:gd name="T50" fmla="*/ 136 w 175"/>
                <a:gd name="T51" fmla="*/ 78 h 176"/>
                <a:gd name="T52" fmla="*/ 146 w 175"/>
                <a:gd name="T53" fmla="*/ 68 h 176"/>
                <a:gd name="T54" fmla="*/ 146 w 175"/>
                <a:gd name="T55" fmla="*/ 49 h 176"/>
                <a:gd name="T56" fmla="*/ 126 w 175"/>
                <a:gd name="T57" fmla="*/ 49 h 176"/>
                <a:gd name="T58" fmla="*/ 126 w 175"/>
                <a:gd name="T59" fmla="*/ 39 h 176"/>
                <a:gd name="T60" fmla="*/ 126 w 175"/>
                <a:gd name="T61" fmla="*/ 29 h 176"/>
                <a:gd name="T62" fmla="*/ 107 w 175"/>
                <a:gd name="T63" fmla="*/ 39 h 176"/>
                <a:gd name="T64" fmla="*/ 87 w 175"/>
                <a:gd name="T65" fmla="*/ 29 h 176"/>
                <a:gd name="T66" fmla="*/ 97 w 175"/>
                <a:gd name="T67" fmla="*/ 10 h 176"/>
                <a:gd name="T68" fmla="*/ 87 w 175"/>
                <a:gd name="T69" fmla="*/ 0 h 17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75"/>
                <a:gd name="T106" fmla="*/ 0 h 176"/>
                <a:gd name="T107" fmla="*/ 175 w 175"/>
                <a:gd name="T108" fmla="*/ 176 h 17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75" h="176">
                  <a:moveTo>
                    <a:pt x="68" y="20"/>
                  </a:moveTo>
                  <a:lnTo>
                    <a:pt x="68" y="49"/>
                  </a:lnTo>
                  <a:lnTo>
                    <a:pt x="48" y="78"/>
                  </a:lnTo>
                  <a:lnTo>
                    <a:pt x="29" y="107"/>
                  </a:lnTo>
                  <a:lnTo>
                    <a:pt x="0" y="117"/>
                  </a:lnTo>
                  <a:lnTo>
                    <a:pt x="0" y="137"/>
                  </a:lnTo>
                  <a:lnTo>
                    <a:pt x="19" y="156"/>
                  </a:lnTo>
                  <a:lnTo>
                    <a:pt x="39" y="156"/>
                  </a:lnTo>
                  <a:lnTo>
                    <a:pt x="58" y="156"/>
                  </a:lnTo>
                  <a:lnTo>
                    <a:pt x="68" y="147"/>
                  </a:lnTo>
                  <a:lnTo>
                    <a:pt x="68" y="156"/>
                  </a:lnTo>
                  <a:lnTo>
                    <a:pt x="78" y="176"/>
                  </a:lnTo>
                  <a:lnTo>
                    <a:pt x="87" y="176"/>
                  </a:lnTo>
                  <a:lnTo>
                    <a:pt x="97" y="156"/>
                  </a:lnTo>
                  <a:lnTo>
                    <a:pt x="117" y="156"/>
                  </a:lnTo>
                  <a:lnTo>
                    <a:pt x="107" y="137"/>
                  </a:lnTo>
                  <a:lnTo>
                    <a:pt x="117" y="127"/>
                  </a:lnTo>
                  <a:lnTo>
                    <a:pt x="117" y="117"/>
                  </a:lnTo>
                  <a:lnTo>
                    <a:pt x="126" y="117"/>
                  </a:lnTo>
                  <a:lnTo>
                    <a:pt x="156" y="117"/>
                  </a:lnTo>
                  <a:lnTo>
                    <a:pt x="165" y="117"/>
                  </a:lnTo>
                  <a:lnTo>
                    <a:pt x="175" y="107"/>
                  </a:lnTo>
                  <a:lnTo>
                    <a:pt x="175" y="88"/>
                  </a:lnTo>
                  <a:lnTo>
                    <a:pt x="165" y="78"/>
                  </a:lnTo>
                  <a:lnTo>
                    <a:pt x="146" y="78"/>
                  </a:lnTo>
                  <a:lnTo>
                    <a:pt x="136" y="78"/>
                  </a:lnTo>
                  <a:lnTo>
                    <a:pt x="146" y="68"/>
                  </a:lnTo>
                  <a:lnTo>
                    <a:pt x="146" y="49"/>
                  </a:lnTo>
                  <a:lnTo>
                    <a:pt x="126" y="49"/>
                  </a:lnTo>
                  <a:lnTo>
                    <a:pt x="126" y="39"/>
                  </a:lnTo>
                  <a:lnTo>
                    <a:pt x="126" y="29"/>
                  </a:lnTo>
                  <a:lnTo>
                    <a:pt x="107" y="39"/>
                  </a:lnTo>
                  <a:lnTo>
                    <a:pt x="87" y="29"/>
                  </a:lnTo>
                  <a:lnTo>
                    <a:pt x="97" y="10"/>
                  </a:lnTo>
                  <a:lnTo>
                    <a:pt x="87" y="0"/>
                  </a:lnTo>
                </a:path>
              </a:pathLst>
            </a:custGeom>
            <a:noFill/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18503" name="Freeform 325"/>
          <p:cNvSpPr>
            <a:spLocks noChangeAspect="1"/>
          </p:cNvSpPr>
          <p:nvPr>
            <p:custDataLst>
              <p:tags r:id="rId69"/>
            </p:custDataLst>
          </p:nvPr>
        </p:nvSpPr>
        <p:spPr bwMode="auto">
          <a:xfrm>
            <a:off x="2292350" y="4760913"/>
            <a:ext cx="201613" cy="271462"/>
          </a:xfrm>
          <a:custGeom>
            <a:avLst/>
            <a:gdLst>
              <a:gd name="T0" fmla="*/ 64756 w 302"/>
              <a:gd name="T1" fmla="*/ 139133 h 439"/>
              <a:gd name="T2" fmla="*/ 84784 w 302"/>
              <a:gd name="T3" fmla="*/ 126765 h 439"/>
              <a:gd name="T4" fmla="*/ 84784 w 302"/>
              <a:gd name="T5" fmla="*/ 108833 h 439"/>
              <a:gd name="T6" fmla="*/ 97469 w 302"/>
              <a:gd name="T7" fmla="*/ 108833 h 439"/>
              <a:gd name="T8" fmla="*/ 116829 w 302"/>
              <a:gd name="T9" fmla="*/ 102649 h 439"/>
              <a:gd name="T10" fmla="*/ 123505 w 302"/>
              <a:gd name="T11" fmla="*/ 84716 h 439"/>
              <a:gd name="T12" fmla="*/ 104144 w 302"/>
              <a:gd name="T13" fmla="*/ 84716 h 439"/>
              <a:gd name="T14" fmla="*/ 104144 w 302"/>
              <a:gd name="T15" fmla="*/ 72349 h 439"/>
              <a:gd name="T16" fmla="*/ 97469 w 302"/>
              <a:gd name="T17" fmla="*/ 60600 h 439"/>
              <a:gd name="T18" fmla="*/ 104144 w 302"/>
              <a:gd name="T19" fmla="*/ 36484 h 439"/>
              <a:gd name="T20" fmla="*/ 84784 w 302"/>
              <a:gd name="T21" fmla="*/ 24116 h 439"/>
              <a:gd name="T22" fmla="*/ 104144 w 302"/>
              <a:gd name="T23" fmla="*/ 30300 h 439"/>
              <a:gd name="T24" fmla="*/ 110820 w 302"/>
              <a:gd name="T25" fmla="*/ 12367 h 439"/>
              <a:gd name="T26" fmla="*/ 116829 w 302"/>
              <a:gd name="T27" fmla="*/ 6184 h 439"/>
              <a:gd name="T28" fmla="*/ 142865 w 302"/>
              <a:gd name="T29" fmla="*/ 12367 h 439"/>
              <a:gd name="T30" fmla="*/ 156217 w 302"/>
              <a:gd name="T31" fmla="*/ 0 h 439"/>
              <a:gd name="T32" fmla="*/ 188929 w 302"/>
              <a:gd name="T33" fmla="*/ 48233 h 439"/>
              <a:gd name="T34" fmla="*/ 201613 w 302"/>
              <a:gd name="T35" fmla="*/ 48233 h 439"/>
              <a:gd name="T36" fmla="*/ 195605 w 302"/>
              <a:gd name="T37" fmla="*/ 60600 h 439"/>
              <a:gd name="T38" fmla="*/ 182253 w 302"/>
              <a:gd name="T39" fmla="*/ 66784 h 439"/>
              <a:gd name="T40" fmla="*/ 169569 w 302"/>
              <a:gd name="T41" fmla="*/ 72349 h 439"/>
              <a:gd name="T42" fmla="*/ 175577 w 302"/>
              <a:gd name="T43" fmla="*/ 84716 h 439"/>
              <a:gd name="T44" fmla="*/ 169569 w 302"/>
              <a:gd name="T45" fmla="*/ 96465 h 439"/>
              <a:gd name="T46" fmla="*/ 169569 w 302"/>
              <a:gd name="T47" fmla="*/ 108833 h 439"/>
              <a:gd name="T48" fmla="*/ 162893 w 302"/>
              <a:gd name="T49" fmla="*/ 132949 h 439"/>
              <a:gd name="T50" fmla="*/ 149541 w 302"/>
              <a:gd name="T51" fmla="*/ 139133 h 439"/>
              <a:gd name="T52" fmla="*/ 149541 w 302"/>
              <a:gd name="T53" fmla="*/ 145316 h 439"/>
              <a:gd name="T54" fmla="*/ 169569 w 302"/>
              <a:gd name="T55" fmla="*/ 132949 h 439"/>
              <a:gd name="T56" fmla="*/ 162893 w 302"/>
              <a:gd name="T57" fmla="*/ 145316 h 439"/>
              <a:gd name="T58" fmla="*/ 142865 w 302"/>
              <a:gd name="T59" fmla="*/ 150881 h 439"/>
              <a:gd name="T60" fmla="*/ 136856 w 302"/>
              <a:gd name="T61" fmla="*/ 157065 h 439"/>
              <a:gd name="T62" fmla="*/ 136856 w 302"/>
              <a:gd name="T63" fmla="*/ 169433 h 439"/>
              <a:gd name="T64" fmla="*/ 123505 w 302"/>
              <a:gd name="T65" fmla="*/ 169433 h 439"/>
              <a:gd name="T66" fmla="*/ 116829 w 302"/>
              <a:gd name="T67" fmla="*/ 187365 h 439"/>
              <a:gd name="T68" fmla="*/ 110820 w 302"/>
              <a:gd name="T69" fmla="*/ 199114 h 439"/>
              <a:gd name="T70" fmla="*/ 110820 w 302"/>
              <a:gd name="T71" fmla="*/ 223230 h 439"/>
              <a:gd name="T72" fmla="*/ 104144 w 302"/>
              <a:gd name="T73" fmla="*/ 253530 h 439"/>
              <a:gd name="T74" fmla="*/ 90793 w 302"/>
              <a:gd name="T75" fmla="*/ 271463 h 439"/>
              <a:gd name="T76" fmla="*/ 58748 w 302"/>
              <a:gd name="T77" fmla="*/ 271463 h 439"/>
              <a:gd name="T78" fmla="*/ 38720 w 302"/>
              <a:gd name="T79" fmla="*/ 271463 h 439"/>
              <a:gd name="T80" fmla="*/ 19360 w 302"/>
              <a:gd name="T81" fmla="*/ 259714 h 439"/>
              <a:gd name="T82" fmla="*/ 19360 w 302"/>
              <a:gd name="T83" fmla="*/ 241781 h 439"/>
              <a:gd name="T84" fmla="*/ 19360 w 302"/>
              <a:gd name="T85" fmla="*/ 229414 h 439"/>
              <a:gd name="T86" fmla="*/ 19360 w 302"/>
              <a:gd name="T87" fmla="*/ 205298 h 439"/>
              <a:gd name="T88" fmla="*/ 12684 w 302"/>
              <a:gd name="T89" fmla="*/ 193549 h 439"/>
              <a:gd name="T90" fmla="*/ 6676 w 302"/>
              <a:gd name="T91" fmla="*/ 169433 h 439"/>
              <a:gd name="T92" fmla="*/ 0 w 302"/>
              <a:gd name="T93" fmla="*/ 145316 h 439"/>
              <a:gd name="T94" fmla="*/ 12684 w 302"/>
              <a:gd name="T95" fmla="*/ 132949 h 439"/>
              <a:gd name="T96" fmla="*/ 32712 w 302"/>
              <a:gd name="T97" fmla="*/ 132949 h 439"/>
              <a:gd name="T98" fmla="*/ 52072 w 302"/>
              <a:gd name="T99" fmla="*/ 121200 h 439"/>
              <a:gd name="T100" fmla="*/ 58748 w 302"/>
              <a:gd name="T101" fmla="*/ 139133 h 43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302"/>
              <a:gd name="T154" fmla="*/ 0 h 439"/>
              <a:gd name="T155" fmla="*/ 302 w 302"/>
              <a:gd name="T156" fmla="*/ 439 h 439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302" h="439">
                <a:moveTo>
                  <a:pt x="88" y="225"/>
                </a:moveTo>
                <a:lnTo>
                  <a:pt x="97" y="225"/>
                </a:lnTo>
                <a:lnTo>
                  <a:pt x="107" y="215"/>
                </a:lnTo>
                <a:lnTo>
                  <a:pt x="127" y="205"/>
                </a:lnTo>
                <a:lnTo>
                  <a:pt x="117" y="186"/>
                </a:lnTo>
                <a:lnTo>
                  <a:pt x="127" y="176"/>
                </a:lnTo>
                <a:lnTo>
                  <a:pt x="127" y="166"/>
                </a:lnTo>
                <a:lnTo>
                  <a:pt x="146" y="176"/>
                </a:lnTo>
                <a:lnTo>
                  <a:pt x="166" y="166"/>
                </a:lnTo>
                <a:lnTo>
                  <a:pt x="175" y="166"/>
                </a:lnTo>
                <a:lnTo>
                  <a:pt x="185" y="156"/>
                </a:lnTo>
                <a:lnTo>
                  <a:pt x="185" y="137"/>
                </a:lnTo>
                <a:lnTo>
                  <a:pt x="175" y="137"/>
                </a:lnTo>
                <a:lnTo>
                  <a:pt x="156" y="137"/>
                </a:lnTo>
                <a:lnTo>
                  <a:pt x="156" y="127"/>
                </a:lnTo>
                <a:lnTo>
                  <a:pt x="156" y="117"/>
                </a:lnTo>
                <a:lnTo>
                  <a:pt x="156" y="98"/>
                </a:lnTo>
                <a:lnTo>
                  <a:pt x="146" y="98"/>
                </a:lnTo>
                <a:lnTo>
                  <a:pt x="146" y="88"/>
                </a:lnTo>
                <a:lnTo>
                  <a:pt x="156" y="59"/>
                </a:lnTo>
                <a:lnTo>
                  <a:pt x="136" y="59"/>
                </a:lnTo>
                <a:lnTo>
                  <a:pt x="127" y="39"/>
                </a:lnTo>
                <a:lnTo>
                  <a:pt x="146" y="39"/>
                </a:lnTo>
                <a:lnTo>
                  <a:pt x="156" y="49"/>
                </a:lnTo>
                <a:lnTo>
                  <a:pt x="166" y="30"/>
                </a:lnTo>
                <a:lnTo>
                  <a:pt x="166" y="20"/>
                </a:lnTo>
                <a:lnTo>
                  <a:pt x="166" y="10"/>
                </a:lnTo>
                <a:lnTo>
                  <a:pt x="175" y="10"/>
                </a:lnTo>
                <a:lnTo>
                  <a:pt x="195" y="20"/>
                </a:lnTo>
                <a:lnTo>
                  <a:pt x="214" y="20"/>
                </a:lnTo>
                <a:lnTo>
                  <a:pt x="224" y="20"/>
                </a:lnTo>
                <a:lnTo>
                  <a:pt x="234" y="0"/>
                </a:lnTo>
                <a:lnTo>
                  <a:pt x="254" y="30"/>
                </a:lnTo>
                <a:lnTo>
                  <a:pt x="283" y="78"/>
                </a:lnTo>
                <a:lnTo>
                  <a:pt x="293" y="69"/>
                </a:lnTo>
                <a:lnTo>
                  <a:pt x="302" y="78"/>
                </a:lnTo>
                <a:lnTo>
                  <a:pt x="293" y="88"/>
                </a:lnTo>
                <a:lnTo>
                  <a:pt x="293" y="98"/>
                </a:lnTo>
                <a:lnTo>
                  <a:pt x="293" y="108"/>
                </a:lnTo>
                <a:lnTo>
                  <a:pt x="273" y="108"/>
                </a:lnTo>
                <a:lnTo>
                  <a:pt x="263" y="108"/>
                </a:lnTo>
                <a:lnTo>
                  <a:pt x="254" y="117"/>
                </a:lnTo>
                <a:lnTo>
                  <a:pt x="254" y="127"/>
                </a:lnTo>
                <a:lnTo>
                  <a:pt x="263" y="137"/>
                </a:lnTo>
                <a:lnTo>
                  <a:pt x="254" y="147"/>
                </a:lnTo>
                <a:lnTo>
                  <a:pt x="254" y="156"/>
                </a:lnTo>
                <a:lnTo>
                  <a:pt x="263" y="166"/>
                </a:lnTo>
                <a:lnTo>
                  <a:pt x="254" y="176"/>
                </a:lnTo>
                <a:lnTo>
                  <a:pt x="254" y="196"/>
                </a:lnTo>
                <a:lnTo>
                  <a:pt x="244" y="215"/>
                </a:lnTo>
                <a:lnTo>
                  <a:pt x="244" y="225"/>
                </a:lnTo>
                <a:lnTo>
                  <a:pt x="224" y="225"/>
                </a:lnTo>
                <a:lnTo>
                  <a:pt x="214" y="235"/>
                </a:lnTo>
                <a:lnTo>
                  <a:pt x="224" y="235"/>
                </a:lnTo>
                <a:lnTo>
                  <a:pt x="244" y="215"/>
                </a:lnTo>
                <a:lnTo>
                  <a:pt x="254" y="215"/>
                </a:lnTo>
                <a:lnTo>
                  <a:pt x="263" y="215"/>
                </a:lnTo>
                <a:lnTo>
                  <a:pt x="244" y="235"/>
                </a:lnTo>
                <a:lnTo>
                  <a:pt x="224" y="244"/>
                </a:lnTo>
                <a:lnTo>
                  <a:pt x="214" y="244"/>
                </a:lnTo>
                <a:lnTo>
                  <a:pt x="205" y="254"/>
                </a:lnTo>
                <a:lnTo>
                  <a:pt x="214" y="264"/>
                </a:lnTo>
                <a:lnTo>
                  <a:pt x="205" y="274"/>
                </a:lnTo>
                <a:lnTo>
                  <a:pt x="205" y="264"/>
                </a:lnTo>
                <a:lnTo>
                  <a:pt x="185" y="274"/>
                </a:lnTo>
                <a:lnTo>
                  <a:pt x="175" y="283"/>
                </a:lnTo>
                <a:lnTo>
                  <a:pt x="175" y="303"/>
                </a:lnTo>
                <a:lnTo>
                  <a:pt x="175" y="313"/>
                </a:lnTo>
                <a:lnTo>
                  <a:pt x="166" y="322"/>
                </a:lnTo>
                <a:lnTo>
                  <a:pt x="166" y="342"/>
                </a:lnTo>
                <a:lnTo>
                  <a:pt x="166" y="361"/>
                </a:lnTo>
                <a:lnTo>
                  <a:pt x="156" y="391"/>
                </a:lnTo>
                <a:lnTo>
                  <a:pt x="156" y="410"/>
                </a:lnTo>
                <a:lnTo>
                  <a:pt x="146" y="430"/>
                </a:lnTo>
                <a:lnTo>
                  <a:pt x="136" y="439"/>
                </a:lnTo>
                <a:lnTo>
                  <a:pt x="117" y="439"/>
                </a:lnTo>
                <a:lnTo>
                  <a:pt x="88" y="439"/>
                </a:lnTo>
                <a:lnTo>
                  <a:pt x="78" y="439"/>
                </a:lnTo>
                <a:lnTo>
                  <a:pt x="58" y="439"/>
                </a:lnTo>
                <a:lnTo>
                  <a:pt x="39" y="430"/>
                </a:lnTo>
                <a:lnTo>
                  <a:pt x="29" y="420"/>
                </a:lnTo>
                <a:lnTo>
                  <a:pt x="19" y="410"/>
                </a:lnTo>
                <a:lnTo>
                  <a:pt x="29" y="391"/>
                </a:lnTo>
                <a:lnTo>
                  <a:pt x="29" y="381"/>
                </a:lnTo>
                <a:lnTo>
                  <a:pt x="29" y="371"/>
                </a:lnTo>
                <a:lnTo>
                  <a:pt x="29" y="352"/>
                </a:lnTo>
                <a:lnTo>
                  <a:pt x="29" y="332"/>
                </a:lnTo>
                <a:lnTo>
                  <a:pt x="29" y="322"/>
                </a:lnTo>
                <a:lnTo>
                  <a:pt x="19" y="313"/>
                </a:lnTo>
                <a:lnTo>
                  <a:pt x="10" y="293"/>
                </a:lnTo>
                <a:lnTo>
                  <a:pt x="10" y="274"/>
                </a:lnTo>
                <a:lnTo>
                  <a:pt x="0" y="244"/>
                </a:lnTo>
                <a:lnTo>
                  <a:pt x="0" y="235"/>
                </a:lnTo>
                <a:lnTo>
                  <a:pt x="10" y="225"/>
                </a:lnTo>
                <a:lnTo>
                  <a:pt x="19" y="215"/>
                </a:lnTo>
                <a:lnTo>
                  <a:pt x="29" y="205"/>
                </a:lnTo>
                <a:lnTo>
                  <a:pt x="49" y="215"/>
                </a:lnTo>
                <a:lnTo>
                  <a:pt x="68" y="205"/>
                </a:lnTo>
                <a:lnTo>
                  <a:pt x="78" y="196"/>
                </a:lnTo>
                <a:lnTo>
                  <a:pt x="78" y="205"/>
                </a:lnTo>
                <a:lnTo>
                  <a:pt x="88" y="225"/>
                </a:lnTo>
                <a:close/>
              </a:path>
            </a:pathLst>
          </a:custGeom>
          <a:solidFill>
            <a:srgbClr val="CCECFF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grpSp>
        <p:nvGrpSpPr>
          <p:cNvPr id="18504" name="Group 322"/>
          <p:cNvGrpSpPr>
            <a:grpSpLocks noChangeAspect="1"/>
          </p:cNvGrpSpPr>
          <p:nvPr>
            <p:custDataLst>
              <p:tags r:id="rId70"/>
            </p:custDataLst>
          </p:nvPr>
        </p:nvGrpSpPr>
        <p:grpSpPr bwMode="auto">
          <a:xfrm>
            <a:off x="2292350" y="4760913"/>
            <a:ext cx="201613" cy="271462"/>
            <a:chOff x="956" y="3073"/>
            <a:chExt cx="302" cy="439"/>
          </a:xfrm>
        </p:grpSpPr>
        <p:sp>
          <p:nvSpPr>
            <p:cNvPr id="18794" name="Freeform 324"/>
            <p:cNvSpPr>
              <a:spLocks noChangeAspect="1"/>
            </p:cNvSpPr>
            <p:nvPr/>
          </p:nvSpPr>
          <p:spPr bwMode="auto">
            <a:xfrm>
              <a:off x="956" y="3073"/>
              <a:ext cx="302" cy="439"/>
            </a:xfrm>
            <a:custGeom>
              <a:avLst/>
              <a:gdLst>
                <a:gd name="T0" fmla="*/ 97 w 302"/>
                <a:gd name="T1" fmla="*/ 225 h 439"/>
                <a:gd name="T2" fmla="*/ 127 w 302"/>
                <a:gd name="T3" fmla="*/ 205 h 439"/>
                <a:gd name="T4" fmla="*/ 127 w 302"/>
                <a:gd name="T5" fmla="*/ 176 h 439"/>
                <a:gd name="T6" fmla="*/ 146 w 302"/>
                <a:gd name="T7" fmla="*/ 176 h 439"/>
                <a:gd name="T8" fmla="*/ 175 w 302"/>
                <a:gd name="T9" fmla="*/ 166 h 439"/>
                <a:gd name="T10" fmla="*/ 185 w 302"/>
                <a:gd name="T11" fmla="*/ 137 h 439"/>
                <a:gd name="T12" fmla="*/ 156 w 302"/>
                <a:gd name="T13" fmla="*/ 137 h 439"/>
                <a:gd name="T14" fmla="*/ 156 w 302"/>
                <a:gd name="T15" fmla="*/ 117 h 439"/>
                <a:gd name="T16" fmla="*/ 146 w 302"/>
                <a:gd name="T17" fmla="*/ 98 h 439"/>
                <a:gd name="T18" fmla="*/ 156 w 302"/>
                <a:gd name="T19" fmla="*/ 59 h 439"/>
                <a:gd name="T20" fmla="*/ 127 w 302"/>
                <a:gd name="T21" fmla="*/ 39 h 439"/>
                <a:gd name="T22" fmla="*/ 156 w 302"/>
                <a:gd name="T23" fmla="*/ 49 h 439"/>
                <a:gd name="T24" fmla="*/ 166 w 302"/>
                <a:gd name="T25" fmla="*/ 20 h 439"/>
                <a:gd name="T26" fmla="*/ 175 w 302"/>
                <a:gd name="T27" fmla="*/ 10 h 439"/>
                <a:gd name="T28" fmla="*/ 214 w 302"/>
                <a:gd name="T29" fmla="*/ 20 h 439"/>
                <a:gd name="T30" fmla="*/ 234 w 302"/>
                <a:gd name="T31" fmla="*/ 0 h 439"/>
                <a:gd name="T32" fmla="*/ 283 w 302"/>
                <a:gd name="T33" fmla="*/ 78 h 439"/>
                <a:gd name="T34" fmla="*/ 302 w 302"/>
                <a:gd name="T35" fmla="*/ 78 h 439"/>
                <a:gd name="T36" fmla="*/ 293 w 302"/>
                <a:gd name="T37" fmla="*/ 98 h 439"/>
                <a:gd name="T38" fmla="*/ 273 w 302"/>
                <a:gd name="T39" fmla="*/ 108 h 439"/>
                <a:gd name="T40" fmla="*/ 254 w 302"/>
                <a:gd name="T41" fmla="*/ 117 h 439"/>
                <a:gd name="T42" fmla="*/ 263 w 302"/>
                <a:gd name="T43" fmla="*/ 137 h 439"/>
                <a:gd name="T44" fmla="*/ 254 w 302"/>
                <a:gd name="T45" fmla="*/ 156 h 439"/>
                <a:gd name="T46" fmla="*/ 254 w 302"/>
                <a:gd name="T47" fmla="*/ 176 h 439"/>
                <a:gd name="T48" fmla="*/ 244 w 302"/>
                <a:gd name="T49" fmla="*/ 215 h 439"/>
                <a:gd name="T50" fmla="*/ 224 w 302"/>
                <a:gd name="T51" fmla="*/ 225 h 439"/>
                <a:gd name="T52" fmla="*/ 224 w 302"/>
                <a:gd name="T53" fmla="*/ 235 h 439"/>
                <a:gd name="T54" fmla="*/ 254 w 302"/>
                <a:gd name="T55" fmla="*/ 215 h 439"/>
                <a:gd name="T56" fmla="*/ 244 w 302"/>
                <a:gd name="T57" fmla="*/ 235 h 439"/>
                <a:gd name="T58" fmla="*/ 214 w 302"/>
                <a:gd name="T59" fmla="*/ 244 h 439"/>
                <a:gd name="T60" fmla="*/ 205 w 302"/>
                <a:gd name="T61" fmla="*/ 254 h 439"/>
                <a:gd name="T62" fmla="*/ 205 w 302"/>
                <a:gd name="T63" fmla="*/ 274 h 439"/>
                <a:gd name="T64" fmla="*/ 185 w 302"/>
                <a:gd name="T65" fmla="*/ 274 h 439"/>
                <a:gd name="T66" fmla="*/ 175 w 302"/>
                <a:gd name="T67" fmla="*/ 303 h 439"/>
                <a:gd name="T68" fmla="*/ 166 w 302"/>
                <a:gd name="T69" fmla="*/ 322 h 439"/>
                <a:gd name="T70" fmla="*/ 166 w 302"/>
                <a:gd name="T71" fmla="*/ 361 h 439"/>
                <a:gd name="T72" fmla="*/ 156 w 302"/>
                <a:gd name="T73" fmla="*/ 410 h 439"/>
                <a:gd name="T74" fmla="*/ 136 w 302"/>
                <a:gd name="T75" fmla="*/ 439 h 439"/>
                <a:gd name="T76" fmla="*/ 88 w 302"/>
                <a:gd name="T77" fmla="*/ 439 h 439"/>
                <a:gd name="T78" fmla="*/ 58 w 302"/>
                <a:gd name="T79" fmla="*/ 439 h 439"/>
                <a:gd name="T80" fmla="*/ 29 w 302"/>
                <a:gd name="T81" fmla="*/ 420 h 439"/>
                <a:gd name="T82" fmla="*/ 29 w 302"/>
                <a:gd name="T83" fmla="*/ 391 h 439"/>
                <a:gd name="T84" fmla="*/ 29 w 302"/>
                <a:gd name="T85" fmla="*/ 371 h 439"/>
                <a:gd name="T86" fmla="*/ 29 w 302"/>
                <a:gd name="T87" fmla="*/ 332 h 439"/>
                <a:gd name="T88" fmla="*/ 19 w 302"/>
                <a:gd name="T89" fmla="*/ 313 h 439"/>
                <a:gd name="T90" fmla="*/ 10 w 302"/>
                <a:gd name="T91" fmla="*/ 274 h 439"/>
                <a:gd name="T92" fmla="*/ 0 w 302"/>
                <a:gd name="T93" fmla="*/ 235 h 439"/>
                <a:gd name="T94" fmla="*/ 19 w 302"/>
                <a:gd name="T95" fmla="*/ 215 h 439"/>
                <a:gd name="T96" fmla="*/ 49 w 302"/>
                <a:gd name="T97" fmla="*/ 215 h 439"/>
                <a:gd name="T98" fmla="*/ 78 w 302"/>
                <a:gd name="T99" fmla="*/ 196 h 439"/>
                <a:gd name="T100" fmla="*/ 88 w 302"/>
                <a:gd name="T101" fmla="*/ 225 h 43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02"/>
                <a:gd name="T154" fmla="*/ 0 h 439"/>
                <a:gd name="T155" fmla="*/ 302 w 302"/>
                <a:gd name="T156" fmla="*/ 439 h 43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02" h="439">
                  <a:moveTo>
                    <a:pt x="88" y="225"/>
                  </a:moveTo>
                  <a:lnTo>
                    <a:pt x="97" y="225"/>
                  </a:lnTo>
                  <a:lnTo>
                    <a:pt x="107" y="215"/>
                  </a:lnTo>
                  <a:lnTo>
                    <a:pt x="127" y="205"/>
                  </a:lnTo>
                  <a:lnTo>
                    <a:pt x="117" y="186"/>
                  </a:lnTo>
                  <a:lnTo>
                    <a:pt x="127" y="176"/>
                  </a:lnTo>
                  <a:lnTo>
                    <a:pt x="127" y="166"/>
                  </a:lnTo>
                  <a:lnTo>
                    <a:pt x="146" y="176"/>
                  </a:lnTo>
                  <a:lnTo>
                    <a:pt x="166" y="166"/>
                  </a:lnTo>
                  <a:lnTo>
                    <a:pt x="175" y="166"/>
                  </a:lnTo>
                  <a:lnTo>
                    <a:pt x="185" y="156"/>
                  </a:lnTo>
                  <a:lnTo>
                    <a:pt x="185" y="137"/>
                  </a:lnTo>
                  <a:lnTo>
                    <a:pt x="175" y="137"/>
                  </a:lnTo>
                  <a:lnTo>
                    <a:pt x="156" y="137"/>
                  </a:lnTo>
                  <a:lnTo>
                    <a:pt x="156" y="127"/>
                  </a:lnTo>
                  <a:lnTo>
                    <a:pt x="156" y="117"/>
                  </a:lnTo>
                  <a:lnTo>
                    <a:pt x="156" y="98"/>
                  </a:lnTo>
                  <a:lnTo>
                    <a:pt x="146" y="98"/>
                  </a:lnTo>
                  <a:lnTo>
                    <a:pt x="146" y="88"/>
                  </a:lnTo>
                  <a:lnTo>
                    <a:pt x="156" y="59"/>
                  </a:lnTo>
                  <a:lnTo>
                    <a:pt x="136" y="59"/>
                  </a:lnTo>
                  <a:lnTo>
                    <a:pt x="127" y="39"/>
                  </a:lnTo>
                  <a:lnTo>
                    <a:pt x="146" y="39"/>
                  </a:lnTo>
                  <a:lnTo>
                    <a:pt x="156" y="49"/>
                  </a:lnTo>
                  <a:lnTo>
                    <a:pt x="166" y="30"/>
                  </a:lnTo>
                  <a:lnTo>
                    <a:pt x="166" y="20"/>
                  </a:lnTo>
                  <a:lnTo>
                    <a:pt x="166" y="10"/>
                  </a:lnTo>
                  <a:lnTo>
                    <a:pt x="175" y="10"/>
                  </a:lnTo>
                  <a:lnTo>
                    <a:pt x="195" y="20"/>
                  </a:lnTo>
                  <a:lnTo>
                    <a:pt x="214" y="20"/>
                  </a:lnTo>
                  <a:lnTo>
                    <a:pt x="224" y="20"/>
                  </a:lnTo>
                  <a:lnTo>
                    <a:pt x="234" y="0"/>
                  </a:lnTo>
                  <a:lnTo>
                    <a:pt x="254" y="30"/>
                  </a:lnTo>
                  <a:lnTo>
                    <a:pt x="283" y="78"/>
                  </a:lnTo>
                  <a:lnTo>
                    <a:pt x="293" y="69"/>
                  </a:lnTo>
                  <a:lnTo>
                    <a:pt x="302" y="78"/>
                  </a:lnTo>
                  <a:lnTo>
                    <a:pt x="293" y="88"/>
                  </a:lnTo>
                  <a:lnTo>
                    <a:pt x="293" y="98"/>
                  </a:lnTo>
                  <a:lnTo>
                    <a:pt x="293" y="108"/>
                  </a:lnTo>
                  <a:lnTo>
                    <a:pt x="273" y="108"/>
                  </a:lnTo>
                  <a:lnTo>
                    <a:pt x="263" y="108"/>
                  </a:lnTo>
                  <a:lnTo>
                    <a:pt x="254" y="117"/>
                  </a:lnTo>
                  <a:lnTo>
                    <a:pt x="254" y="127"/>
                  </a:lnTo>
                  <a:lnTo>
                    <a:pt x="263" y="137"/>
                  </a:lnTo>
                  <a:lnTo>
                    <a:pt x="254" y="147"/>
                  </a:lnTo>
                  <a:lnTo>
                    <a:pt x="254" y="156"/>
                  </a:lnTo>
                  <a:lnTo>
                    <a:pt x="263" y="166"/>
                  </a:lnTo>
                  <a:lnTo>
                    <a:pt x="254" y="176"/>
                  </a:lnTo>
                  <a:lnTo>
                    <a:pt x="254" y="196"/>
                  </a:lnTo>
                  <a:lnTo>
                    <a:pt x="244" y="215"/>
                  </a:lnTo>
                  <a:lnTo>
                    <a:pt x="244" y="225"/>
                  </a:lnTo>
                  <a:lnTo>
                    <a:pt x="224" y="225"/>
                  </a:lnTo>
                  <a:lnTo>
                    <a:pt x="214" y="235"/>
                  </a:lnTo>
                  <a:lnTo>
                    <a:pt x="224" y="235"/>
                  </a:lnTo>
                  <a:lnTo>
                    <a:pt x="244" y="215"/>
                  </a:lnTo>
                  <a:lnTo>
                    <a:pt x="254" y="215"/>
                  </a:lnTo>
                  <a:lnTo>
                    <a:pt x="263" y="215"/>
                  </a:lnTo>
                  <a:lnTo>
                    <a:pt x="244" y="235"/>
                  </a:lnTo>
                  <a:lnTo>
                    <a:pt x="224" y="244"/>
                  </a:lnTo>
                  <a:lnTo>
                    <a:pt x="214" y="244"/>
                  </a:lnTo>
                  <a:lnTo>
                    <a:pt x="205" y="254"/>
                  </a:lnTo>
                  <a:lnTo>
                    <a:pt x="214" y="264"/>
                  </a:lnTo>
                  <a:lnTo>
                    <a:pt x="205" y="274"/>
                  </a:lnTo>
                  <a:lnTo>
                    <a:pt x="205" y="264"/>
                  </a:lnTo>
                  <a:lnTo>
                    <a:pt x="185" y="274"/>
                  </a:lnTo>
                  <a:lnTo>
                    <a:pt x="175" y="283"/>
                  </a:lnTo>
                  <a:lnTo>
                    <a:pt x="175" y="303"/>
                  </a:lnTo>
                  <a:lnTo>
                    <a:pt x="175" y="313"/>
                  </a:lnTo>
                  <a:lnTo>
                    <a:pt x="166" y="322"/>
                  </a:lnTo>
                  <a:lnTo>
                    <a:pt x="166" y="342"/>
                  </a:lnTo>
                  <a:lnTo>
                    <a:pt x="166" y="361"/>
                  </a:lnTo>
                  <a:lnTo>
                    <a:pt x="156" y="391"/>
                  </a:lnTo>
                  <a:lnTo>
                    <a:pt x="156" y="410"/>
                  </a:lnTo>
                  <a:lnTo>
                    <a:pt x="146" y="430"/>
                  </a:lnTo>
                  <a:lnTo>
                    <a:pt x="136" y="439"/>
                  </a:lnTo>
                  <a:lnTo>
                    <a:pt x="107" y="439"/>
                  </a:lnTo>
                  <a:lnTo>
                    <a:pt x="88" y="439"/>
                  </a:lnTo>
                  <a:lnTo>
                    <a:pt x="78" y="439"/>
                  </a:lnTo>
                  <a:lnTo>
                    <a:pt x="58" y="439"/>
                  </a:lnTo>
                  <a:lnTo>
                    <a:pt x="39" y="430"/>
                  </a:lnTo>
                  <a:lnTo>
                    <a:pt x="29" y="420"/>
                  </a:lnTo>
                  <a:lnTo>
                    <a:pt x="19" y="410"/>
                  </a:lnTo>
                  <a:lnTo>
                    <a:pt x="29" y="391"/>
                  </a:lnTo>
                  <a:lnTo>
                    <a:pt x="29" y="381"/>
                  </a:lnTo>
                  <a:lnTo>
                    <a:pt x="29" y="371"/>
                  </a:lnTo>
                  <a:lnTo>
                    <a:pt x="29" y="352"/>
                  </a:lnTo>
                  <a:lnTo>
                    <a:pt x="29" y="332"/>
                  </a:lnTo>
                  <a:lnTo>
                    <a:pt x="29" y="322"/>
                  </a:lnTo>
                  <a:lnTo>
                    <a:pt x="19" y="313"/>
                  </a:lnTo>
                  <a:lnTo>
                    <a:pt x="10" y="293"/>
                  </a:lnTo>
                  <a:lnTo>
                    <a:pt x="10" y="274"/>
                  </a:lnTo>
                  <a:lnTo>
                    <a:pt x="0" y="244"/>
                  </a:lnTo>
                  <a:lnTo>
                    <a:pt x="0" y="235"/>
                  </a:lnTo>
                  <a:lnTo>
                    <a:pt x="10" y="225"/>
                  </a:lnTo>
                  <a:lnTo>
                    <a:pt x="19" y="215"/>
                  </a:lnTo>
                  <a:lnTo>
                    <a:pt x="29" y="205"/>
                  </a:lnTo>
                  <a:lnTo>
                    <a:pt x="49" y="215"/>
                  </a:lnTo>
                  <a:lnTo>
                    <a:pt x="68" y="205"/>
                  </a:lnTo>
                  <a:lnTo>
                    <a:pt x="78" y="196"/>
                  </a:lnTo>
                  <a:lnTo>
                    <a:pt x="78" y="205"/>
                  </a:lnTo>
                  <a:lnTo>
                    <a:pt x="88" y="225"/>
                  </a:lnTo>
                  <a:close/>
                </a:path>
              </a:pathLst>
            </a:custGeom>
            <a:solidFill>
              <a:srgbClr val="99C7B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8795" name="Freeform 323"/>
            <p:cNvSpPr>
              <a:spLocks noChangeAspect="1"/>
            </p:cNvSpPr>
            <p:nvPr/>
          </p:nvSpPr>
          <p:spPr bwMode="auto">
            <a:xfrm>
              <a:off x="956" y="3073"/>
              <a:ext cx="302" cy="439"/>
            </a:xfrm>
            <a:custGeom>
              <a:avLst/>
              <a:gdLst>
                <a:gd name="T0" fmla="*/ 97 w 302"/>
                <a:gd name="T1" fmla="*/ 225 h 439"/>
                <a:gd name="T2" fmla="*/ 127 w 302"/>
                <a:gd name="T3" fmla="*/ 205 h 439"/>
                <a:gd name="T4" fmla="*/ 127 w 302"/>
                <a:gd name="T5" fmla="*/ 176 h 439"/>
                <a:gd name="T6" fmla="*/ 146 w 302"/>
                <a:gd name="T7" fmla="*/ 176 h 439"/>
                <a:gd name="T8" fmla="*/ 175 w 302"/>
                <a:gd name="T9" fmla="*/ 166 h 439"/>
                <a:gd name="T10" fmla="*/ 185 w 302"/>
                <a:gd name="T11" fmla="*/ 137 h 439"/>
                <a:gd name="T12" fmla="*/ 156 w 302"/>
                <a:gd name="T13" fmla="*/ 137 h 439"/>
                <a:gd name="T14" fmla="*/ 156 w 302"/>
                <a:gd name="T15" fmla="*/ 117 h 439"/>
                <a:gd name="T16" fmla="*/ 146 w 302"/>
                <a:gd name="T17" fmla="*/ 98 h 439"/>
                <a:gd name="T18" fmla="*/ 156 w 302"/>
                <a:gd name="T19" fmla="*/ 59 h 439"/>
                <a:gd name="T20" fmla="*/ 127 w 302"/>
                <a:gd name="T21" fmla="*/ 39 h 439"/>
                <a:gd name="T22" fmla="*/ 156 w 302"/>
                <a:gd name="T23" fmla="*/ 49 h 439"/>
                <a:gd name="T24" fmla="*/ 166 w 302"/>
                <a:gd name="T25" fmla="*/ 20 h 439"/>
                <a:gd name="T26" fmla="*/ 175 w 302"/>
                <a:gd name="T27" fmla="*/ 10 h 439"/>
                <a:gd name="T28" fmla="*/ 214 w 302"/>
                <a:gd name="T29" fmla="*/ 20 h 439"/>
                <a:gd name="T30" fmla="*/ 234 w 302"/>
                <a:gd name="T31" fmla="*/ 0 h 439"/>
                <a:gd name="T32" fmla="*/ 283 w 302"/>
                <a:gd name="T33" fmla="*/ 78 h 439"/>
                <a:gd name="T34" fmla="*/ 302 w 302"/>
                <a:gd name="T35" fmla="*/ 78 h 439"/>
                <a:gd name="T36" fmla="*/ 293 w 302"/>
                <a:gd name="T37" fmla="*/ 98 h 439"/>
                <a:gd name="T38" fmla="*/ 273 w 302"/>
                <a:gd name="T39" fmla="*/ 108 h 439"/>
                <a:gd name="T40" fmla="*/ 254 w 302"/>
                <a:gd name="T41" fmla="*/ 117 h 439"/>
                <a:gd name="T42" fmla="*/ 263 w 302"/>
                <a:gd name="T43" fmla="*/ 137 h 439"/>
                <a:gd name="T44" fmla="*/ 254 w 302"/>
                <a:gd name="T45" fmla="*/ 156 h 439"/>
                <a:gd name="T46" fmla="*/ 254 w 302"/>
                <a:gd name="T47" fmla="*/ 176 h 439"/>
                <a:gd name="T48" fmla="*/ 244 w 302"/>
                <a:gd name="T49" fmla="*/ 215 h 439"/>
                <a:gd name="T50" fmla="*/ 224 w 302"/>
                <a:gd name="T51" fmla="*/ 225 h 439"/>
                <a:gd name="T52" fmla="*/ 224 w 302"/>
                <a:gd name="T53" fmla="*/ 235 h 439"/>
                <a:gd name="T54" fmla="*/ 254 w 302"/>
                <a:gd name="T55" fmla="*/ 215 h 439"/>
                <a:gd name="T56" fmla="*/ 244 w 302"/>
                <a:gd name="T57" fmla="*/ 235 h 439"/>
                <a:gd name="T58" fmla="*/ 214 w 302"/>
                <a:gd name="T59" fmla="*/ 244 h 439"/>
                <a:gd name="T60" fmla="*/ 205 w 302"/>
                <a:gd name="T61" fmla="*/ 254 h 439"/>
                <a:gd name="T62" fmla="*/ 205 w 302"/>
                <a:gd name="T63" fmla="*/ 274 h 439"/>
                <a:gd name="T64" fmla="*/ 185 w 302"/>
                <a:gd name="T65" fmla="*/ 274 h 439"/>
                <a:gd name="T66" fmla="*/ 175 w 302"/>
                <a:gd name="T67" fmla="*/ 303 h 439"/>
                <a:gd name="T68" fmla="*/ 166 w 302"/>
                <a:gd name="T69" fmla="*/ 322 h 439"/>
                <a:gd name="T70" fmla="*/ 166 w 302"/>
                <a:gd name="T71" fmla="*/ 361 h 439"/>
                <a:gd name="T72" fmla="*/ 156 w 302"/>
                <a:gd name="T73" fmla="*/ 410 h 439"/>
                <a:gd name="T74" fmla="*/ 136 w 302"/>
                <a:gd name="T75" fmla="*/ 439 h 439"/>
                <a:gd name="T76" fmla="*/ 88 w 302"/>
                <a:gd name="T77" fmla="*/ 439 h 439"/>
                <a:gd name="T78" fmla="*/ 58 w 302"/>
                <a:gd name="T79" fmla="*/ 439 h 439"/>
                <a:gd name="T80" fmla="*/ 29 w 302"/>
                <a:gd name="T81" fmla="*/ 420 h 439"/>
                <a:gd name="T82" fmla="*/ 29 w 302"/>
                <a:gd name="T83" fmla="*/ 391 h 439"/>
                <a:gd name="T84" fmla="*/ 29 w 302"/>
                <a:gd name="T85" fmla="*/ 371 h 439"/>
                <a:gd name="T86" fmla="*/ 29 w 302"/>
                <a:gd name="T87" fmla="*/ 332 h 439"/>
                <a:gd name="T88" fmla="*/ 19 w 302"/>
                <a:gd name="T89" fmla="*/ 313 h 439"/>
                <a:gd name="T90" fmla="*/ 10 w 302"/>
                <a:gd name="T91" fmla="*/ 274 h 439"/>
                <a:gd name="T92" fmla="*/ 0 w 302"/>
                <a:gd name="T93" fmla="*/ 235 h 439"/>
                <a:gd name="T94" fmla="*/ 19 w 302"/>
                <a:gd name="T95" fmla="*/ 215 h 439"/>
                <a:gd name="T96" fmla="*/ 49 w 302"/>
                <a:gd name="T97" fmla="*/ 215 h 439"/>
                <a:gd name="T98" fmla="*/ 78 w 302"/>
                <a:gd name="T99" fmla="*/ 196 h 439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302"/>
                <a:gd name="T151" fmla="*/ 0 h 439"/>
                <a:gd name="T152" fmla="*/ 302 w 302"/>
                <a:gd name="T153" fmla="*/ 439 h 439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302" h="439">
                  <a:moveTo>
                    <a:pt x="88" y="225"/>
                  </a:moveTo>
                  <a:lnTo>
                    <a:pt x="97" y="225"/>
                  </a:lnTo>
                  <a:lnTo>
                    <a:pt x="107" y="215"/>
                  </a:lnTo>
                  <a:lnTo>
                    <a:pt x="127" y="205"/>
                  </a:lnTo>
                  <a:lnTo>
                    <a:pt x="117" y="186"/>
                  </a:lnTo>
                  <a:lnTo>
                    <a:pt x="127" y="176"/>
                  </a:lnTo>
                  <a:lnTo>
                    <a:pt x="127" y="166"/>
                  </a:lnTo>
                  <a:lnTo>
                    <a:pt x="146" y="176"/>
                  </a:lnTo>
                  <a:lnTo>
                    <a:pt x="166" y="166"/>
                  </a:lnTo>
                  <a:lnTo>
                    <a:pt x="175" y="166"/>
                  </a:lnTo>
                  <a:lnTo>
                    <a:pt x="185" y="156"/>
                  </a:lnTo>
                  <a:lnTo>
                    <a:pt x="185" y="137"/>
                  </a:lnTo>
                  <a:lnTo>
                    <a:pt x="175" y="137"/>
                  </a:lnTo>
                  <a:lnTo>
                    <a:pt x="156" y="137"/>
                  </a:lnTo>
                  <a:lnTo>
                    <a:pt x="156" y="127"/>
                  </a:lnTo>
                  <a:lnTo>
                    <a:pt x="156" y="117"/>
                  </a:lnTo>
                  <a:lnTo>
                    <a:pt x="156" y="98"/>
                  </a:lnTo>
                  <a:lnTo>
                    <a:pt x="146" y="98"/>
                  </a:lnTo>
                  <a:lnTo>
                    <a:pt x="146" y="88"/>
                  </a:lnTo>
                  <a:lnTo>
                    <a:pt x="156" y="59"/>
                  </a:lnTo>
                  <a:lnTo>
                    <a:pt x="136" y="59"/>
                  </a:lnTo>
                  <a:lnTo>
                    <a:pt x="127" y="39"/>
                  </a:lnTo>
                  <a:lnTo>
                    <a:pt x="146" y="39"/>
                  </a:lnTo>
                  <a:lnTo>
                    <a:pt x="156" y="49"/>
                  </a:lnTo>
                  <a:lnTo>
                    <a:pt x="166" y="30"/>
                  </a:lnTo>
                  <a:lnTo>
                    <a:pt x="166" y="20"/>
                  </a:lnTo>
                  <a:lnTo>
                    <a:pt x="166" y="10"/>
                  </a:lnTo>
                  <a:lnTo>
                    <a:pt x="175" y="10"/>
                  </a:lnTo>
                  <a:lnTo>
                    <a:pt x="195" y="20"/>
                  </a:lnTo>
                  <a:lnTo>
                    <a:pt x="214" y="20"/>
                  </a:lnTo>
                  <a:lnTo>
                    <a:pt x="224" y="20"/>
                  </a:lnTo>
                  <a:lnTo>
                    <a:pt x="234" y="0"/>
                  </a:lnTo>
                  <a:lnTo>
                    <a:pt x="254" y="30"/>
                  </a:lnTo>
                  <a:lnTo>
                    <a:pt x="283" y="78"/>
                  </a:lnTo>
                  <a:lnTo>
                    <a:pt x="293" y="69"/>
                  </a:lnTo>
                  <a:lnTo>
                    <a:pt x="302" y="78"/>
                  </a:lnTo>
                  <a:lnTo>
                    <a:pt x="293" y="88"/>
                  </a:lnTo>
                  <a:lnTo>
                    <a:pt x="293" y="98"/>
                  </a:lnTo>
                  <a:lnTo>
                    <a:pt x="293" y="108"/>
                  </a:lnTo>
                  <a:lnTo>
                    <a:pt x="273" y="108"/>
                  </a:lnTo>
                  <a:lnTo>
                    <a:pt x="263" y="108"/>
                  </a:lnTo>
                  <a:lnTo>
                    <a:pt x="254" y="117"/>
                  </a:lnTo>
                  <a:lnTo>
                    <a:pt x="254" y="127"/>
                  </a:lnTo>
                  <a:lnTo>
                    <a:pt x="263" y="137"/>
                  </a:lnTo>
                  <a:lnTo>
                    <a:pt x="254" y="147"/>
                  </a:lnTo>
                  <a:lnTo>
                    <a:pt x="254" y="156"/>
                  </a:lnTo>
                  <a:lnTo>
                    <a:pt x="263" y="166"/>
                  </a:lnTo>
                  <a:lnTo>
                    <a:pt x="254" y="176"/>
                  </a:lnTo>
                  <a:lnTo>
                    <a:pt x="254" y="196"/>
                  </a:lnTo>
                  <a:lnTo>
                    <a:pt x="244" y="215"/>
                  </a:lnTo>
                  <a:lnTo>
                    <a:pt x="244" y="225"/>
                  </a:lnTo>
                  <a:lnTo>
                    <a:pt x="224" y="225"/>
                  </a:lnTo>
                  <a:lnTo>
                    <a:pt x="214" y="235"/>
                  </a:lnTo>
                  <a:lnTo>
                    <a:pt x="224" y="235"/>
                  </a:lnTo>
                  <a:lnTo>
                    <a:pt x="244" y="215"/>
                  </a:lnTo>
                  <a:lnTo>
                    <a:pt x="254" y="215"/>
                  </a:lnTo>
                  <a:lnTo>
                    <a:pt x="263" y="215"/>
                  </a:lnTo>
                  <a:lnTo>
                    <a:pt x="244" y="235"/>
                  </a:lnTo>
                  <a:lnTo>
                    <a:pt x="224" y="244"/>
                  </a:lnTo>
                  <a:lnTo>
                    <a:pt x="214" y="244"/>
                  </a:lnTo>
                  <a:lnTo>
                    <a:pt x="205" y="254"/>
                  </a:lnTo>
                  <a:lnTo>
                    <a:pt x="214" y="264"/>
                  </a:lnTo>
                  <a:lnTo>
                    <a:pt x="205" y="274"/>
                  </a:lnTo>
                  <a:lnTo>
                    <a:pt x="205" y="264"/>
                  </a:lnTo>
                  <a:lnTo>
                    <a:pt x="185" y="274"/>
                  </a:lnTo>
                  <a:lnTo>
                    <a:pt x="175" y="283"/>
                  </a:lnTo>
                  <a:lnTo>
                    <a:pt x="175" y="303"/>
                  </a:lnTo>
                  <a:lnTo>
                    <a:pt x="175" y="313"/>
                  </a:lnTo>
                  <a:lnTo>
                    <a:pt x="166" y="322"/>
                  </a:lnTo>
                  <a:lnTo>
                    <a:pt x="166" y="342"/>
                  </a:lnTo>
                  <a:lnTo>
                    <a:pt x="166" y="361"/>
                  </a:lnTo>
                  <a:lnTo>
                    <a:pt x="156" y="391"/>
                  </a:lnTo>
                  <a:lnTo>
                    <a:pt x="156" y="410"/>
                  </a:lnTo>
                  <a:lnTo>
                    <a:pt x="146" y="430"/>
                  </a:lnTo>
                  <a:lnTo>
                    <a:pt x="136" y="439"/>
                  </a:lnTo>
                  <a:lnTo>
                    <a:pt x="107" y="439"/>
                  </a:lnTo>
                  <a:lnTo>
                    <a:pt x="88" y="439"/>
                  </a:lnTo>
                  <a:lnTo>
                    <a:pt x="78" y="439"/>
                  </a:lnTo>
                  <a:lnTo>
                    <a:pt x="58" y="439"/>
                  </a:lnTo>
                  <a:lnTo>
                    <a:pt x="39" y="430"/>
                  </a:lnTo>
                  <a:lnTo>
                    <a:pt x="29" y="420"/>
                  </a:lnTo>
                  <a:lnTo>
                    <a:pt x="19" y="410"/>
                  </a:lnTo>
                  <a:lnTo>
                    <a:pt x="29" y="391"/>
                  </a:lnTo>
                  <a:lnTo>
                    <a:pt x="29" y="381"/>
                  </a:lnTo>
                  <a:lnTo>
                    <a:pt x="29" y="371"/>
                  </a:lnTo>
                  <a:lnTo>
                    <a:pt x="29" y="352"/>
                  </a:lnTo>
                  <a:lnTo>
                    <a:pt x="29" y="332"/>
                  </a:lnTo>
                  <a:lnTo>
                    <a:pt x="29" y="322"/>
                  </a:lnTo>
                  <a:lnTo>
                    <a:pt x="19" y="313"/>
                  </a:lnTo>
                  <a:lnTo>
                    <a:pt x="10" y="293"/>
                  </a:lnTo>
                  <a:lnTo>
                    <a:pt x="10" y="274"/>
                  </a:lnTo>
                  <a:lnTo>
                    <a:pt x="0" y="244"/>
                  </a:lnTo>
                  <a:lnTo>
                    <a:pt x="0" y="235"/>
                  </a:lnTo>
                  <a:lnTo>
                    <a:pt x="10" y="225"/>
                  </a:lnTo>
                  <a:lnTo>
                    <a:pt x="19" y="215"/>
                  </a:lnTo>
                  <a:lnTo>
                    <a:pt x="29" y="205"/>
                  </a:lnTo>
                  <a:lnTo>
                    <a:pt x="49" y="215"/>
                  </a:lnTo>
                  <a:lnTo>
                    <a:pt x="68" y="205"/>
                  </a:lnTo>
                  <a:lnTo>
                    <a:pt x="78" y="196"/>
                  </a:lnTo>
                  <a:lnTo>
                    <a:pt x="78" y="205"/>
                  </a:lnTo>
                </a:path>
              </a:pathLst>
            </a:custGeom>
            <a:noFill/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18505" name="Freeform 321"/>
          <p:cNvSpPr>
            <a:spLocks noChangeAspect="1"/>
          </p:cNvSpPr>
          <p:nvPr>
            <p:custDataLst>
              <p:tags r:id="rId71"/>
            </p:custDataLst>
          </p:nvPr>
        </p:nvSpPr>
        <p:spPr bwMode="auto">
          <a:xfrm>
            <a:off x="3771900" y="4524375"/>
            <a:ext cx="461963" cy="327025"/>
          </a:xfrm>
          <a:custGeom>
            <a:avLst/>
            <a:gdLst>
              <a:gd name="T0" fmla="*/ 175319 w 693"/>
              <a:gd name="T1" fmla="*/ 320820 h 527"/>
              <a:gd name="T2" fmla="*/ 188652 w 693"/>
              <a:gd name="T3" fmla="*/ 308409 h 527"/>
              <a:gd name="T4" fmla="*/ 195318 w 693"/>
              <a:gd name="T5" fmla="*/ 290413 h 527"/>
              <a:gd name="T6" fmla="*/ 207983 w 693"/>
              <a:gd name="T7" fmla="*/ 278623 h 527"/>
              <a:gd name="T8" fmla="*/ 214649 w 693"/>
              <a:gd name="T9" fmla="*/ 278623 h 527"/>
              <a:gd name="T10" fmla="*/ 221316 w 693"/>
              <a:gd name="T11" fmla="*/ 266212 h 527"/>
              <a:gd name="T12" fmla="*/ 227982 w 693"/>
              <a:gd name="T13" fmla="*/ 266212 h 527"/>
              <a:gd name="T14" fmla="*/ 227982 w 693"/>
              <a:gd name="T15" fmla="*/ 254422 h 527"/>
              <a:gd name="T16" fmla="*/ 240647 w 693"/>
              <a:gd name="T17" fmla="*/ 248216 h 527"/>
              <a:gd name="T18" fmla="*/ 240647 w 693"/>
              <a:gd name="T19" fmla="*/ 242011 h 527"/>
              <a:gd name="T20" fmla="*/ 266645 w 693"/>
              <a:gd name="T21" fmla="*/ 242011 h 527"/>
              <a:gd name="T22" fmla="*/ 273311 w 693"/>
              <a:gd name="T23" fmla="*/ 230221 h 527"/>
              <a:gd name="T24" fmla="*/ 259979 w 693"/>
              <a:gd name="T25" fmla="*/ 193609 h 527"/>
              <a:gd name="T26" fmla="*/ 233981 w 693"/>
              <a:gd name="T27" fmla="*/ 181818 h 527"/>
              <a:gd name="T28" fmla="*/ 253980 w 693"/>
              <a:gd name="T29" fmla="*/ 181818 h 527"/>
              <a:gd name="T30" fmla="*/ 259979 w 693"/>
              <a:gd name="T31" fmla="*/ 175613 h 527"/>
              <a:gd name="T32" fmla="*/ 259979 w 693"/>
              <a:gd name="T33" fmla="*/ 145207 h 527"/>
              <a:gd name="T34" fmla="*/ 292643 w 693"/>
              <a:gd name="T35" fmla="*/ 114800 h 527"/>
              <a:gd name="T36" fmla="*/ 299309 w 693"/>
              <a:gd name="T37" fmla="*/ 133416 h 527"/>
              <a:gd name="T38" fmla="*/ 299309 w 693"/>
              <a:gd name="T39" fmla="*/ 151412 h 527"/>
              <a:gd name="T40" fmla="*/ 311975 w 693"/>
              <a:gd name="T41" fmla="*/ 157617 h 527"/>
              <a:gd name="T42" fmla="*/ 337973 w 693"/>
              <a:gd name="T43" fmla="*/ 181818 h 527"/>
              <a:gd name="T44" fmla="*/ 363971 w 693"/>
              <a:gd name="T45" fmla="*/ 181818 h 527"/>
              <a:gd name="T46" fmla="*/ 396635 w 693"/>
              <a:gd name="T47" fmla="*/ 187403 h 527"/>
              <a:gd name="T48" fmla="*/ 415967 w 693"/>
              <a:gd name="T49" fmla="*/ 193609 h 527"/>
              <a:gd name="T50" fmla="*/ 435965 w 693"/>
              <a:gd name="T51" fmla="*/ 181818 h 527"/>
              <a:gd name="T52" fmla="*/ 455297 w 693"/>
              <a:gd name="T53" fmla="*/ 175613 h 527"/>
              <a:gd name="T54" fmla="*/ 441965 w 693"/>
              <a:gd name="T55" fmla="*/ 163202 h 527"/>
              <a:gd name="T56" fmla="*/ 415967 w 693"/>
              <a:gd name="T57" fmla="*/ 145207 h 527"/>
              <a:gd name="T58" fmla="*/ 389969 w 693"/>
              <a:gd name="T59" fmla="*/ 127211 h 527"/>
              <a:gd name="T60" fmla="*/ 389969 w 693"/>
              <a:gd name="T61" fmla="*/ 108595 h 527"/>
              <a:gd name="T62" fmla="*/ 377303 w 693"/>
              <a:gd name="T63" fmla="*/ 103010 h 527"/>
              <a:gd name="T64" fmla="*/ 377303 w 693"/>
              <a:gd name="T65" fmla="*/ 84394 h 527"/>
              <a:gd name="T66" fmla="*/ 357971 w 693"/>
              <a:gd name="T67" fmla="*/ 42197 h 527"/>
              <a:gd name="T68" fmla="*/ 331973 w 693"/>
              <a:gd name="T69" fmla="*/ 24201 h 527"/>
              <a:gd name="T70" fmla="*/ 311975 w 693"/>
              <a:gd name="T71" fmla="*/ 11790 h 527"/>
              <a:gd name="T72" fmla="*/ 299309 w 693"/>
              <a:gd name="T73" fmla="*/ 0 h 527"/>
              <a:gd name="T74" fmla="*/ 279978 w 693"/>
              <a:gd name="T75" fmla="*/ 0 h 527"/>
              <a:gd name="T76" fmla="*/ 273311 w 693"/>
              <a:gd name="T77" fmla="*/ 11790 h 527"/>
              <a:gd name="T78" fmla="*/ 240647 w 693"/>
              <a:gd name="T79" fmla="*/ 17996 h 527"/>
              <a:gd name="T80" fmla="*/ 221316 w 693"/>
              <a:gd name="T81" fmla="*/ 30406 h 527"/>
              <a:gd name="T82" fmla="*/ 201984 w 693"/>
              <a:gd name="T83" fmla="*/ 30406 h 527"/>
              <a:gd name="T84" fmla="*/ 175319 w 693"/>
              <a:gd name="T85" fmla="*/ 24201 h 527"/>
              <a:gd name="T86" fmla="*/ 155987 w 693"/>
              <a:gd name="T87" fmla="*/ 24201 h 527"/>
              <a:gd name="T88" fmla="*/ 143322 w 693"/>
              <a:gd name="T89" fmla="*/ 42197 h 527"/>
              <a:gd name="T90" fmla="*/ 117324 w 693"/>
              <a:gd name="T91" fmla="*/ 35991 h 527"/>
              <a:gd name="T92" fmla="*/ 110658 w 693"/>
              <a:gd name="T93" fmla="*/ 72603 h 527"/>
              <a:gd name="T94" fmla="*/ 71328 w 693"/>
              <a:gd name="T95" fmla="*/ 72603 h 527"/>
              <a:gd name="T96" fmla="*/ 32664 w 693"/>
              <a:gd name="T97" fmla="*/ 90599 h 527"/>
              <a:gd name="T98" fmla="*/ 32664 w 693"/>
              <a:gd name="T99" fmla="*/ 114800 h 527"/>
              <a:gd name="T100" fmla="*/ 0 w 693"/>
              <a:gd name="T101" fmla="*/ 139001 h 527"/>
              <a:gd name="T102" fmla="*/ 6666 w 693"/>
              <a:gd name="T103" fmla="*/ 163202 h 527"/>
              <a:gd name="T104" fmla="*/ 19332 w 693"/>
              <a:gd name="T105" fmla="*/ 193609 h 527"/>
              <a:gd name="T106" fmla="*/ 51996 w 693"/>
              <a:gd name="T107" fmla="*/ 211604 h 527"/>
              <a:gd name="T108" fmla="*/ 58662 w 693"/>
              <a:gd name="T109" fmla="*/ 235805 h 527"/>
              <a:gd name="T110" fmla="*/ 84660 w 693"/>
              <a:gd name="T111" fmla="*/ 254422 h 527"/>
              <a:gd name="T112" fmla="*/ 97326 w 693"/>
              <a:gd name="T113" fmla="*/ 260007 h 527"/>
              <a:gd name="T114" fmla="*/ 110658 w 693"/>
              <a:gd name="T115" fmla="*/ 290413 h 527"/>
              <a:gd name="T116" fmla="*/ 129990 w 693"/>
              <a:gd name="T117" fmla="*/ 290413 h 527"/>
              <a:gd name="T118" fmla="*/ 136656 w 693"/>
              <a:gd name="T119" fmla="*/ 296618 h 527"/>
              <a:gd name="T120" fmla="*/ 155987 w 693"/>
              <a:gd name="T121" fmla="*/ 320820 h 527"/>
              <a:gd name="T122" fmla="*/ 169320 w 693"/>
              <a:gd name="T123" fmla="*/ 320820 h 527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693"/>
              <a:gd name="T187" fmla="*/ 0 h 527"/>
              <a:gd name="T188" fmla="*/ 693 w 693"/>
              <a:gd name="T189" fmla="*/ 527 h 527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693" h="527">
                <a:moveTo>
                  <a:pt x="263" y="517"/>
                </a:moveTo>
                <a:lnTo>
                  <a:pt x="263" y="517"/>
                </a:lnTo>
                <a:lnTo>
                  <a:pt x="263" y="497"/>
                </a:lnTo>
                <a:lnTo>
                  <a:pt x="283" y="497"/>
                </a:lnTo>
                <a:lnTo>
                  <a:pt x="293" y="488"/>
                </a:lnTo>
                <a:lnTo>
                  <a:pt x="293" y="468"/>
                </a:lnTo>
                <a:lnTo>
                  <a:pt x="293" y="458"/>
                </a:lnTo>
                <a:lnTo>
                  <a:pt x="312" y="449"/>
                </a:lnTo>
                <a:lnTo>
                  <a:pt x="322" y="449"/>
                </a:lnTo>
                <a:lnTo>
                  <a:pt x="322" y="429"/>
                </a:lnTo>
                <a:lnTo>
                  <a:pt x="332" y="429"/>
                </a:lnTo>
                <a:lnTo>
                  <a:pt x="342" y="429"/>
                </a:lnTo>
                <a:lnTo>
                  <a:pt x="332" y="419"/>
                </a:lnTo>
                <a:lnTo>
                  <a:pt x="342" y="410"/>
                </a:lnTo>
                <a:lnTo>
                  <a:pt x="361" y="410"/>
                </a:lnTo>
                <a:lnTo>
                  <a:pt x="361" y="400"/>
                </a:lnTo>
                <a:lnTo>
                  <a:pt x="361" y="390"/>
                </a:lnTo>
                <a:lnTo>
                  <a:pt x="381" y="410"/>
                </a:lnTo>
                <a:lnTo>
                  <a:pt x="400" y="390"/>
                </a:lnTo>
                <a:lnTo>
                  <a:pt x="410" y="380"/>
                </a:lnTo>
                <a:lnTo>
                  <a:pt x="410" y="371"/>
                </a:lnTo>
                <a:lnTo>
                  <a:pt x="400" y="332"/>
                </a:lnTo>
                <a:lnTo>
                  <a:pt x="390" y="312"/>
                </a:lnTo>
                <a:lnTo>
                  <a:pt x="361" y="312"/>
                </a:lnTo>
                <a:lnTo>
                  <a:pt x="351" y="293"/>
                </a:lnTo>
                <a:lnTo>
                  <a:pt x="361" y="293"/>
                </a:lnTo>
                <a:lnTo>
                  <a:pt x="381" y="293"/>
                </a:lnTo>
                <a:lnTo>
                  <a:pt x="390" y="293"/>
                </a:lnTo>
                <a:lnTo>
                  <a:pt x="390" y="283"/>
                </a:lnTo>
                <a:lnTo>
                  <a:pt x="390" y="254"/>
                </a:lnTo>
                <a:lnTo>
                  <a:pt x="390" y="234"/>
                </a:lnTo>
                <a:lnTo>
                  <a:pt x="420" y="205"/>
                </a:lnTo>
                <a:lnTo>
                  <a:pt x="439" y="185"/>
                </a:lnTo>
                <a:lnTo>
                  <a:pt x="449" y="195"/>
                </a:lnTo>
                <a:lnTo>
                  <a:pt x="449" y="215"/>
                </a:lnTo>
                <a:lnTo>
                  <a:pt x="449" y="234"/>
                </a:lnTo>
                <a:lnTo>
                  <a:pt x="449" y="244"/>
                </a:lnTo>
                <a:lnTo>
                  <a:pt x="449" y="254"/>
                </a:lnTo>
                <a:lnTo>
                  <a:pt x="468" y="254"/>
                </a:lnTo>
                <a:lnTo>
                  <a:pt x="488" y="263"/>
                </a:lnTo>
                <a:lnTo>
                  <a:pt x="507" y="293"/>
                </a:lnTo>
                <a:lnTo>
                  <a:pt x="527" y="293"/>
                </a:lnTo>
                <a:lnTo>
                  <a:pt x="546" y="293"/>
                </a:lnTo>
                <a:lnTo>
                  <a:pt x="566" y="283"/>
                </a:lnTo>
                <a:lnTo>
                  <a:pt x="595" y="302"/>
                </a:lnTo>
                <a:lnTo>
                  <a:pt x="605" y="312"/>
                </a:lnTo>
                <a:lnTo>
                  <a:pt x="624" y="312"/>
                </a:lnTo>
                <a:lnTo>
                  <a:pt x="644" y="302"/>
                </a:lnTo>
                <a:lnTo>
                  <a:pt x="654" y="293"/>
                </a:lnTo>
                <a:lnTo>
                  <a:pt x="663" y="283"/>
                </a:lnTo>
                <a:lnTo>
                  <a:pt x="683" y="283"/>
                </a:lnTo>
                <a:lnTo>
                  <a:pt x="693" y="273"/>
                </a:lnTo>
                <a:lnTo>
                  <a:pt x="663" y="263"/>
                </a:lnTo>
                <a:lnTo>
                  <a:pt x="654" y="254"/>
                </a:lnTo>
                <a:lnTo>
                  <a:pt x="624" y="234"/>
                </a:lnTo>
                <a:lnTo>
                  <a:pt x="605" y="224"/>
                </a:lnTo>
                <a:lnTo>
                  <a:pt x="585" y="205"/>
                </a:lnTo>
                <a:lnTo>
                  <a:pt x="576" y="185"/>
                </a:lnTo>
                <a:lnTo>
                  <a:pt x="585" y="175"/>
                </a:lnTo>
                <a:lnTo>
                  <a:pt x="585" y="166"/>
                </a:lnTo>
                <a:lnTo>
                  <a:pt x="566" y="166"/>
                </a:lnTo>
                <a:lnTo>
                  <a:pt x="566" y="156"/>
                </a:lnTo>
                <a:lnTo>
                  <a:pt x="566" y="136"/>
                </a:lnTo>
                <a:lnTo>
                  <a:pt x="566" y="107"/>
                </a:lnTo>
                <a:lnTo>
                  <a:pt x="537" y="68"/>
                </a:lnTo>
                <a:lnTo>
                  <a:pt x="517" y="49"/>
                </a:lnTo>
                <a:lnTo>
                  <a:pt x="498" y="39"/>
                </a:lnTo>
                <a:lnTo>
                  <a:pt x="478" y="29"/>
                </a:lnTo>
                <a:lnTo>
                  <a:pt x="468" y="19"/>
                </a:lnTo>
                <a:lnTo>
                  <a:pt x="449" y="19"/>
                </a:lnTo>
                <a:lnTo>
                  <a:pt x="449" y="0"/>
                </a:lnTo>
                <a:lnTo>
                  <a:pt x="429" y="0"/>
                </a:lnTo>
                <a:lnTo>
                  <a:pt x="420" y="0"/>
                </a:lnTo>
                <a:lnTo>
                  <a:pt x="420" y="10"/>
                </a:lnTo>
                <a:lnTo>
                  <a:pt x="410" y="19"/>
                </a:lnTo>
                <a:lnTo>
                  <a:pt x="381" y="29"/>
                </a:lnTo>
                <a:lnTo>
                  <a:pt x="361" y="29"/>
                </a:lnTo>
                <a:lnTo>
                  <a:pt x="361" y="49"/>
                </a:lnTo>
                <a:lnTo>
                  <a:pt x="332" y="49"/>
                </a:lnTo>
                <a:lnTo>
                  <a:pt x="322" y="39"/>
                </a:lnTo>
                <a:lnTo>
                  <a:pt x="303" y="49"/>
                </a:lnTo>
                <a:lnTo>
                  <a:pt x="283" y="49"/>
                </a:lnTo>
                <a:lnTo>
                  <a:pt x="263" y="39"/>
                </a:lnTo>
                <a:lnTo>
                  <a:pt x="254" y="39"/>
                </a:lnTo>
                <a:lnTo>
                  <a:pt x="234" y="39"/>
                </a:lnTo>
                <a:lnTo>
                  <a:pt x="234" y="68"/>
                </a:lnTo>
                <a:lnTo>
                  <a:pt x="215" y="68"/>
                </a:lnTo>
                <a:lnTo>
                  <a:pt x="176" y="39"/>
                </a:lnTo>
                <a:lnTo>
                  <a:pt x="176" y="58"/>
                </a:lnTo>
                <a:lnTo>
                  <a:pt x="166" y="88"/>
                </a:lnTo>
                <a:lnTo>
                  <a:pt x="166" y="117"/>
                </a:lnTo>
                <a:lnTo>
                  <a:pt x="127" y="117"/>
                </a:lnTo>
                <a:lnTo>
                  <a:pt x="107" y="117"/>
                </a:lnTo>
                <a:lnTo>
                  <a:pt x="59" y="117"/>
                </a:lnTo>
                <a:lnTo>
                  <a:pt x="49" y="146"/>
                </a:lnTo>
                <a:lnTo>
                  <a:pt x="49" y="166"/>
                </a:lnTo>
                <a:lnTo>
                  <a:pt x="49" y="185"/>
                </a:lnTo>
                <a:lnTo>
                  <a:pt x="20" y="205"/>
                </a:lnTo>
                <a:lnTo>
                  <a:pt x="0" y="224"/>
                </a:lnTo>
                <a:lnTo>
                  <a:pt x="0" y="244"/>
                </a:lnTo>
                <a:lnTo>
                  <a:pt x="10" y="263"/>
                </a:lnTo>
                <a:lnTo>
                  <a:pt x="20" y="283"/>
                </a:lnTo>
                <a:lnTo>
                  <a:pt x="29" y="312"/>
                </a:lnTo>
                <a:lnTo>
                  <a:pt x="49" y="332"/>
                </a:lnTo>
                <a:lnTo>
                  <a:pt x="78" y="341"/>
                </a:lnTo>
                <a:lnTo>
                  <a:pt x="88" y="361"/>
                </a:lnTo>
                <a:lnTo>
                  <a:pt x="88" y="380"/>
                </a:lnTo>
                <a:lnTo>
                  <a:pt x="107" y="390"/>
                </a:lnTo>
                <a:lnTo>
                  <a:pt x="127" y="410"/>
                </a:lnTo>
                <a:lnTo>
                  <a:pt x="146" y="400"/>
                </a:lnTo>
                <a:lnTo>
                  <a:pt x="146" y="419"/>
                </a:lnTo>
                <a:lnTo>
                  <a:pt x="156" y="429"/>
                </a:lnTo>
                <a:lnTo>
                  <a:pt x="166" y="468"/>
                </a:lnTo>
                <a:lnTo>
                  <a:pt x="185" y="468"/>
                </a:lnTo>
                <a:lnTo>
                  <a:pt x="195" y="468"/>
                </a:lnTo>
                <a:lnTo>
                  <a:pt x="195" y="478"/>
                </a:lnTo>
                <a:lnTo>
                  <a:pt x="205" y="478"/>
                </a:lnTo>
                <a:lnTo>
                  <a:pt x="215" y="497"/>
                </a:lnTo>
                <a:lnTo>
                  <a:pt x="234" y="517"/>
                </a:lnTo>
                <a:lnTo>
                  <a:pt x="244" y="527"/>
                </a:lnTo>
                <a:lnTo>
                  <a:pt x="254" y="517"/>
                </a:lnTo>
                <a:lnTo>
                  <a:pt x="263" y="517"/>
                </a:lnTo>
                <a:close/>
              </a:path>
            </a:pathLst>
          </a:custGeom>
          <a:solidFill>
            <a:srgbClr val="C8D6DE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506" name="Freeform 320"/>
          <p:cNvSpPr>
            <a:spLocks noChangeAspect="1"/>
          </p:cNvSpPr>
          <p:nvPr>
            <p:custDataLst>
              <p:tags r:id="rId72"/>
            </p:custDataLst>
          </p:nvPr>
        </p:nvSpPr>
        <p:spPr bwMode="auto">
          <a:xfrm>
            <a:off x="3935413" y="4638675"/>
            <a:ext cx="298450" cy="382588"/>
          </a:xfrm>
          <a:custGeom>
            <a:avLst/>
            <a:gdLst>
              <a:gd name="T0" fmla="*/ 110340 w 449"/>
              <a:gd name="T1" fmla="*/ 121308 h 615"/>
              <a:gd name="T2" fmla="*/ 97046 w 449"/>
              <a:gd name="T3" fmla="*/ 79006 h 615"/>
              <a:gd name="T4" fmla="*/ 77770 w 449"/>
              <a:gd name="T5" fmla="*/ 67186 h 615"/>
              <a:gd name="T6" fmla="*/ 97046 w 449"/>
              <a:gd name="T7" fmla="*/ 60965 h 615"/>
              <a:gd name="T8" fmla="*/ 116987 w 449"/>
              <a:gd name="T9" fmla="*/ 12442 h 615"/>
              <a:gd name="T10" fmla="*/ 136263 w 449"/>
              <a:gd name="T11" fmla="*/ 18663 h 615"/>
              <a:gd name="T12" fmla="*/ 136263 w 449"/>
              <a:gd name="T13" fmla="*/ 42924 h 615"/>
              <a:gd name="T14" fmla="*/ 181463 w 449"/>
              <a:gd name="T15" fmla="*/ 67186 h 615"/>
              <a:gd name="T16" fmla="*/ 214033 w 449"/>
              <a:gd name="T17" fmla="*/ 60965 h 615"/>
              <a:gd name="T18" fmla="*/ 252586 w 449"/>
              <a:gd name="T19" fmla="*/ 79006 h 615"/>
              <a:gd name="T20" fmla="*/ 278509 w 449"/>
              <a:gd name="T21" fmla="*/ 60965 h 615"/>
              <a:gd name="T22" fmla="*/ 298450 w 449"/>
              <a:gd name="T23" fmla="*/ 67186 h 615"/>
              <a:gd name="T24" fmla="*/ 278509 w 449"/>
              <a:gd name="T25" fmla="*/ 79006 h 615"/>
              <a:gd name="T26" fmla="*/ 278509 w 449"/>
              <a:gd name="T27" fmla="*/ 91448 h 615"/>
              <a:gd name="T28" fmla="*/ 298450 w 449"/>
              <a:gd name="T29" fmla="*/ 115709 h 615"/>
              <a:gd name="T30" fmla="*/ 278509 w 449"/>
              <a:gd name="T31" fmla="*/ 139971 h 615"/>
              <a:gd name="T32" fmla="*/ 285156 w 449"/>
              <a:gd name="T33" fmla="*/ 182273 h 615"/>
              <a:gd name="T34" fmla="*/ 272527 w 449"/>
              <a:gd name="T35" fmla="*/ 206535 h 615"/>
              <a:gd name="T36" fmla="*/ 272527 w 449"/>
              <a:gd name="T37" fmla="*/ 230796 h 615"/>
              <a:gd name="T38" fmla="*/ 259233 w 449"/>
              <a:gd name="T39" fmla="*/ 237017 h 615"/>
              <a:gd name="T40" fmla="*/ 226662 w 449"/>
              <a:gd name="T41" fmla="*/ 237017 h 615"/>
              <a:gd name="T42" fmla="*/ 214033 w 449"/>
              <a:gd name="T43" fmla="*/ 255058 h 615"/>
              <a:gd name="T44" fmla="*/ 200739 w 449"/>
              <a:gd name="T45" fmla="*/ 267500 h 615"/>
              <a:gd name="T46" fmla="*/ 200739 w 449"/>
              <a:gd name="T47" fmla="*/ 303581 h 615"/>
              <a:gd name="T48" fmla="*/ 214033 w 449"/>
              <a:gd name="T49" fmla="*/ 327843 h 615"/>
              <a:gd name="T50" fmla="*/ 194757 w 449"/>
              <a:gd name="T51" fmla="*/ 340285 h 615"/>
              <a:gd name="T52" fmla="*/ 188110 w 449"/>
              <a:gd name="T53" fmla="*/ 364546 h 615"/>
              <a:gd name="T54" fmla="*/ 168834 w 449"/>
              <a:gd name="T55" fmla="*/ 376366 h 615"/>
              <a:gd name="T56" fmla="*/ 129616 w 449"/>
              <a:gd name="T57" fmla="*/ 376366 h 615"/>
              <a:gd name="T58" fmla="*/ 110340 w 449"/>
              <a:gd name="T59" fmla="*/ 382587 h 615"/>
              <a:gd name="T60" fmla="*/ 91064 w 449"/>
              <a:gd name="T61" fmla="*/ 370145 h 615"/>
              <a:gd name="T62" fmla="*/ 71123 w 449"/>
              <a:gd name="T63" fmla="*/ 370145 h 615"/>
              <a:gd name="T64" fmla="*/ 84417 w 449"/>
              <a:gd name="T65" fmla="*/ 345884 h 615"/>
              <a:gd name="T66" fmla="*/ 103693 w 449"/>
              <a:gd name="T67" fmla="*/ 340285 h 615"/>
              <a:gd name="T68" fmla="*/ 84417 w 449"/>
              <a:gd name="T69" fmla="*/ 340285 h 615"/>
              <a:gd name="T70" fmla="*/ 71123 w 449"/>
              <a:gd name="T71" fmla="*/ 321622 h 615"/>
              <a:gd name="T72" fmla="*/ 58494 w 449"/>
              <a:gd name="T73" fmla="*/ 327843 h 615"/>
              <a:gd name="T74" fmla="*/ 51847 w 449"/>
              <a:gd name="T75" fmla="*/ 316023 h 615"/>
              <a:gd name="T76" fmla="*/ 51847 w 449"/>
              <a:gd name="T77" fmla="*/ 297360 h 615"/>
              <a:gd name="T78" fmla="*/ 45200 w 449"/>
              <a:gd name="T79" fmla="*/ 303581 h 615"/>
              <a:gd name="T80" fmla="*/ 32570 w 449"/>
              <a:gd name="T81" fmla="*/ 297360 h 615"/>
              <a:gd name="T82" fmla="*/ 12629 w 449"/>
              <a:gd name="T83" fmla="*/ 297360 h 615"/>
              <a:gd name="T84" fmla="*/ 0 w 449"/>
              <a:gd name="T85" fmla="*/ 291761 h 615"/>
              <a:gd name="T86" fmla="*/ 12629 w 449"/>
              <a:gd name="T87" fmla="*/ 267500 h 615"/>
              <a:gd name="T88" fmla="*/ 19276 w 449"/>
              <a:gd name="T89" fmla="*/ 248837 h 615"/>
              <a:gd name="T90" fmla="*/ 25923 w 449"/>
              <a:gd name="T91" fmla="*/ 218355 h 615"/>
              <a:gd name="T92" fmla="*/ 19276 w 449"/>
              <a:gd name="T93" fmla="*/ 194093 h 615"/>
              <a:gd name="T94" fmla="*/ 32570 w 449"/>
              <a:gd name="T95" fmla="*/ 182273 h 615"/>
              <a:gd name="T96" fmla="*/ 51847 w 449"/>
              <a:gd name="T97" fmla="*/ 169831 h 615"/>
              <a:gd name="T98" fmla="*/ 58494 w 449"/>
              <a:gd name="T99" fmla="*/ 158012 h 615"/>
              <a:gd name="T100" fmla="*/ 65141 w 449"/>
              <a:gd name="T101" fmla="*/ 145570 h 615"/>
              <a:gd name="T102" fmla="*/ 77770 w 449"/>
              <a:gd name="T103" fmla="*/ 133750 h 615"/>
              <a:gd name="T104" fmla="*/ 91064 w 449"/>
              <a:gd name="T105" fmla="*/ 139971 h 615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449"/>
              <a:gd name="T160" fmla="*/ 0 h 615"/>
              <a:gd name="T161" fmla="*/ 449 w 449"/>
              <a:gd name="T162" fmla="*/ 615 h 615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449" h="615">
                <a:moveTo>
                  <a:pt x="137" y="225"/>
                </a:moveTo>
                <a:lnTo>
                  <a:pt x="156" y="215"/>
                </a:lnTo>
                <a:lnTo>
                  <a:pt x="166" y="195"/>
                </a:lnTo>
                <a:lnTo>
                  <a:pt x="166" y="186"/>
                </a:lnTo>
                <a:lnTo>
                  <a:pt x="156" y="156"/>
                </a:lnTo>
                <a:lnTo>
                  <a:pt x="146" y="127"/>
                </a:lnTo>
                <a:lnTo>
                  <a:pt x="127" y="127"/>
                </a:lnTo>
                <a:lnTo>
                  <a:pt x="107" y="117"/>
                </a:lnTo>
                <a:lnTo>
                  <a:pt x="117" y="108"/>
                </a:lnTo>
                <a:lnTo>
                  <a:pt x="137" y="108"/>
                </a:lnTo>
                <a:lnTo>
                  <a:pt x="146" y="108"/>
                </a:lnTo>
                <a:lnTo>
                  <a:pt x="146" y="98"/>
                </a:lnTo>
                <a:lnTo>
                  <a:pt x="146" y="69"/>
                </a:lnTo>
                <a:lnTo>
                  <a:pt x="146" y="59"/>
                </a:lnTo>
                <a:lnTo>
                  <a:pt x="176" y="20"/>
                </a:lnTo>
                <a:lnTo>
                  <a:pt x="195" y="0"/>
                </a:lnTo>
                <a:lnTo>
                  <a:pt x="205" y="20"/>
                </a:lnTo>
                <a:lnTo>
                  <a:pt x="205" y="30"/>
                </a:lnTo>
                <a:lnTo>
                  <a:pt x="205" y="49"/>
                </a:lnTo>
                <a:lnTo>
                  <a:pt x="205" y="59"/>
                </a:lnTo>
                <a:lnTo>
                  <a:pt x="205" y="69"/>
                </a:lnTo>
                <a:lnTo>
                  <a:pt x="224" y="69"/>
                </a:lnTo>
                <a:lnTo>
                  <a:pt x="244" y="78"/>
                </a:lnTo>
                <a:lnTo>
                  <a:pt x="273" y="108"/>
                </a:lnTo>
                <a:lnTo>
                  <a:pt x="283" y="117"/>
                </a:lnTo>
                <a:lnTo>
                  <a:pt x="302" y="108"/>
                </a:lnTo>
                <a:lnTo>
                  <a:pt x="322" y="98"/>
                </a:lnTo>
                <a:lnTo>
                  <a:pt x="351" y="117"/>
                </a:lnTo>
                <a:lnTo>
                  <a:pt x="361" y="127"/>
                </a:lnTo>
                <a:lnTo>
                  <a:pt x="380" y="127"/>
                </a:lnTo>
                <a:lnTo>
                  <a:pt x="400" y="117"/>
                </a:lnTo>
                <a:lnTo>
                  <a:pt x="410" y="117"/>
                </a:lnTo>
                <a:lnTo>
                  <a:pt x="419" y="98"/>
                </a:lnTo>
                <a:lnTo>
                  <a:pt x="439" y="98"/>
                </a:lnTo>
                <a:lnTo>
                  <a:pt x="449" y="88"/>
                </a:lnTo>
                <a:lnTo>
                  <a:pt x="449" y="108"/>
                </a:lnTo>
                <a:lnTo>
                  <a:pt x="439" y="117"/>
                </a:lnTo>
                <a:lnTo>
                  <a:pt x="429" y="117"/>
                </a:lnTo>
                <a:lnTo>
                  <a:pt x="419" y="127"/>
                </a:lnTo>
                <a:lnTo>
                  <a:pt x="429" y="137"/>
                </a:lnTo>
                <a:lnTo>
                  <a:pt x="429" y="147"/>
                </a:lnTo>
                <a:lnTo>
                  <a:pt x="419" y="147"/>
                </a:lnTo>
                <a:lnTo>
                  <a:pt x="419" y="156"/>
                </a:lnTo>
                <a:lnTo>
                  <a:pt x="439" y="166"/>
                </a:lnTo>
                <a:lnTo>
                  <a:pt x="449" y="186"/>
                </a:lnTo>
                <a:lnTo>
                  <a:pt x="429" y="195"/>
                </a:lnTo>
                <a:lnTo>
                  <a:pt x="429" y="215"/>
                </a:lnTo>
                <a:lnTo>
                  <a:pt x="419" y="225"/>
                </a:lnTo>
                <a:lnTo>
                  <a:pt x="429" y="244"/>
                </a:lnTo>
                <a:lnTo>
                  <a:pt x="429" y="254"/>
                </a:lnTo>
                <a:lnTo>
                  <a:pt x="429" y="293"/>
                </a:lnTo>
                <a:lnTo>
                  <a:pt x="429" y="312"/>
                </a:lnTo>
                <a:lnTo>
                  <a:pt x="429" y="332"/>
                </a:lnTo>
                <a:lnTo>
                  <a:pt x="410" y="332"/>
                </a:lnTo>
                <a:lnTo>
                  <a:pt x="400" y="332"/>
                </a:lnTo>
                <a:lnTo>
                  <a:pt x="390" y="351"/>
                </a:lnTo>
                <a:lnTo>
                  <a:pt x="410" y="371"/>
                </a:lnTo>
                <a:lnTo>
                  <a:pt x="410" y="381"/>
                </a:lnTo>
                <a:lnTo>
                  <a:pt x="400" y="381"/>
                </a:lnTo>
                <a:lnTo>
                  <a:pt x="390" y="381"/>
                </a:lnTo>
                <a:lnTo>
                  <a:pt x="380" y="371"/>
                </a:lnTo>
                <a:lnTo>
                  <a:pt x="371" y="381"/>
                </a:lnTo>
                <a:lnTo>
                  <a:pt x="341" y="381"/>
                </a:lnTo>
                <a:lnTo>
                  <a:pt x="332" y="391"/>
                </a:lnTo>
                <a:lnTo>
                  <a:pt x="332" y="410"/>
                </a:lnTo>
                <a:lnTo>
                  <a:pt x="322" y="410"/>
                </a:lnTo>
                <a:lnTo>
                  <a:pt x="312" y="410"/>
                </a:lnTo>
                <a:lnTo>
                  <a:pt x="312" y="430"/>
                </a:lnTo>
                <a:lnTo>
                  <a:pt x="302" y="430"/>
                </a:lnTo>
                <a:lnTo>
                  <a:pt x="293" y="449"/>
                </a:lnTo>
                <a:lnTo>
                  <a:pt x="293" y="469"/>
                </a:lnTo>
                <a:lnTo>
                  <a:pt x="302" y="488"/>
                </a:lnTo>
                <a:lnTo>
                  <a:pt x="312" y="498"/>
                </a:lnTo>
                <a:lnTo>
                  <a:pt x="322" y="517"/>
                </a:lnTo>
                <a:lnTo>
                  <a:pt x="322" y="527"/>
                </a:lnTo>
                <a:lnTo>
                  <a:pt x="312" y="527"/>
                </a:lnTo>
                <a:lnTo>
                  <a:pt x="302" y="527"/>
                </a:lnTo>
                <a:lnTo>
                  <a:pt x="293" y="547"/>
                </a:lnTo>
                <a:lnTo>
                  <a:pt x="293" y="566"/>
                </a:lnTo>
                <a:lnTo>
                  <a:pt x="283" y="576"/>
                </a:lnTo>
                <a:lnTo>
                  <a:pt x="283" y="586"/>
                </a:lnTo>
                <a:lnTo>
                  <a:pt x="273" y="586"/>
                </a:lnTo>
                <a:lnTo>
                  <a:pt x="273" y="595"/>
                </a:lnTo>
                <a:lnTo>
                  <a:pt x="254" y="605"/>
                </a:lnTo>
                <a:lnTo>
                  <a:pt x="244" y="605"/>
                </a:lnTo>
                <a:lnTo>
                  <a:pt x="215" y="605"/>
                </a:lnTo>
                <a:lnTo>
                  <a:pt x="195" y="605"/>
                </a:lnTo>
                <a:lnTo>
                  <a:pt x="185" y="605"/>
                </a:lnTo>
                <a:lnTo>
                  <a:pt x="185" y="615"/>
                </a:lnTo>
                <a:lnTo>
                  <a:pt x="166" y="615"/>
                </a:lnTo>
                <a:lnTo>
                  <a:pt x="166" y="605"/>
                </a:lnTo>
                <a:lnTo>
                  <a:pt x="156" y="605"/>
                </a:lnTo>
                <a:lnTo>
                  <a:pt x="137" y="595"/>
                </a:lnTo>
                <a:lnTo>
                  <a:pt x="127" y="595"/>
                </a:lnTo>
                <a:lnTo>
                  <a:pt x="117" y="595"/>
                </a:lnTo>
                <a:lnTo>
                  <a:pt x="107" y="595"/>
                </a:lnTo>
                <a:lnTo>
                  <a:pt x="107" y="576"/>
                </a:lnTo>
                <a:lnTo>
                  <a:pt x="107" y="566"/>
                </a:lnTo>
                <a:lnTo>
                  <a:pt x="127" y="556"/>
                </a:lnTo>
                <a:lnTo>
                  <a:pt x="137" y="556"/>
                </a:lnTo>
                <a:lnTo>
                  <a:pt x="156" y="556"/>
                </a:lnTo>
                <a:lnTo>
                  <a:pt x="156" y="547"/>
                </a:lnTo>
                <a:lnTo>
                  <a:pt x="146" y="547"/>
                </a:lnTo>
                <a:lnTo>
                  <a:pt x="137" y="547"/>
                </a:lnTo>
                <a:lnTo>
                  <a:pt x="127" y="547"/>
                </a:lnTo>
                <a:lnTo>
                  <a:pt x="117" y="537"/>
                </a:lnTo>
                <a:lnTo>
                  <a:pt x="107" y="527"/>
                </a:lnTo>
                <a:lnTo>
                  <a:pt x="107" y="517"/>
                </a:lnTo>
                <a:lnTo>
                  <a:pt x="98" y="508"/>
                </a:lnTo>
                <a:lnTo>
                  <a:pt x="88" y="517"/>
                </a:lnTo>
                <a:lnTo>
                  <a:pt x="88" y="527"/>
                </a:lnTo>
                <a:lnTo>
                  <a:pt x="78" y="517"/>
                </a:lnTo>
                <a:lnTo>
                  <a:pt x="68" y="517"/>
                </a:lnTo>
                <a:lnTo>
                  <a:pt x="78" y="508"/>
                </a:lnTo>
                <a:lnTo>
                  <a:pt x="78" y="498"/>
                </a:lnTo>
                <a:lnTo>
                  <a:pt x="78" y="488"/>
                </a:lnTo>
                <a:lnTo>
                  <a:pt x="78" y="478"/>
                </a:lnTo>
                <a:lnTo>
                  <a:pt x="68" y="478"/>
                </a:lnTo>
                <a:lnTo>
                  <a:pt x="68" y="488"/>
                </a:lnTo>
                <a:lnTo>
                  <a:pt x="59" y="488"/>
                </a:lnTo>
                <a:lnTo>
                  <a:pt x="49" y="478"/>
                </a:lnTo>
                <a:lnTo>
                  <a:pt x="39" y="478"/>
                </a:lnTo>
                <a:lnTo>
                  <a:pt x="29" y="488"/>
                </a:lnTo>
                <a:lnTo>
                  <a:pt x="19" y="478"/>
                </a:lnTo>
                <a:lnTo>
                  <a:pt x="19" y="469"/>
                </a:lnTo>
                <a:lnTo>
                  <a:pt x="10" y="469"/>
                </a:lnTo>
                <a:lnTo>
                  <a:pt x="0" y="469"/>
                </a:lnTo>
                <a:lnTo>
                  <a:pt x="0" y="459"/>
                </a:lnTo>
                <a:lnTo>
                  <a:pt x="10" y="439"/>
                </a:lnTo>
                <a:lnTo>
                  <a:pt x="19" y="430"/>
                </a:lnTo>
                <a:lnTo>
                  <a:pt x="19" y="420"/>
                </a:lnTo>
                <a:lnTo>
                  <a:pt x="39" y="410"/>
                </a:lnTo>
                <a:lnTo>
                  <a:pt x="29" y="400"/>
                </a:lnTo>
                <a:lnTo>
                  <a:pt x="29" y="381"/>
                </a:lnTo>
                <a:lnTo>
                  <a:pt x="29" y="371"/>
                </a:lnTo>
                <a:lnTo>
                  <a:pt x="39" y="351"/>
                </a:lnTo>
                <a:lnTo>
                  <a:pt x="39" y="332"/>
                </a:lnTo>
                <a:lnTo>
                  <a:pt x="19" y="332"/>
                </a:lnTo>
                <a:lnTo>
                  <a:pt x="29" y="312"/>
                </a:lnTo>
                <a:lnTo>
                  <a:pt x="39" y="312"/>
                </a:lnTo>
                <a:lnTo>
                  <a:pt x="49" y="303"/>
                </a:lnTo>
                <a:lnTo>
                  <a:pt x="49" y="293"/>
                </a:lnTo>
                <a:lnTo>
                  <a:pt x="49" y="273"/>
                </a:lnTo>
                <a:lnTo>
                  <a:pt x="68" y="273"/>
                </a:lnTo>
                <a:lnTo>
                  <a:pt x="78" y="273"/>
                </a:lnTo>
                <a:lnTo>
                  <a:pt x="78" y="264"/>
                </a:lnTo>
                <a:lnTo>
                  <a:pt x="78" y="254"/>
                </a:lnTo>
                <a:lnTo>
                  <a:pt x="88" y="254"/>
                </a:lnTo>
                <a:lnTo>
                  <a:pt x="98" y="254"/>
                </a:lnTo>
                <a:lnTo>
                  <a:pt x="98" y="244"/>
                </a:lnTo>
                <a:lnTo>
                  <a:pt x="98" y="234"/>
                </a:lnTo>
                <a:lnTo>
                  <a:pt x="117" y="225"/>
                </a:lnTo>
                <a:lnTo>
                  <a:pt x="117" y="215"/>
                </a:lnTo>
                <a:lnTo>
                  <a:pt x="127" y="205"/>
                </a:lnTo>
                <a:lnTo>
                  <a:pt x="137" y="225"/>
                </a:lnTo>
                <a:close/>
              </a:path>
            </a:pathLst>
          </a:custGeom>
          <a:solidFill>
            <a:srgbClr val="C0C0C0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507" name="Freeform 319"/>
          <p:cNvSpPr>
            <a:spLocks noChangeAspect="1"/>
          </p:cNvSpPr>
          <p:nvPr>
            <p:custDataLst>
              <p:tags r:id="rId73"/>
            </p:custDataLst>
          </p:nvPr>
        </p:nvSpPr>
        <p:spPr bwMode="auto">
          <a:xfrm>
            <a:off x="4214813" y="4572000"/>
            <a:ext cx="566737" cy="419100"/>
          </a:xfrm>
          <a:custGeom>
            <a:avLst/>
            <a:gdLst>
              <a:gd name="T0" fmla="*/ 384500 w 849"/>
              <a:gd name="T1" fmla="*/ 401041 h 673"/>
              <a:gd name="T2" fmla="*/ 410534 w 849"/>
              <a:gd name="T3" fmla="*/ 388586 h 673"/>
              <a:gd name="T4" fmla="*/ 443243 w 849"/>
              <a:gd name="T5" fmla="*/ 394813 h 673"/>
              <a:gd name="T6" fmla="*/ 475285 w 849"/>
              <a:gd name="T7" fmla="*/ 394813 h 673"/>
              <a:gd name="T8" fmla="*/ 507994 w 849"/>
              <a:gd name="T9" fmla="*/ 382981 h 673"/>
              <a:gd name="T10" fmla="*/ 521345 w 849"/>
              <a:gd name="T11" fmla="*/ 376754 h 673"/>
              <a:gd name="T12" fmla="*/ 521345 w 849"/>
              <a:gd name="T13" fmla="*/ 358695 h 673"/>
              <a:gd name="T14" fmla="*/ 534028 w 849"/>
              <a:gd name="T15" fmla="*/ 352467 h 673"/>
              <a:gd name="T16" fmla="*/ 547378 w 849"/>
              <a:gd name="T17" fmla="*/ 340013 h 673"/>
              <a:gd name="T18" fmla="*/ 560062 w 849"/>
              <a:gd name="T19" fmla="*/ 310122 h 673"/>
              <a:gd name="T20" fmla="*/ 528020 w 849"/>
              <a:gd name="T21" fmla="*/ 285212 h 673"/>
              <a:gd name="T22" fmla="*/ 514669 w 849"/>
              <a:gd name="T23" fmla="*/ 255321 h 673"/>
              <a:gd name="T24" fmla="*/ 554054 w 849"/>
              <a:gd name="T25" fmla="*/ 236639 h 673"/>
              <a:gd name="T26" fmla="*/ 547378 w 849"/>
              <a:gd name="T27" fmla="*/ 212352 h 673"/>
              <a:gd name="T28" fmla="*/ 528020 w 849"/>
              <a:gd name="T29" fmla="*/ 212352 h 673"/>
              <a:gd name="T30" fmla="*/ 501319 w 849"/>
              <a:gd name="T31" fmla="*/ 170006 h 673"/>
              <a:gd name="T32" fmla="*/ 488635 w 849"/>
              <a:gd name="T33" fmla="*/ 151947 h 673"/>
              <a:gd name="T34" fmla="*/ 436568 w 849"/>
              <a:gd name="T35" fmla="*/ 151947 h 673"/>
              <a:gd name="T36" fmla="*/ 410534 w 849"/>
              <a:gd name="T37" fmla="*/ 127660 h 673"/>
              <a:gd name="T38" fmla="*/ 423217 w 849"/>
              <a:gd name="T39" fmla="*/ 103374 h 673"/>
              <a:gd name="T40" fmla="*/ 423217 w 849"/>
              <a:gd name="T41" fmla="*/ 79087 h 673"/>
              <a:gd name="T42" fmla="*/ 397183 w 849"/>
              <a:gd name="T43" fmla="*/ 66633 h 673"/>
              <a:gd name="T44" fmla="*/ 365142 w 849"/>
              <a:gd name="T45" fmla="*/ 60405 h 673"/>
              <a:gd name="T46" fmla="*/ 345116 w 849"/>
              <a:gd name="T47" fmla="*/ 72860 h 673"/>
              <a:gd name="T48" fmla="*/ 313074 w 849"/>
              <a:gd name="T49" fmla="*/ 66633 h 673"/>
              <a:gd name="T50" fmla="*/ 287040 w 849"/>
              <a:gd name="T51" fmla="*/ 54801 h 673"/>
              <a:gd name="T52" fmla="*/ 273689 w 849"/>
              <a:gd name="T53" fmla="*/ 42346 h 673"/>
              <a:gd name="T54" fmla="*/ 247655 w 849"/>
              <a:gd name="T55" fmla="*/ 42346 h 673"/>
              <a:gd name="T56" fmla="*/ 195588 w 849"/>
              <a:gd name="T57" fmla="*/ 18059 h 673"/>
              <a:gd name="T58" fmla="*/ 176229 w 849"/>
              <a:gd name="T59" fmla="*/ 6227 h 673"/>
              <a:gd name="T60" fmla="*/ 156871 w 849"/>
              <a:gd name="T61" fmla="*/ 0 h 673"/>
              <a:gd name="T62" fmla="*/ 136845 w 849"/>
              <a:gd name="T63" fmla="*/ 18059 h 673"/>
              <a:gd name="T64" fmla="*/ 117486 w 849"/>
              <a:gd name="T65" fmla="*/ 42346 h 673"/>
              <a:gd name="T66" fmla="*/ 104135 w 849"/>
              <a:gd name="T67" fmla="*/ 72860 h 673"/>
              <a:gd name="T68" fmla="*/ 72094 w 849"/>
              <a:gd name="T69" fmla="*/ 85315 h 673"/>
              <a:gd name="T70" fmla="*/ 52068 w 849"/>
              <a:gd name="T71" fmla="*/ 109601 h 673"/>
              <a:gd name="T72" fmla="*/ 20026 w 849"/>
              <a:gd name="T73" fmla="*/ 133888 h 673"/>
              <a:gd name="T74" fmla="*/ 6675 w 849"/>
              <a:gd name="T75" fmla="*/ 145720 h 673"/>
              <a:gd name="T76" fmla="*/ 0 w 849"/>
              <a:gd name="T77" fmla="*/ 158174 h 673"/>
              <a:gd name="T78" fmla="*/ 20026 w 849"/>
              <a:gd name="T79" fmla="*/ 182461 h 673"/>
              <a:gd name="T80" fmla="*/ 6675 w 849"/>
              <a:gd name="T81" fmla="*/ 206748 h 673"/>
              <a:gd name="T82" fmla="*/ 20026 w 849"/>
              <a:gd name="T83" fmla="*/ 231034 h 673"/>
              <a:gd name="T84" fmla="*/ 58743 w 849"/>
              <a:gd name="T85" fmla="*/ 249094 h 673"/>
              <a:gd name="T86" fmla="*/ 104135 w 849"/>
              <a:gd name="T87" fmla="*/ 267153 h 673"/>
              <a:gd name="T88" fmla="*/ 143520 w 849"/>
              <a:gd name="T89" fmla="*/ 297667 h 673"/>
              <a:gd name="T90" fmla="*/ 169554 w 849"/>
              <a:gd name="T91" fmla="*/ 328181 h 673"/>
              <a:gd name="T92" fmla="*/ 208938 w 849"/>
              <a:gd name="T93" fmla="*/ 328181 h 673"/>
              <a:gd name="T94" fmla="*/ 221622 w 849"/>
              <a:gd name="T95" fmla="*/ 358695 h 673"/>
              <a:gd name="T96" fmla="*/ 254331 w 849"/>
              <a:gd name="T97" fmla="*/ 364299 h 673"/>
              <a:gd name="T98" fmla="*/ 273689 w 849"/>
              <a:gd name="T99" fmla="*/ 358695 h 673"/>
              <a:gd name="T100" fmla="*/ 280365 w 849"/>
              <a:gd name="T101" fmla="*/ 376754 h 673"/>
              <a:gd name="T102" fmla="*/ 280365 w 849"/>
              <a:gd name="T103" fmla="*/ 407268 h 673"/>
              <a:gd name="T104" fmla="*/ 287040 w 849"/>
              <a:gd name="T105" fmla="*/ 419100 h 673"/>
              <a:gd name="T106" fmla="*/ 306398 w 849"/>
              <a:gd name="T107" fmla="*/ 407268 h 673"/>
              <a:gd name="T108" fmla="*/ 339108 w 849"/>
              <a:gd name="T109" fmla="*/ 407268 h 673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849"/>
              <a:gd name="T166" fmla="*/ 0 h 673"/>
              <a:gd name="T167" fmla="*/ 849 w 849"/>
              <a:gd name="T168" fmla="*/ 673 h 673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849" h="673">
                <a:moveTo>
                  <a:pt x="537" y="644"/>
                </a:moveTo>
                <a:lnTo>
                  <a:pt x="566" y="654"/>
                </a:lnTo>
                <a:lnTo>
                  <a:pt x="576" y="644"/>
                </a:lnTo>
                <a:lnTo>
                  <a:pt x="576" y="634"/>
                </a:lnTo>
                <a:lnTo>
                  <a:pt x="595" y="624"/>
                </a:lnTo>
                <a:lnTo>
                  <a:pt x="615" y="624"/>
                </a:lnTo>
                <a:lnTo>
                  <a:pt x="634" y="624"/>
                </a:lnTo>
                <a:lnTo>
                  <a:pt x="664" y="634"/>
                </a:lnTo>
                <a:lnTo>
                  <a:pt x="683" y="634"/>
                </a:lnTo>
                <a:lnTo>
                  <a:pt x="703" y="624"/>
                </a:lnTo>
                <a:lnTo>
                  <a:pt x="712" y="634"/>
                </a:lnTo>
                <a:lnTo>
                  <a:pt x="732" y="624"/>
                </a:lnTo>
                <a:lnTo>
                  <a:pt x="751" y="624"/>
                </a:lnTo>
                <a:lnTo>
                  <a:pt x="761" y="615"/>
                </a:lnTo>
                <a:lnTo>
                  <a:pt x="771" y="624"/>
                </a:lnTo>
                <a:lnTo>
                  <a:pt x="781" y="634"/>
                </a:lnTo>
                <a:lnTo>
                  <a:pt x="781" y="605"/>
                </a:lnTo>
                <a:lnTo>
                  <a:pt x="791" y="585"/>
                </a:lnTo>
                <a:lnTo>
                  <a:pt x="781" y="576"/>
                </a:lnTo>
                <a:lnTo>
                  <a:pt x="791" y="566"/>
                </a:lnTo>
                <a:lnTo>
                  <a:pt x="800" y="576"/>
                </a:lnTo>
                <a:lnTo>
                  <a:pt x="800" y="566"/>
                </a:lnTo>
                <a:lnTo>
                  <a:pt x="810" y="546"/>
                </a:lnTo>
                <a:lnTo>
                  <a:pt x="820" y="546"/>
                </a:lnTo>
                <a:lnTo>
                  <a:pt x="830" y="537"/>
                </a:lnTo>
                <a:lnTo>
                  <a:pt x="849" y="517"/>
                </a:lnTo>
                <a:lnTo>
                  <a:pt x="839" y="498"/>
                </a:lnTo>
                <a:lnTo>
                  <a:pt x="820" y="478"/>
                </a:lnTo>
                <a:lnTo>
                  <a:pt x="810" y="468"/>
                </a:lnTo>
                <a:lnTo>
                  <a:pt x="791" y="458"/>
                </a:lnTo>
                <a:lnTo>
                  <a:pt x="781" y="458"/>
                </a:lnTo>
                <a:lnTo>
                  <a:pt x="771" y="449"/>
                </a:lnTo>
                <a:lnTo>
                  <a:pt x="771" y="410"/>
                </a:lnTo>
                <a:lnTo>
                  <a:pt x="791" y="400"/>
                </a:lnTo>
                <a:lnTo>
                  <a:pt x="810" y="390"/>
                </a:lnTo>
                <a:lnTo>
                  <a:pt x="830" y="380"/>
                </a:lnTo>
                <a:lnTo>
                  <a:pt x="830" y="371"/>
                </a:lnTo>
                <a:lnTo>
                  <a:pt x="820" y="351"/>
                </a:lnTo>
                <a:lnTo>
                  <a:pt x="820" y="341"/>
                </a:lnTo>
                <a:lnTo>
                  <a:pt x="810" y="332"/>
                </a:lnTo>
                <a:lnTo>
                  <a:pt x="800" y="341"/>
                </a:lnTo>
                <a:lnTo>
                  <a:pt x="791" y="341"/>
                </a:lnTo>
                <a:lnTo>
                  <a:pt x="781" y="293"/>
                </a:lnTo>
                <a:lnTo>
                  <a:pt x="761" y="273"/>
                </a:lnTo>
                <a:lnTo>
                  <a:pt x="751" y="273"/>
                </a:lnTo>
                <a:lnTo>
                  <a:pt x="751" y="263"/>
                </a:lnTo>
                <a:lnTo>
                  <a:pt x="751" y="254"/>
                </a:lnTo>
                <a:lnTo>
                  <a:pt x="732" y="244"/>
                </a:lnTo>
                <a:lnTo>
                  <a:pt x="703" y="244"/>
                </a:lnTo>
                <a:lnTo>
                  <a:pt x="673" y="234"/>
                </a:lnTo>
                <a:lnTo>
                  <a:pt x="654" y="244"/>
                </a:lnTo>
                <a:lnTo>
                  <a:pt x="644" y="244"/>
                </a:lnTo>
                <a:lnTo>
                  <a:pt x="615" y="224"/>
                </a:lnTo>
                <a:lnTo>
                  <a:pt x="615" y="205"/>
                </a:lnTo>
                <a:lnTo>
                  <a:pt x="634" y="195"/>
                </a:lnTo>
                <a:lnTo>
                  <a:pt x="634" y="185"/>
                </a:lnTo>
                <a:lnTo>
                  <a:pt x="634" y="166"/>
                </a:lnTo>
                <a:lnTo>
                  <a:pt x="634" y="146"/>
                </a:lnTo>
                <a:lnTo>
                  <a:pt x="625" y="137"/>
                </a:lnTo>
                <a:lnTo>
                  <a:pt x="634" y="127"/>
                </a:lnTo>
                <a:lnTo>
                  <a:pt x="615" y="117"/>
                </a:lnTo>
                <a:lnTo>
                  <a:pt x="595" y="107"/>
                </a:lnTo>
                <a:lnTo>
                  <a:pt x="586" y="97"/>
                </a:lnTo>
                <a:lnTo>
                  <a:pt x="566" y="88"/>
                </a:lnTo>
                <a:lnTo>
                  <a:pt x="547" y="97"/>
                </a:lnTo>
                <a:lnTo>
                  <a:pt x="527" y="97"/>
                </a:lnTo>
                <a:lnTo>
                  <a:pt x="517" y="107"/>
                </a:lnTo>
                <a:lnTo>
                  <a:pt x="517" y="117"/>
                </a:lnTo>
                <a:lnTo>
                  <a:pt x="498" y="117"/>
                </a:lnTo>
                <a:lnTo>
                  <a:pt x="478" y="117"/>
                </a:lnTo>
                <a:lnTo>
                  <a:pt x="469" y="107"/>
                </a:lnTo>
                <a:lnTo>
                  <a:pt x="459" y="97"/>
                </a:lnTo>
                <a:lnTo>
                  <a:pt x="439" y="97"/>
                </a:lnTo>
                <a:lnTo>
                  <a:pt x="430" y="88"/>
                </a:lnTo>
                <a:lnTo>
                  <a:pt x="430" y="68"/>
                </a:lnTo>
                <a:lnTo>
                  <a:pt x="420" y="68"/>
                </a:lnTo>
                <a:lnTo>
                  <a:pt x="410" y="68"/>
                </a:lnTo>
                <a:lnTo>
                  <a:pt x="391" y="78"/>
                </a:lnTo>
                <a:lnTo>
                  <a:pt x="381" y="68"/>
                </a:lnTo>
                <a:lnTo>
                  <a:pt x="371" y="68"/>
                </a:lnTo>
                <a:lnTo>
                  <a:pt x="332" y="58"/>
                </a:lnTo>
                <a:lnTo>
                  <a:pt x="322" y="29"/>
                </a:lnTo>
                <a:lnTo>
                  <a:pt x="293" y="29"/>
                </a:lnTo>
                <a:lnTo>
                  <a:pt x="274" y="19"/>
                </a:lnTo>
                <a:lnTo>
                  <a:pt x="274" y="29"/>
                </a:lnTo>
                <a:lnTo>
                  <a:pt x="264" y="10"/>
                </a:lnTo>
                <a:lnTo>
                  <a:pt x="254" y="10"/>
                </a:lnTo>
                <a:lnTo>
                  <a:pt x="235" y="10"/>
                </a:lnTo>
                <a:lnTo>
                  <a:pt x="235" y="0"/>
                </a:lnTo>
                <a:lnTo>
                  <a:pt x="215" y="10"/>
                </a:lnTo>
                <a:lnTo>
                  <a:pt x="215" y="29"/>
                </a:lnTo>
                <a:lnTo>
                  <a:pt x="205" y="29"/>
                </a:lnTo>
                <a:lnTo>
                  <a:pt x="195" y="29"/>
                </a:lnTo>
                <a:lnTo>
                  <a:pt x="195" y="58"/>
                </a:lnTo>
                <a:lnTo>
                  <a:pt x="176" y="68"/>
                </a:lnTo>
                <a:lnTo>
                  <a:pt x="176" y="107"/>
                </a:lnTo>
                <a:lnTo>
                  <a:pt x="166" y="117"/>
                </a:lnTo>
                <a:lnTo>
                  <a:pt x="156" y="117"/>
                </a:lnTo>
                <a:lnTo>
                  <a:pt x="137" y="117"/>
                </a:lnTo>
                <a:lnTo>
                  <a:pt x="117" y="127"/>
                </a:lnTo>
                <a:lnTo>
                  <a:pt x="108" y="137"/>
                </a:lnTo>
                <a:lnTo>
                  <a:pt x="88" y="146"/>
                </a:lnTo>
                <a:lnTo>
                  <a:pt x="78" y="156"/>
                </a:lnTo>
                <a:lnTo>
                  <a:pt x="78" y="176"/>
                </a:lnTo>
                <a:lnTo>
                  <a:pt x="59" y="185"/>
                </a:lnTo>
                <a:lnTo>
                  <a:pt x="30" y="195"/>
                </a:lnTo>
                <a:lnTo>
                  <a:pt x="30" y="215"/>
                </a:lnTo>
                <a:lnTo>
                  <a:pt x="20" y="215"/>
                </a:lnTo>
                <a:lnTo>
                  <a:pt x="10" y="224"/>
                </a:lnTo>
                <a:lnTo>
                  <a:pt x="10" y="234"/>
                </a:lnTo>
                <a:lnTo>
                  <a:pt x="10" y="244"/>
                </a:lnTo>
                <a:lnTo>
                  <a:pt x="10" y="254"/>
                </a:lnTo>
                <a:lnTo>
                  <a:pt x="0" y="254"/>
                </a:lnTo>
                <a:lnTo>
                  <a:pt x="10" y="263"/>
                </a:lnTo>
                <a:lnTo>
                  <a:pt x="20" y="273"/>
                </a:lnTo>
                <a:lnTo>
                  <a:pt x="30" y="293"/>
                </a:lnTo>
                <a:lnTo>
                  <a:pt x="10" y="302"/>
                </a:lnTo>
                <a:lnTo>
                  <a:pt x="10" y="322"/>
                </a:lnTo>
                <a:lnTo>
                  <a:pt x="10" y="332"/>
                </a:lnTo>
                <a:lnTo>
                  <a:pt x="10" y="351"/>
                </a:lnTo>
                <a:lnTo>
                  <a:pt x="10" y="361"/>
                </a:lnTo>
                <a:lnTo>
                  <a:pt x="30" y="371"/>
                </a:lnTo>
                <a:lnTo>
                  <a:pt x="59" y="380"/>
                </a:lnTo>
                <a:lnTo>
                  <a:pt x="69" y="390"/>
                </a:lnTo>
                <a:lnTo>
                  <a:pt x="88" y="400"/>
                </a:lnTo>
                <a:lnTo>
                  <a:pt x="117" y="410"/>
                </a:lnTo>
                <a:lnTo>
                  <a:pt x="147" y="419"/>
                </a:lnTo>
                <a:lnTo>
                  <a:pt x="156" y="429"/>
                </a:lnTo>
                <a:lnTo>
                  <a:pt x="166" y="439"/>
                </a:lnTo>
                <a:lnTo>
                  <a:pt x="186" y="449"/>
                </a:lnTo>
                <a:lnTo>
                  <a:pt x="215" y="478"/>
                </a:lnTo>
                <a:lnTo>
                  <a:pt x="235" y="507"/>
                </a:lnTo>
                <a:lnTo>
                  <a:pt x="244" y="527"/>
                </a:lnTo>
                <a:lnTo>
                  <a:pt x="254" y="527"/>
                </a:lnTo>
                <a:lnTo>
                  <a:pt x="274" y="527"/>
                </a:lnTo>
                <a:lnTo>
                  <a:pt x="293" y="527"/>
                </a:lnTo>
                <a:lnTo>
                  <a:pt x="313" y="527"/>
                </a:lnTo>
                <a:lnTo>
                  <a:pt x="313" y="546"/>
                </a:lnTo>
                <a:lnTo>
                  <a:pt x="322" y="576"/>
                </a:lnTo>
                <a:lnTo>
                  <a:pt x="332" y="576"/>
                </a:lnTo>
                <a:lnTo>
                  <a:pt x="342" y="585"/>
                </a:lnTo>
                <a:lnTo>
                  <a:pt x="371" y="585"/>
                </a:lnTo>
                <a:lnTo>
                  <a:pt x="381" y="585"/>
                </a:lnTo>
                <a:lnTo>
                  <a:pt x="400" y="595"/>
                </a:lnTo>
                <a:lnTo>
                  <a:pt x="400" y="585"/>
                </a:lnTo>
                <a:lnTo>
                  <a:pt x="410" y="576"/>
                </a:lnTo>
                <a:lnTo>
                  <a:pt x="420" y="585"/>
                </a:lnTo>
                <a:lnTo>
                  <a:pt x="430" y="585"/>
                </a:lnTo>
                <a:lnTo>
                  <a:pt x="420" y="605"/>
                </a:lnTo>
                <a:lnTo>
                  <a:pt x="420" y="624"/>
                </a:lnTo>
                <a:lnTo>
                  <a:pt x="420" y="654"/>
                </a:lnTo>
                <a:lnTo>
                  <a:pt x="420" y="663"/>
                </a:lnTo>
                <a:lnTo>
                  <a:pt x="430" y="673"/>
                </a:lnTo>
                <a:lnTo>
                  <a:pt x="439" y="673"/>
                </a:lnTo>
                <a:lnTo>
                  <a:pt x="439" y="663"/>
                </a:lnTo>
                <a:lnTo>
                  <a:pt x="459" y="654"/>
                </a:lnTo>
                <a:lnTo>
                  <a:pt x="478" y="654"/>
                </a:lnTo>
                <a:lnTo>
                  <a:pt x="488" y="654"/>
                </a:lnTo>
                <a:lnTo>
                  <a:pt x="508" y="654"/>
                </a:lnTo>
                <a:lnTo>
                  <a:pt x="517" y="654"/>
                </a:lnTo>
                <a:lnTo>
                  <a:pt x="537" y="644"/>
                </a:lnTo>
                <a:close/>
              </a:path>
            </a:pathLst>
          </a:custGeom>
          <a:solidFill>
            <a:srgbClr val="C0C0C0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508" name="Freeform 318"/>
          <p:cNvSpPr>
            <a:spLocks noChangeAspect="1"/>
          </p:cNvSpPr>
          <p:nvPr>
            <p:custDataLst>
              <p:tags r:id="rId74"/>
            </p:custDataLst>
          </p:nvPr>
        </p:nvSpPr>
        <p:spPr bwMode="auto">
          <a:xfrm>
            <a:off x="2755900" y="3638550"/>
            <a:ext cx="234950" cy="206375"/>
          </a:xfrm>
          <a:custGeom>
            <a:avLst/>
            <a:gdLst>
              <a:gd name="T0" fmla="*/ 228275 w 352"/>
              <a:gd name="T1" fmla="*/ 139863 h 332"/>
              <a:gd name="T2" fmla="*/ 221601 w 352"/>
              <a:gd name="T3" fmla="*/ 151673 h 332"/>
              <a:gd name="T4" fmla="*/ 228275 w 352"/>
              <a:gd name="T5" fmla="*/ 164105 h 332"/>
              <a:gd name="T6" fmla="*/ 234950 w 352"/>
              <a:gd name="T7" fmla="*/ 188348 h 332"/>
              <a:gd name="T8" fmla="*/ 208919 w 352"/>
              <a:gd name="T9" fmla="*/ 200159 h 332"/>
              <a:gd name="T10" fmla="*/ 182887 w 352"/>
              <a:gd name="T11" fmla="*/ 175916 h 332"/>
              <a:gd name="T12" fmla="*/ 162863 w 352"/>
              <a:gd name="T13" fmla="*/ 170322 h 332"/>
              <a:gd name="T14" fmla="*/ 150181 w 352"/>
              <a:gd name="T15" fmla="*/ 139863 h 332"/>
              <a:gd name="T16" fmla="*/ 136832 w 352"/>
              <a:gd name="T17" fmla="*/ 139863 h 332"/>
              <a:gd name="T18" fmla="*/ 124150 w 352"/>
              <a:gd name="T19" fmla="*/ 146079 h 332"/>
              <a:gd name="T20" fmla="*/ 98118 w 352"/>
              <a:gd name="T21" fmla="*/ 146079 h 332"/>
              <a:gd name="T22" fmla="*/ 84769 w 352"/>
              <a:gd name="T23" fmla="*/ 139863 h 332"/>
              <a:gd name="T24" fmla="*/ 58738 w 352"/>
              <a:gd name="T25" fmla="*/ 133646 h 332"/>
              <a:gd name="T26" fmla="*/ 58738 w 352"/>
              <a:gd name="T27" fmla="*/ 127430 h 332"/>
              <a:gd name="T28" fmla="*/ 32706 w 352"/>
              <a:gd name="T29" fmla="*/ 115620 h 332"/>
              <a:gd name="T30" fmla="*/ 20024 w 352"/>
              <a:gd name="T31" fmla="*/ 115620 h 332"/>
              <a:gd name="T32" fmla="*/ 13349 w 352"/>
              <a:gd name="T33" fmla="*/ 103188 h 332"/>
              <a:gd name="T34" fmla="*/ 0 w 352"/>
              <a:gd name="T35" fmla="*/ 91377 h 332"/>
              <a:gd name="T36" fmla="*/ 13349 w 352"/>
              <a:gd name="T37" fmla="*/ 78945 h 332"/>
              <a:gd name="T38" fmla="*/ 20024 w 352"/>
              <a:gd name="T39" fmla="*/ 67134 h 332"/>
              <a:gd name="T40" fmla="*/ 39381 w 352"/>
              <a:gd name="T41" fmla="*/ 60918 h 332"/>
              <a:gd name="T42" fmla="*/ 58738 w 352"/>
              <a:gd name="T43" fmla="*/ 36675 h 332"/>
              <a:gd name="T44" fmla="*/ 52063 w 352"/>
              <a:gd name="T45" fmla="*/ 6216 h 332"/>
              <a:gd name="T46" fmla="*/ 65412 w 352"/>
              <a:gd name="T47" fmla="*/ 6216 h 332"/>
              <a:gd name="T48" fmla="*/ 78762 w 352"/>
              <a:gd name="T49" fmla="*/ 0 h 332"/>
              <a:gd name="T50" fmla="*/ 98118 w 352"/>
              <a:gd name="T51" fmla="*/ 6216 h 332"/>
              <a:gd name="T52" fmla="*/ 110800 w 352"/>
              <a:gd name="T53" fmla="*/ 6216 h 332"/>
              <a:gd name="T54" fmla="*/ 117475 w 352"/>
              <a:gd name="T55" fmla="*/ 18648 h 332"/>
              <a:gd name="T56" fmla="*/ 136832 w 352"/>
              <a:gd name="T57" fmla="*/ 12432 h 332"/>
              <a:gd name="T58" fmla="*/ 150181 w 352"/>
              <a:gd name="T59" fmla="*/ 30459 h 332"/>
              <a:gd name="T60" fmla="*/ 182887 w 352"/>
              <a:gd name="T61" fmla="*/ 30459 h 332"/>
              <a:gd name="T62" fmla="*/ 195569 w 352"/>
              <a:gd name="T63" fmla="*/ 42891 h 332"/>
              <a:gd name="T64" fmla="*/ 182887 w 352"/>
              <a:gd name="T65" fmla="*/ 60918 h 332"/>
              <a:gd name="T66" fmla="*/ 202244 w 352"/>
              <a:gd name="T67" fmla="*/ 67134 h 332"/>
              <a:gd name="T68" fmla="*/ 221601 w 352"/>
              <a:gd name="T69" fmla="*/ 78945 h 332"/>
              <a:gd name="T70" fmla="*/ 214926 w 352"/>
              <a:gd name="T71" fmla="*/ 96971 h 332"/>
              <a:gd name="T72" fmla="*/ 228275 w 352"/>
              <a:gd name="T73" fmla="*/ 96971 h 332"/>
              <a:gd name="T74" fmla="*/ 221601 w 352"/>
              <a:gd name="T75" fmla="*/ 115620 h 332"/>
              <a:gd name="T76" fmla="*/ 228275 w 352"/>
              <a:gd name="T77" fmla="*/ 133646 h 33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352"/>
              <a:gd name="T118" fmla="*/ 0 h 332"/>
              <a:gd name="T119" fmla="*/ 352 w 352"/>
              <a:gd name="T120" fmla="*/ 332 h 332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352" h="332">
                <a:moveTo>
                  <a:pt x="342" y="215"/>
                </a:moveTo>
                <a:lnTo>
                  <a:pt x="342" y="225"/>
                </a:lnTo>
                <a:lnTo>
                  <a:pt x="342" y="244"/>
                </a:lnTo>
                <a:lnTo>
                  <a:pt x="332" y="244"/>
                </a:lnTo>
                <a:lnTo>
                  <a:pt x="332" y="254"/>
                </a:lnTo>
                <a:lnTo>
                  <a:pt x="342" y="264"/>
                </a:lnTo>
                <a:lnTo>
                  <a:pt x="352" y="274"/>
                </a:lnTo>
                <a:lnTo>
                  <a:pt x="352" y="303"/>
                </a:lnTo>
                <a:lnTo>
                  <a:pt x="342" y="332"/>
                </a:lnTo>
                <a:lnTo>
                  <a:pt x="313" y="322"/>
                </a:lnTo>
                <a:lnTo>
                  <a:pt x="283" y="283"/>
                </a:lnTo>
                <a:lnTo>
                  <a:pt x="274" y="283"/>
                </a:lnTo>
                <a:lnTo>
                  <a:pt x="254" y="274"/>
                </a:lnTo>
                <a:lnTo>
                  <a:pt x="244" y="274"/>
                </a:lnTo>
                <a:lnTo>
                  <a:pt x="235" y="264"/>
                </a:lnTo>
                <a:lnTo>
                  <a:pt x="225" y="225"/>
                </a:lnTo>
                <a:lnTo>
                  <a:pt x="225" y="215"/>
                </a:lnTo>
                <a:lnTo>
                  <a:pt x="205" y="225"/>
                </a:lnTo>
                <a:lnTo>
                  <a:pt x="196" y="235"/>
                </a:lnTo>
                <a:lnTo>
                  <a:pt x="186" y="235"/>
                </a:lnTo>
                <a:lnTo>
                  <a:pt x="176" y="244"/>
                </a:lnTo>
                <a:lnTo>
                  <a:pt x="147" y="235"/>
                </a:lnTo>
                <a:lnTo>
                  <a:pt x="127" y="244"/>
                </a:lnTo>
                <a:lnTo>
                  <a:pt x="127" y="225"/>
                </a:lnTo>
                <a:lnTo>
                  <a:pt x="118" y="215"/>
                </a:lnTo>
                <a:lnTo>
                  <a:pt x="88" y="215"/>
                </a:lnTo>
                <a:lnTo>
                  <a:pt x="88" y="205"/>
                </a:lnTo>
                <a:lnTo>
                  <a:pt x="69" y="205"/>
                </a:lnTo>
                <a:lnTo>
                  <a:pt x="49" y="186"/>
                </a:lnTo>
                <a:lnTo>
                  <a:pt x="39" y="186"/>
                </a:lnTo>
                <a:lnTo>
                  <a:pt x="30" y="186"/>
                </a:lnTo>
                <a:lnTo>
                  <a:pt x="30" y="176"/>
                </a:lnTo>
                <a:lnTo>
                  <a:pt x="20" y="166"/>
                </a:lnTo>
                <a:lnTo>
                  <a:pt x="10" y="166"/>
                </a:lnTo>
                <a:lnTo>
                  <a:pt x="0" y="147"/>
                </a:lnTo>
                <a:lnTo>
                  <a:pt x="0" y="137"/>
                </a:lnTo>
                <a:lnTo>
                  <a:pt x="20" y="127"/>
                </a:lnTo>
                <a:lnTo>
                  <a:pt x="39" y="127"/>
                </a:lnTo>
                <a:lnTo>
                  <a:pt x="30" y="108"/>
                </a:lnTo>
                <a:lnTo>
                  <a:pt x="30" y="98"/>
                </a:lnTo>
                <a:lnTo>
                  <a:pt x="59" y="98"/>
                </a:lnTo>
                <a:lnTo>
                  <a:pt x="59" y="78"/>
                </a:lnTo>
                <a:lnTo>
                  <a:pt x="88" y="59"/>
                </a:lnTo>
                <a:lnTo>
                  <a:pt x="78" y="49"/>
                </a:lnTo>
                <a:lnTo>
                  <a:pt x="78" y="10"/>
                </a:lnTo>
                <a:lnTo>
                  <a:pt x="98" y="0"/>
                </a:lnTo>
                <a:lnTo>
                  <a:pt x="98" y="10"/>
                </a:lnTo>
                <a:lnTo>
                  <a:pt x="118" y="10"/>
                </a:lnTo>
                <a:lnTo>
                  <a:pt x="118" y="0"/>
                </a:lnTo>
                <a:lnTo>
                  <a:pt x="127" y="10"/>
                </a:lnTo>
                <a:lnTo>
                  <a:pt x="147" y="10"/>
                </a:lnTo>
                <a:lnTo>
                  <a:pt x="157" y="0"/>
                </a:lnTo>
                <a:lnTo>
                  <a:pt x="166" y="10"/>
                </a:lnTo>
                <a:lnTo>
                  <a:pt x="166" y="20"/>
                </a:lnTo>
                <a:lnTo>
                  <a:pt x="176" y="30"/>
                </a:lnTo>
                <a:lnTo>
                  <a:pt x="186" y="30"/>
                </a:lnTo>
                <a:lnTo>
                  <a:pt x="205" y="20"/>
                </a:lnTo>
                <a:lnTo>
                  <a:pt x="215" y="30"/>
                </a:lnTo>
                <a:lnTo>
                  <a:pt x="225" y="49"/>
                </a:lnTo>
                <a:lnTo>
                  <a:pt x="244" y="49"/>
                </a:lnTo>
                <a:lnTo>
                  <a:pt x="274" y="49"/>
                </a:lnTo>
                <a:lnTo>
                  <a:pt x="283" y="49"/>
                </a:lnTo>
                <a:lnTo>
                  <a:pt x="293" y="69"/>
                </a:lnTo>
                <a:lnTo>
                  <a:pt x="283" y="78"/>
                </a:lnTo>
                <a:lnTo>
                  <a:pt x="274" y="98"/>
                </a:lnTo>
                <a:lnTo>
                  <a:pt x="283" y="108"/>
                </a:lnTo>
                <a:lnTo>
                  <a:pt x="303" y="108"/>
                </a:lnTo>
                <a:lnTo>
                  <a:pt x="322" y="108"/>
                </a:lnTo>
                <a:lnTo>
                  <a:pt x="332" y="127"/>
                </a:lnTo>
                <a:lnTo>
                  <a:pt x="332" y="137"/>
                </a:lnTo>
                <a:lnTo>
                  <a:pt x="322" y="156"/>
                </a:lnTo>
                <a:lnTo>
                  <a:pt x="342" y="156"/>
                </a:lnTo>
                <a:lnTo>
                  <a:pt x="332" y="176"/>
                </a:lnTo>
                <a:lnTo>
                  <a:pt x="332" y="186"/>
                </a:lnTo>
                <a:lnTo>
                  <a:pt x="342" y="186"/>
                </a:lnTo>
                <a:lnTo>
                  <a:pt x="342" y="215"/>
                </a:lnTo>
                <a:close/>
              </a:path>
            </a:pathLst>
          </a:custGeom>
          <a:solidFill>
            <a:srgbClr val="FFCC99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509" name="Freeform 317"/>
          <p:cNvSpPr>
            <a:spLocks noChangeAspect="1"/>
          </p:cNvSpPr>
          <p:nvPr>
            <p:custDataLst>
              <p:tags r:id="rId75"/>
            </p:custDataLst>
          </p:nvPr>
        </p:nvSpPr>
        <p:spPr bwMode="auto">
          <a:xfrm>
            <a:off x="4533900" y="4956175"/>
            <a:ext cx="228600" cy="314325"/>
          </a:xfrm>
          <a:custGeom>
            <a:avLst/>
            <a:gdLst>
              <a:gd name="T0" fmla="*/ 13368 w 342"/>
              <a:gd name="T1" fmla="*/ 156853 h 507"/>
              <a:gd name="T2" fmla="*/ 32753 w 342"/>
              <a:gd name="T3" fmla="*/ 163052 h 507"/>
              <a:gd name="T4" fmla="*/ 46121 w 342"/>
              <a:gd name="T5" fmla="*/ 175452 h 507"/>
              <a:gd name="T6" fmla="*/ 58821 w 342"/>
              <a:gd name="T7" fmla="*/ 199631 h 507"/>
              <a:gd name="T8" fmla="*/ 78205 w 342"/>
              <a:gd name="T9" fmla="*/ 211410 h 507"/>
              <a:gd name="T10" fmla="*/ 78205 w 342"/>
              <a:gd name="T11" fmla="*/ 223809 h 507"/>
              <a:gd name="T12" fmla="*/ 65505 w 342"/>
              <a:gd name="T13" fmla="*/ 229389 h 507"/>
              <a:gd name="T14" fmla="*/ 65505 w 342"/>
              <a:gd name="T15" fmla="*/ 241788 h 507"/>
              <a:gd name="T16" fmla="*/ 65505 w 342"/>
              <a:gd name="T17" fmla="*/ 259768 h 507"/>
              <a:gd name="T18" fmla="*/ 72189 w 342"/>
              <a:gd name="T19" fmla="*/ 277747 h 507"/>
              <a:gd name="T20" fmla="*/ 91574 w 342"/>
              <a:gd name="T21" fmla="*/ 301926 h 507"/>
              <a:gd name="T22" fmla="*/ 110958 w 342"/>
              <a:gd name="T23" fmla="*/ 296346 h 507"/>
              <a:gd name="T24" fmla="*/ 130342 w 342"/>
              <a:gd name="T25" fmla="*/ 314325 h 507"/>
              <a:gd name="T26" fmla="*/ 143711 w 342"/>
              <a:gd name="T27" fmla="*/ 314325 h 507"/>
              <a:gd name="T28" fmla="*/ 156411 w 342"/>
              <a:gd name="T29" fmla="*/ 296346 h 507"/>
              <a:gd name="T30" fmla="*/ 176463 w 342"/>
              <a:gd name="T31" fmla="*/ 283946 h 507"/>
              <a:gd name="T32" fmla="*/ 163095 w 342"/>
              <a:gd name="T33" fmla="*/ 272167 h 507"/>
              <a:gd name="T34" fmla="*/ 156411 w 342"/>
              <a:gd name="T35" fmla="*/ 259768 h 507"/>
              <a:gd name="T36" fmla="*/ 169779 w 342"/>
              <a:gd name="T37" fmla="*/ 259768 h 507"/>
              <a:gd name="T38" fmla="*/ 169779 w 342"/>
              <a:gd name="T39" fmla="*/ 241788 h 507"/>
              <a:gd name="T40" fmla="*/ 163095 w 342"/>
              <a:gd name="T41" fmla="*/ 235589 h 507"/>
              <a:gd name="T42" fmla="*/ 176463 w 342"/>
              <a:gd name="T43" fmla="*/ 217610 h 507"/>
              <a:gd name="T44" fmla="*/ 189163 w 342"/>
              <a:gd name="T45" fmla="*/ 199631 h 507"/>
              <a:gd name="T46" fmla="*/ 189163 w 342"/>
              <a:gd name="T47" fmla="*/ 193431 h 507"/>
              <a:gd name="T48" fmla="*/ 189163 w 342"/>
              <a:gd name="T49" fmla="*/ 181031 h 507"/>
              <a:gd name="T50" fmla="*/ 182479 w 342"/>
              <a:gd name="T51" fmla="*/ 175452 h 507"/>
              <a:gd name="T52" fmla="*/ 169779 w 342"/>
              <a:gd name="T53" fmla="*/ 175452 h 507"/>
              <a:gd name="T54" fmla="*/ 163095 w 342"/>
              <a:gd name="T55" fmla="*/ 175452 h 507"/>
              <a:gd name="T56" fmla="*/ 176463 w 342"/>
              <a:gd name="T57" fmla="*/ 156853 h 507"/>
              <a:gd name="T58" fmla="*/ 182479 w 342"/>
              <a:gd name="T59" fmla="*/ 138873 h 507"/>
              <a:gd name="T60" fmla="*/ 176463 w 342"/>
              <a:gd name="T61" fmla="*/ 108495 h 507"/>
              <a:gd name="T62" fmla="*/ 189163 w 342"/>
              <a:gd name="T63" fmla="*/ 102295 h 507"/>
              <a:gd name="T64" fmla="*/ 209216 w 342"/>
              <a:gd name="T65" fmla="*/ 84316 h 507"/>
              <a:gd name="T66" fmla="*/ 228600 w 342"/>
              <a:gd name="T67" fmla="*/ 78116 h 507"/>
              <a:gd name="T68" fmla="*/ 228600 w 342"/>
              <a:gd name="T69" fmla="*/ 66337 h 507"/>
              <a:gd name="T70" fmla="*/ 228600 w 342"/>
              <a:gd name="T71" fmla="*/ 53937 h 507"/>
              <a:gd name="T72" fmla="*/ 209216 w 342"/>
              <a:gd name="T73" fmla="*/ 42158 h 507"/>
              <a:gd name="T74" fmla="*/ 202532 w 342"/>
              <a:gd name="T75" fmla="*/ 24179 h 507"/>
              <a:gd name="T76" fmla="*/ 202532 w 342"/>
              <a:gd name="T77" fmla="*/ 11779 h 507"/>
              <a:gd name="T78" fmla="*/ 189163 w 342"/>
              <a:gd name="T79" fmla="*/ 0 h 507"/>
              <a:gd name="T80" fmla="*/ 169779 w 342"/>
              <a:gd name="T81" fmla="*/ 11779 h 507"/>
              <a:gd name="T82" fmla="*/ 150395 w 342"/>
              <a:gd name="T83" fmla="*/ 5580 h 507"/>
              <a:gd name="T84" fmla="*/ 117642 w 342"/>
              <a:gd name="T85" fmla="*/ 11779 h 507"/>
              <a:gd name="T86" fmla="*/ 91574 w 342"/>
              <a:gd name="T87" fmla="*/ 5580 h 507"/>
              <a:gd name="T88" fmla="*/ 78205 w 342"/>
              <a:gd name="T89" fmla="*/ 11779 h 507"/>
              <a:gd name="T90" fmla="*/ 65505 w 342"/>
              <a:gd name="T91" fmla="*/ 17979 h 507"/>
              <a:gd name="T92" fmla="*/ 39437 w 342"/>
              <a:gd name="T93" fmla="*/ 24179 h 507"/>
              <a:gd name="T94" fmla="*/ 20053 w 342"/>
              <a:gd name="T95" fmla="*/ 24179 h 507"/>
              <a:gd name="T96" fmla="*/ 6684 w 342"/>
              <a:gd name="T97" fmla="*/ 35958 h 507"/>
              <a:gd name="T98" fmla="*/ 13368 w 342"/>
              <a:gd name="T99" fmla="*/ 48358 h 507"/>
              <a:gd name="T100" fmla="*/ 13368 w 342"/>
              <a:gd name="T101" fmla="*/ 60137 h 507"/>
              <a:gd name="T102" fmla="*/ 6684 w 342"/>
              <a:gd name="T103" fmla="*/ 66337 h 507"/>
              <a:gd name="T104" fmla="*/ 13368 w 342"/>
              <a:gd name="T105" fmla="*/ 84316 h 507"/>
              <a:gd name="T106" fmla="*/ 6684 w 342"/>
              <a:gd name="T107" fmla="*/ 96715 h 507"/>
              <a:gd name="T108" fmla="*/ 13368 w 342"/>
              <a:gd name="T109" fmla="*/ 108495 h 507"/>
              <a:gd name="T110" fmla="*/ 6684 w 342"/>
              <a:gd name="T111" fmla="*/ 114695 h 507"/>
              <a:gd name="T112" fmla="*/ 0 w 342"/>
              <a:gd name="T113" fmla="*/ 126474 h 507"/>
              <a:gd name="T114" fmla="*/ 13368 w 342"/>
              <a:gd name="T115" fmla="*/ 145073 h 507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342"/>
              <a:gd name="T175" fmla="*/ 0 h 507"/>
              <a:gd name="T176" fmla="*/ 342 w 342"/>
              <a:gd name="T177" fmla="*/ 507 h 507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342" h="507">
                <a:moveTo>
                  <a:pt x="20" y="234"/>
                </a:moveTo>
                <a:lnTo>
                  <a:pt x="20" y="253"/>
                </a:lnTo>
                <a:lnTo>
                  <a:pt x="39" y="253"/>
                </a:lnTo>
                <a:lnTo>
                  <a:pt x="49" y="263"/>
                </a:lnTo>
                <a:lnTo>
                  <a:pt x="59" y="283"/>
                </a:lnTo>
                <a:lnTo>
                  <a:pt x="69" y="283"/>
                </a:lnTo>
                <a:lnTo>
                  <a:pt x="69" y="302"/>
                </a:lnTo>
                <a:lnTo>
                  <a:pt x="88" y="322"/>
                </a:lnTo>
                <a:lnTo>
                  <a:pt x="98" y="341"/>
                </a:lnTo>
                <a:lnTo>
                  <a:pt x="117" y="341"/>
                </a:lnTo>
                <a:lnTo>
                  <a:pt x="117" y="351"/>
                </a:lnTo>
                <a:lnTo>
                  <a:pt x="117" y="361"/>
                </a:lnTo>
                <a:lnTo>
                  <a:pt x="108" y="370"/>
                </a:lnTo>
                <a:lnTo>
                  <a:pt x="98" y="370"/>
                </a:lnTo>
                <a:lnTo>
                  <a:pt x="88" y="380"/>
                </a:lnTo>
                <a:lnTo>
                  <a:pt x="98" y="390"/>
                </a:lnTo>
                <a:lnTo>
                  <a:pt x="108" y="400"/>
                </a:lnTo>
                <a:lnTo>
                  <a:pt x="98" y="419"/>
                </a:lnTo>
                <a:lnTo>
                  <a:pt x="98" y="439"/>
                </a:lnTo>
                <a:lnTo>
                  <a:pt x="108" y="448"/>
                </a:lnTo>
                <a:lnTo>
                  <a:pt x="117" y="468"/>
                </a:lnTo>
                <a:lnTo>
                  <a:pt x="137" y="487"/>
                </a:lnTo>
                <a:lnTo>
                  <a:pt x="147" y="478"/>
                </a:lnTo>
                <a:lnTo>
                  <a:pt x="166" y="478"/>
                </a:lnTo>
                <a:lnTo>
                  <a:pt x="186" y="487"/>
                </a:lnTo>
                <a:lnTo>
                  <a:pt x="195" y="507"/>
                </a:lnTo>
                <a:lnTo>
                  <a:pt x="205" y="507"/>
                </a:lnTo>
                <a:lnTo>
                  <a:pt x="215" y="507"/>
                </a:lnTo>
                <a:lnTo>
                  <a:pt x="225" y="487"/>
                </a:lnTo>
                <a:lnTo>
                  <a:pt x="234" y="478"/>
                </a:lnTo>
                <a:lnTo>
                  <a:pt x="244" y="468"/>
                </a:lnTo>
                <a:lnTo>
                  <a:pt x="264" y="458"/>
                </a:lnTo>
                <a:lnTo>
                  <a:pt x="264" y="448"/>
                </a:lnTo>
                <a:lnTo>
                  <a:pt x="244" y="439"/>
                </a:lnTo>
                <a:lnTo>
                  <a:pt x="244" y="429"/>
                </a:lnTo>
                <a:lnTo>
                  <a:pt x="234" y="419"/>
                </a:lnTo>
                <a:lnTo>
                  <a:pt x="244" y="419"/>
                </a:lnTo>
                <a:lnTo>
                  <a:pt x="254" y="419"/>
                </a:lnTo>
                <a:lnTo>
                  <a:pt x="254" y="409"/>
                </a:lnTo>
                <a:lnTo>
                  <a:pt x="254" y="390"/>
                </a:lnTo>
                <a:lnTo>
                  <a:pt x="254" y="380"/>
                </a:lnTo>
                <a:lnTo>
                  <a:pt x="244" y="380"/>
                </a:lnTo>
                <a:lnTo>
                  <a:pt x="244" y="361"/>
                </a:lnTo>
                <a:lnTo>
                  <a:pt x="264" y="351"/>
                </a:lnTo>
                <a:lnTo>
                  <a:pt x="273" y="351"/>
                </a:lnTo>
                <a:lnTo>
                  <a:pt x="283" y="322"/>
                </a:lnTo>
                <a:lnTo>
                  <a:pt x="273" y="322"/>
                </a:lnTo>
                <a:lnTo>
                  <a:pt x="283" y="312"/>
                </a:lnTo>
                <a:lnTo>
                  <a:pt x="283" y="302"/>
                </a:lnTo>
                <a:lnTo>
                  <a:pt x="283" y="292"/>
                </a:lnTo>
                <a:lnTo>
                  <a:pt x="273" y="292"/>
                </a:lnTo>
                <a:lnTo>
                  <a:pt x="273" y="283"/>
                </a:lnTo>
                <a:lnTo>
                  <a:pt x="264" y="263"/>
                </a:lnTo>
                <a:lnTo>
                  <a:pt x="254" y="283"/>
                </a:lnTo>
                <a:lnTo>
                  <a:pt x="244" y="283"/>
                </a:lnTo>
                <a:lnTo>
                  <a:pt x="244" y="273"/>
                </a:lnTo>
                <a:lnTo>
                  <a:pt x="264" y="253"/>
                </a:lnTo>
                <a:lnTo>
                  <a:pt x="264" y="244"/>
                </a:lnTo>
                <a:lnTo>
                  <a:pt x="273" y="224"/>
                </a:lnTo>
                <a:lnTo>
                  <a:pt x="264" y="185"/>
                </a:lnTo>
                <a:lnTo>
                  <a:pt x="264" y="175"/>
                </a:lnTo>
                <a:lnTo>
                  <a:pt x="273" y="175"/>
                </a:lnTo>
                <a:lnTo>
                  <a:pt x="283" y="165"/>
                </a:lnTo>
                <a:lnTo>
                  <a:pt x="293" y="156"/>
                </a:lnTo>
                <a:lnTo>
                  <a:pt x="313" y="136"/>
                </a:lnTo>
                <a:lnTo>
                  <a:pt x="322" y="126"/>
                </a:lnTo>
                <a:lnTo>
                  <a:pt x="342" y="126"/>
                </a:lnTo>
                <a:lnTo>
                  <a:pt x="342" y="117"/>
                </a:lnTo>
                <a:lnTo>
                  <a:pt x="342" y="107"/>
                </a:lnTo>
                <a:lnTo>
                  <a:pt x="342" y="97"/>
                </a:lnTo>
                <a:lnTo>
                  <a:pt x="342" y="87"/>
                </a:lnTo>
                <a:lnTo>
                  <a:pt x="332" y="78"/>
                </a:lnTo>
                <a:lnTo>
                  <a:pt x="313" y="68"/>
                </a:lnTo>
                <a:lnTo>
                  <a:pt x="303" y="58"/>
                </a:lnTo>
                <a:lnTo>
                  <a:pt x="303" y="39"/>
                </a:lnTo>
                <a:lnTo>
                  <a:pt x="303" y="29"/>
                </a:lnTo>
                <a:lnTo>
                  <a:pt x="303" y="19"/>
                </a:lnTo>
                <a:lnTo>
                  <a:pt x="293" y="9"/>
                </a:lnTo>
                <a:lnTo>
                  <a:pt x="283" y="0"/>
                </a:lnTo>
                <a:lnTo>
                  <a:pt x="273" y="9"/>
                </a:lnTo>
                <a:lnTo>
                  <a:pt x="254" y="19"/>
                </a:lnTo>
                <a:lnTo>
                  <a:pt x="234" y="19"/>
                </a:lnTo>
                <a:lnTo>
                  <a:pt x="225" y="9"/>
                </a:lnTo>
                <a:lnTo>
                  <a:pt x="205" y="19"/>
                </a:lnTo>
                <a:lnTo>
                  <a:pt x="176" y="19"/>
                </a:lnTo>
                <a:lnTo>
                  <a:pt x="156" y="9"/>
                </a:lnTo>
                <a:lnTo>
                  <a:pt x="137" y="9"/>
                </a:lnTo>
                <a:lnTo>
                  <a:pt x="127" y="19"/>
                </a:lnTo>
                <a:lnTo>
                  <a:pt x="117" y="19"/>
                </a:lnTo>
                <a:lnTo>
                  <a:pt x="98" y="19"/>
                </a:lnTo>
                <a:lnTo>
                  <a:pt x="98" y="29"/>
                </a:lnTo>
                <a:lnTo>
                  <a:pt x="88" y="39"/>
                </a:lnTo>
                <a:lnTo>
                  <a:pt x="59" y="39"/>
                </a:lnTo>
                <a:lnTo>
                  <a:pt x="39" y="39"/>
                </a:lnTo>
                <a:lnTo>
                  <a:pt x="30" y="39"/>
                </a:lnTo>
                <a:lnTo>
                  <a:pt x="10" y="39"/>
                </a:lnTo>
                <a:lnTo>
                  <a:pt x="10" y="58"/>
                </a:lnTo>
                <a:lnTo>
                  <a:pt x="10" y="68"/>
                </a:lnTo>
                <a:lnTo>
                  <a:pt x="20" y="78"/>
                </a:lnTo>
                <a:lnTo>
                  <a:pt x="30" y="87"/>
                </a:lnTo>
                <a:lnTo>
                  <a:pt x="20" y="97"/>
                </a:lnTo>
                <a:lnTo>
                  <a:pt x="10" y="97"/>
                </a:lnTo>
                <a:lnTo>
                  <a:pt x="10" y="107"/>
                </a:lnTo>
                <a:lnTo>
                  <a:pt x="30" y="117"/>
                </a:lnTo>
                <a:lnTo>
                  <a:pt x="20" y="136"/>
                </a:lnTo>
                <a:lnTo>
                  <a:pt x="20" y="146"/>
                </a:lnTo>
                <a:lnTo>
                  <a:pt x="10" y="156"/>
                </a:lnTo>
                <a:lnTo>
                  <a:pt x="10" y="165"/>
                </a:lnTo>
                <a:lnTo>
                  <a:pt x="20" y="175"/>
                </a:lnTo>
                <a:lnTo>
                  <a:pt x="20" y="185"/>
                </a:lnTo>
                <a:lnTo>
                  <a:pt x="10" y="185"/>
                </a:lnTo>
                <a:lnTo>
                  <a:pt x="10" y="195"/>
                </a:lnTo>
                <a:lnTo>
                  <a:pt x="0" y="204"/>
                </a:lnTo>
                <a:lnTo>
                  <a:pt x="10" y="224"/>
                </a:lnTo>
                <a:lnTo>
                  <a:pt x="20" y="234"/>
                </a:lnTo>
                <a:close/>
              </a:path>
            </a:pathLst>
          </a:custGeom>
          <a:solidFill>
            <a:srgbClr val="C0C0C0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510" name="Freeform 316"/>
          <p:cNvSpPr>
            <a:spLocks noChangeAspect="1"/>
          </p:cNvSpPr>
          <p:nvPr>
            <p:custDataLst>
              <p:tags r:id="rId76"/>
            </p:custDataLst>
          </p:nvPr>
        </p:nvSpPr>
        <p:spPr bwMode="auto">
          <a:xfrm>
            <a:off x="4664075" y="5210175"/>
            <a:ext cx="534988" cy="284163"/>
          </a:xfrm>
          <a:custGeom>
            <a:avLst/>
            <a:gdLst>
              <a:gd name="T0" fmla="*/ 13375 w 800"/>
              <a:gd name="T1" fmla="*/ 133104 h 459"/>
              <a:gd name="T2" fmla="*/ 20062 w 800"/>
              <a:gd name="T3" fmla="*/ 163440 h 459"/>
              <a:gd name="T4" fmla="*/ 46143 w 800"/>
              <a:gd name="T5" fmla="*/ 205538 h 459"/>
              <a:gd name="T6" fmla="*/ 26081 w 800"/>
              <a:gd name="T7" fmla="*/ 199347 h 459"/>
              <a:gd name="T8" fmla="*/ 13375 w 800"/>
              <a:gd name="T9" fmla="*/ 211729 h 459"/>
              <a:gd name="T10" fmla="*/ 26081 w 800"/>
              <a:gd name="T11" fmla="*/ 223491 h 459"/>
              <a:gd name="T12" fmla="*/ 32768 w 800"/>
              <a:gd name="T13" fmla="*/ 235873 h 459"/>
              <a:gd name="T14" fmla="*/ 65536 w 800"/>
              <a:gd name="T15" fmla="*/ 229682 h 459"/>
              <a:gd name="T16" fmla="*/ 98304 w 800"/>
              <a:gd name="T17" fmla="*/ 217919 h 459"/>
              <a:gd name="T18" fmla="*/ 117697 w 800"/>
              <a:gd name="T19" fmla="*/ 217919 h 459"/>
              <a:gd name="T20" fmla="*/ 143778 w 800"/>
              <a:gd name="T21" fmla="*/ 199347 h 459"/>
              <a:gd name="T22" fmla="*/ 176546 w 800"/>
              <a:gd name="T23" fmla="*/ 199347 h 459"/>
              <a:gd name="T24" fmla="*/ 195939 w 800"/>
              <a:gd name="T25" fmla="*/ 199347 h 459"/>
              <a:gd name="T26" fmla="*/ 209314 w 800"/>
              <a:gd name="T27" fmla="*/ 205538 h 459"/>
              <a:gd name="T28" fmla="*/ 215333 w 800"/>
              <a:gd name="T29" fmla="*/ 211729 h 459"/>
              <a:gd name="T30" fmla="*/ 254788 w 800"/>
              <a:gd name="T31" fmla="*/ 217919 h 459"/>
              <a:gd name="T32" fmla="*/ 287556 w 800"/>
              <a:gd name="T33" fmla="*/ 223491 h 459"/>
              <a:gd name="T34" fmla="*/ 313637 w 800"/>
              <a:gd name="T35" fmla="*/ 260018 h 459"/>
              <a:gd name="T36" fmla="*/ 345736 w 800"/>
              <a:gd name="T37" fmla="*/ 271780 h 459"/>
              <a:gd name="T38" fmla="*/ 371817 w 800"/>
              <a:gd name="T39" fmla="*/ 266208 h 459"/>
              <a:gd name="T40" fmla="*/ 391879 w 800"/>
              <a:gd name="T41" fmla="*/ 277971 h 459"/>
              <a:gd name="T42" fmla="*/ 417959 w 800"/>
              <a:gd name="T43" fmla="*/ 271780 h 459"/>
              <a:gd name="T44" fmla="*/ 444040 w 800"/>
              <a:gd name="T45" fmla="*/ 284162 h 459"/>
              <a:gd name="T46" fmla="*/ 476808 w 800"/>
              <a:gd name="T47" fmla="*/ 271780 h 459"/>
              <a:gd name="T48" fmla="*/ 496201 w 800"/>
              <a:gd name="T49" fmla="*/ 247636 h 459"/>
              <a:gd name="T50" fmla="*/ 489514 w 800"/>
              <a:gd name="T51" fmla="*/ 223491 h 459"/>
              <a:gd name="T52" fmla="*/ 476808 w 800"/>
              <a:gd name="T53" fmla="*/ 193775 h 459"/>
              <a:gd name="T54" fmla="*/ 476808 w 800"/>
              <a:gd name="T55" fmla="*/ 163440 h 459"/>
              <a:gd name="T56" fmla="*/ 502889 w 800"/>
              <a:gd name="T57" fmla="*/ 145486 h 459"/>
              <a:gd name="T58" fmla="*/ 528969 w 800"/>
              <a:gd name="T59" fmla="*/ 115151 h 459"/>
              <a:gd name="T60" fmla="*/ 528969 w 800"/>
              <a:gd name="T61" fmla="*/ 84815 h 459"/>
              <a:gd name="T62" fmla="*/ 515595 w 800"/>
              <a:gd name="T63" fmla="*/ 60671 h 459"/>
              <a:gd name="T64" fmla="*/ 528969 w 800"/>
              <a:gd name="T65" fmla="*/ 48289 h 459"/>
              <a:gd name="T66" fmla="*/ 502889 w 800"/>
              <a:gd name="T67" fmla="*/ 48289 h 459"/>
              <a:gd name="T68" fmla="*/ 482827 w 800"/>
              <a:gd name="T69" fmla="*/ 42717 h 459"/>
              <a:gd name="T70" fmla="*/ 450727 w 800"/>
              <a:gd name="T71" fmla="*/ 18573 h 459"/>
              <a:gd name="T72" fmla="*/ 423978 w 800"/>
              <a:gd name="T73" fmla="*/ 6191 h 459"/>
              <a:gd name="T74" fmla="*/ 404585 w 800"/>
              <a:gd name="T75" fmla="*/ 18573 h 459"/>
              <a:gd name="T76" fmla="*/ 378504 w 800"/>
              <a:gd name="T77" fmla="*/ 24144 h 459"/>
              <a:gd name="T78" fmla="*/ 345736 w 800"/>
              <a:gd name="T79" fmla="*/ 24144 h 459"/>
              <a:gd name="T80" fmla="*/ 319655 w 800"/>
              <a:gd name="T81" fmla="*/ 24144 h 459"/>
              <a:gd name="T82" fmla="*/ 306949 w 800"/>
              <a:gd name="T83" fmla="*/ 54480 h 459"/>
              <a:gd name="T84" fmla="*/ 267494 w 800"/>
              <a:gd name="T85" fmla="*/ 78624 h 459"/>
              <a:gd name="T86" fmla="*/ 241413 w 800"/>
              <a:gd name="T87" fmla="*/ 102769 h 459"/>
              <a:gd name="T88" fmla="*/ 202627 w 800"/>
              <a:gd name="T89" fmla="*/ 121342 h 459"/>
              <a:gd name="T90" fmla="*/ 157153 w 800"/>
              <a:gd name="T91" fmla="*/ 115151 h 459"/>
              <a:gd name="T92" fmla="*/ 111010 w 800"/>
              <a:gd name="T93" fmla="*/ 102769 h 459"/>
              <a:gd name="T94" fmla="*/ 84929 w 800"/>
              <a:gd name="T95" fmla="*/ 84815 h 459"/>
              <a:gd name="T96" fmla="*/ 72223 w 800"/>
              <a:gd name="T97" fmla="*/ 102769 h 459"/>
              <a:gd name="T98" fmla="*/ 32768 w 800"/>
              <a:gd name="T99" fmla="*/ 108960 h 459"/>
              <a:gd name="T100" fmla="*/ 6687 w 800"/>
              <a:gd name="T101" fmla="*/ 102769 h 459"/>
              <a:gd name="T102" fmla="*/ 6687 w 800"/>
              <a:gd name="T103" fmla="*/ 121342 h 459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800"/>
              <a:gd name="T157" fmla="*/ 0 h 459"/>
              <a:gd name="T158" fmla="*/ 800 w 800"/>
              <a:gd name="T159" fmla="*/ 459 h 459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800" h="459">
                <a:moveTo>
                  <a:pt x="10" y="196"/>
                </a:moveTo>
                <a:lnTo>
                  <a:pt x="10" y="205"/>
                </a:lnTo>
                <a:lnTo>
                  <a:pt x="20" y="215"/>
                </a:lnTo>
                <a:lnTo>
                  <a:pt x="10" y="235"/>
                </a:lnTo>
                <a:lnTo>
                  <a:pt x="10" y="254"/>
                </a:lnTo>
                <a:lnTo>
                  <a:pt x="30" y="264"/>
                </a:lnTo>
                <a:lnTo>
                  <a:pt x="49" y="283"/>
                </a:lnTo>
                <a:lnTo>
                  <a:pt x="69" y="313"/>
                </a:lnTo>
                <a:lnTo>
                  <a:pt x="69" y="332"/>
                </a:lnTo>
                <a:lnTo>
                  <a:pt x="59" y="332"/>
                </a:lnTo>
                <a:lnTo>
                  <a:pt x="49" y="322"/>
                </a:lnTo>
                <a:lnTo>
                  <a:pt x="39" y="322"/>
                </a:lnTo>
                <a:lnTo>
                  <a:pt x="39" y="332"/>
                </a:lnTo>
                <a:lnTo>
                  <a:pt x="20" y="342"/>
                </a:lnTo>
                <a:lnTo>
                  <a:pt x="20" y="361"/>
                </a:lnTo>
                <a:lnTo>
                  <a:pt x="39" y="361"/>
                </a:lnTo>
                <a:lnTo>
                  <a:pt x="39" y="371"/>
                </a:lnTo>
                <a:lnTo>
                  <a:pt x="39" y="381"/>
                </a:lnTo>
                <a:lnTo>
                  <a:pt x="49" y="381"/>
                </a:lnTo>
                <a:lnTo>
                  <a:pt x="69" y="381"/>
                </a:lnTo>
                <a:lnTo>
                  <a:pt x="88" y="381"/>
                </a:lnTo>
                <a:lnTo>
                  <a:pt x="98" y="371"/>
                </a:lnTo>
                <a:lnTo>
                  <a:pt x="118" y="361"/>
                </a:lnTo>
                <a:lnTo>
                  <a:pt x="127" y="361"/>
                </a:lnTo>
                <a:lnTo>
                  <a:pt x="147" y="352"/>
                </a:lnTo>
                <a:lnTo>
                  <a:pt x="157" y="342"/>
                </a:lnTo>
                <a:lnTo>
                  <a:pt x="166" y="342"/>
                </a:lnTo>
                <a:lnTo>
                  <a:pt x="176" y="352"/>
                </a:lnTo>
                <a:lnTo>
                  <a:pt x="196" y="342"/>
                </a:lnTo>
                <a:lnTo>
                  <a:pt x="205" y="332"/>
                </a:lnTo>
                <a:lnTo>
                  <a:pt x="215" y="322"/>
                </a:lnTo>
                <a:lnTo>
                  <a:pt x="235" y="322"/>
                </a:lnTo>
                <a:lnTo>
                  <a:pt x="254" y="322"/>
                </a:lnTo>
                <a:lnTo>
                  <a:pt x="264" y="322"/>
                </a:lnTo>
                <a:lnTo>
                  <a:pt x="274" y="313"/>
                </a:lnTo>
                <a:lnTo>
                  <a:pt x="283" y="313"/>
                </a:lnTo>
                <a:lnTo>
                  <a:pt x="293" y="322"/>
                </a:lnTo>
                <a:lnTo>
                  <a:pt x="313" y="313"/>
                </a:lnTo>
                <a:lnTo>
                  <a:pt x="313" y="322"/>
                </a:lnTo>
                <a:lnTo>
                  <a:pt x="313" y="332"/>
                </a:lnTo>
                <a:lnTo>
                  <a:pt x="303" y="342"/>
                </a:lnTo>
                <a:lnTo>
                  <a:pt x="313" y="342"/>
                </a:lnTo>
                <a:lnTo>
                  <a:pt x="322" y="342"/>
                </a:lnTo>
                <a:lnTo>
                  <a:pt x="332" y="352"/>
                </a:lnTo>
                <a:lnTo>
                  <a:pt x="361" y="352"/>
                </a:lnTo>
                <a:lnTo>
                  <a:pt x="381" y="352"/>
                </a:lnTo>
                <a:lnTo>
                  <a:pt x="400" y="361"/>
                </a:lnTo>
                <a:lnTo>
                  <a:pt x="420" y="361"/>
                </a:lnTo>
                <a:lnTo>
                  <a:pt x="430" y="361"/>
                </a:lnTo>
                <a:lnTo>
                  <a:pt x="430" y="381"/>
                </a:lnTo>
                <a:lnTo>
                  <a:pt x="449" y="410"/>
                </a:lnTo>
                <a:lnTo>
                  <a:pt x="469" y="420"/>
                </a:lnTo>
                <a:lnTo>
                  <a:pt x="478" y="420"/>
                </a:lnTo>
                <a:lnTo>
                  <a:pt x="498" y="430"/>
                </a:lnTo>
                <a:lnTo>
                  <a:pt x="517" y="439"/>
                </a:lnTo>
                <a:lnTo>
                  <a:pt x="537" y="430"/>
                </a:lnTo>
                <a:lnTo>
                  <a:pt x="537" y="420"/>
                </a:lnTo>
                <a:lnTo>
                  <a:pt x="556" y="430"/>
                </a:lnTo>
                <a:lnTo>
                  <a:pt x="566" y="430"/>
                </a:lnTo>
                <a:lnTo>
                  <a:pt x="576" y="439"/>
                </a:lnTo>
                <a:lnTo>
                  <a:pt x="586" y="449"/>
                </a:lnTo>
                <a:lnTo>
                  <a:pt x="595" y="439"/>
                </a:lnTo>
                <a:lnTo>
                  <a:pt x="605" y="439"/>
                </a:lnTo>
                <a:lnTo>
                  <a:pt x="625" y="439"/>
                </a:lnTo>
                <a:lnTo>
                  <a:pt x="644" y="449"/>
                </a:lnTo>
                <a:lnTo>
                  <a:pt x="644" y="459"/>
                </a:lnTo>
                <a:lnTo>
                  <a:pt x="664" y="459"/>
                </a:lnTo>
                <a:lnTo>
                  <a:pt x="674" y="459"/>
                </a:lnTo>
                <a:lnTo>
                  <a:pt x="693" y="439"/>
                </a:lnTo>
                <a:lnTo>
                  <a:pt x="713" y="439"/>
                </a:lnTo>
                <a:lnTo>
                  <a:pt x="732" y="420"/>
                </a:lnTo>
                <a:lnTo>
                  <a:pt x="752" y="410"/>
                </a:lnTo>
                <a:lnTo>
                  <a:pt x="742" y="400"/>
                </a:lnTo>
                <a:lnTo>
                  <a:pt x="732" y="391"/>
                </a:lnTo>
                <a:lnTo>
                  <a:pt x="732" y="381"/>
                </a:lnTo>
                <a:lnTo>
                  <a:pt x="732" y="361"/>
                </a:lnTo>
                <a:lnTo>
                  <a:pt x="722" y="352"/>
                </a:lnTo>
                <a:lnTo>
                  <a:pt x="722" y="332"/>
                </a:lnTo>
                <a:lnTo>
                  <a:pt x="713" y="313"/>
                </a:lnTo>
                <a:lnTo>
                  <a:pt x="713" y="303"/>
                </a:lnTo>
                <a:lnTo>
                  <a:pt x="713" y="293"/>
                </a:lnTo>
                <a:lnTo>
                  <a:pt x="713" y="264"/>
                </a:lnTo>
                <a:lnTo>
                  <a:pt x="732" y="264"/>
                </a:lnTo>
                <a:lnTo>
                  <a:pt x="742" y="244"/>
                </a:lnTo>
                <a:lnTo>
                  <a:pt x="752" y="235"/>
                </a:lnTo>
                <a:lnTo>
                  <a:pt x="781" y="225"/>
                </a:lnTo>
                <a:lnTo>
                  <a:pt x="781" y="205"/>
                </a:lnTo>
                <a:lnTo>
                  <a:pt x="791" y="186"/>
                </a:lnTo>
                <a:lnTo>
                  <a:pt x="771" y="166"/>
                </a:lnTo>
                <a:lnTo>
                  <a:pt x="781" y="156"/>
                </a:lnTo>
                <a:lnTo>
                  <a:pt x="791" y="137"/>
                </a:lnTo>
                <a:lnTo>
                  <a:pt x="781" y="117"/>
                </a:lnTo>
                <a:lnTo>
                  <a:pt x="771" y="108"/>
                </a:lnTo>
                <a:lnTo>
                  <a:pt x="771" y="98"/>
                </a:lnTo>
                <a:lnTo>
                  <a:pt x="791" y="108"/>
                </a:lnTo>
                <a:lnTo>
                  <a:pt x="800" y="98"/>
                </a:lnTo>
                <a:lnTo>
                  <a:pt x="791" y="78"/>
                </a:lnTo>
                <a:lnTo>
                  <a:pt x="771" y="78"/>
                </a:lnTo>
                <a:lnTo>
                  <a:pt x="761" y="78"/>
                </a:lnTo>
                <a:lnTo>
                  <a:pt x="752" y="78"/>
                </a:lnTo>
                <a:lnTo>
                  <a:pt x="732" y="88"/>
                </a:lnTo>
                <a:lnTo>
                  <a:pt x="732" y="69"/>
                </a:lnTo>
                <a:lnTo>
                  <a:pt x="722" y="69"/>
                </a:lnTo>
                <a:lnTo>
                  <a:pt x="693" y="49"/>
                </a:lnTo>
                <a:lnTo>
                  <a:pt x="674" y="39"/>
                </a:lnTo>
                <a:lnTo>
                  <a:pt x="674" y="30"/>
                </a:lnTo>
                <a:lnTo>
                  <a:pt x="664" y="10"/>
                </a:lnTo>
                <a:lnTo>
                  <a:pt x="644" y="0"/>
                </a:lnTo>
                <a:lnTo>
                  <a:pt x="634" y="10"/>
                </a:lnTo>
                <a:lnTo>
                  <a:pt x="625" y="10"/>
                </a:lnTo>
                <a:lnTo>
                  <a:pt x="625" y="20"/>
                </a:lnTo>
                <a:lnTo>
                  <a:pt x="605" y="30"/>
                </a:lnTo>
                <a:lnTo>
                  <a:pt x="586" y="30"/>
                </a:lnTo>
                <a:lnTo>
                  <a:pt x="576" y="39"/>
                </a:lnTo>
                <a:lnTo>
                  <a:pt x="566" y="39"/>
                </a:lnTo>
                <a:lnTo>
                  <a:pt x="556" y="30"/>
                </a:lnTo>
                <a:lnTo>
                  <a:pt x="537" y="30"/>
                </a:lnTo>
                <a:lnTo>
                  <a:pt x="517" y="39"/>
                </a:lnTo>
                <a:lnTo>
                  <a:pt x="508" y="30"/>
                </a:lnTo>
                <a:lnTo>
                  <a:pt x="488" y="39"/>
                </a:lnTo>
                <a:lnTo>
                  <a:pt x="478" y="39"/>
                </a:lnTo>
                <a:lnTo>
                  <a:pt x="478" y="69"/>
                </a:lnTo>
                <a:lnTo>
                  <a:pt x="469" y="78"/>
                </a:lnTo>
                <a:lnTo>
                  <a:pt x="459" y="88"/>
                </a:lnTo>
                <a:lnTo>
                  <a:pt x="439" y="88"/>
                </a:lnTo>
                <a:lnTo>
                  <a:pt x="420" y="108"/>
                </a:lnTo>
                <a:lnTo>
                  <a:pt x="400" y="127"/>
                </a:lnTo>
                <a:lnTo>
                  <a:pt x="400" y="137"/>
                </a:lnTo>
                <a:lnTo>
                  <a:pt x="391" y="156"/>
                </a:lnTo>
                <a:lnTo>
                  <a:pt x="361" y="166"/>
                </a:lnTo>
                <a:lnTo>
                  <a:pt x="332" y="166"/>
                </a:lnTo>
                <a:lnTo>
                  <a:pt x="313" y="186"/>
                </a:lnTo>
                <a:lnTo>
                  <a:pt x="303" y="196"/>
                </a:lnTo>
                <a:lnTo>
                  <a:pt x="274" y="196"/>
                </a:lnTo>
                <a:lnTo>
                  <a:pt x="254" y="186"/>
                </a:lnTo>
                <a:lnTo>
                  <a:pt x="235" y="186"/>
                </a:lnTo>
                <a:lnTo>
                  <a:pt x="215" y="176"/>
                </a:lnTo>
                <a:lnTo>
                  <a:pt x="196" y="166"/>
                </a:lnTo>
                <a:lnTo>
                  <a:pt x="166" y="166"/>
                </a:lnTo>
                <a:lnTo>
                  <a:pt x="157" y="156"/>
                </a:lnTo>
                <a:lnTo>
                  <a:pt x="147" y="137"/>
                </a:lnTo>
                <a:lnTo>
                  <a:pt x="127" y="137"/>
                </a:lnTo>
                <a:lnTo>
                  <a:pt x="108" y="137"/>
                </a:lnTo>
                <a:lnTo>
                  <a:pt x="108" y="166"/>
                </a:lnTo>
                <a:lnTo>
                  <a:pt x="88" y="176"/>
                </a:lnTo>
                <a:lnTo>
                  <a:pt x="78" y="186"/>
                </a:lnTo>
                <a:lnTo>
                  <a:pt x="49" y="176"/>
                </a:lnTo>
                <a:lnTo>
                  <a:pt x="39" y="176"/>
                </a:lnTo>
                <a:lnTo>
                  <a:pt x="39" y="166"/>
                </a:lnTo>
                <a:lnTo>
                  <a:pt x="10" y="166"/>
                </a:lnTo>
                <a:lnTo>
                  <a:pt x="0" y="176"/>
                </a:lnTo>
                <a:lnTo>
                  <a:pt x="10" y="186"/>
                </a:lnTo>
                <a:lnTo>
                  <a:pt x="10" y="196"/>
                </a:lnTo>
                <a:close/>
              </a:path>
            </a:pathLst>
          </a:custGeom>
          <a:solidFill>
            <a:srgbClr val="C0C0C0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511" name="Freeform 315"/>
          <p:cNvSpPr>
            <a:spLocks noChangeAspect="1"/>
          </p:cNvSpPr>
          <p:nvPr>
            <p:custDataLst>
              <p:tags r:id="rId77"/>
            </p:custDataLst>
          </p:nvPr>
        </p:nvSpPr>
        <p:spPr bwMode="auto">
          <a:xfrm>
            <a:off x="4625975" y="4130675"/>
            <a:ext cx="717550" cy="1200150"/>
          </a:xfrm>
          <a:custGeom>
            <a:avLst/>
            <a:gdLst>
              <a:gd name="T0" fmla="*/ 286886 w 1073"/>
              <a:gd name="T1" fmla="*/ 157162 h 1932"/>
              <a:gd name="T2" fmla="*/ 234725 w 1073"/>
              <a:gd name="T3" fmla="*/ 278296 h 1932"/>
              <a:gd name="T4" fmla="*/ 286886 w 1073"/>
              <a:gd name="T5" fmla="*/ 296932 h 1932"/>
              <a:gd name="T6" fmla="*/ 332360 w 1073"/>
              <a:gd name="T7" fmla="*/ 339173 h 1932"/>
              <a:gd name="T8" fmla="*/ 312967 w 1073"/>
              <a:gd name="T9" fmla="*/ 418065 h 1932"/>
              <a:gd name="T10" fmla="*/ 248100 w 1073"/>
              <a:gd name="T11" fmla="*/ 521183 h 1932"/>
              <a:gd name="T12" fmla="*/ 306279 w 1073"/>
              <a:gd name="T13" fmla="*/ 563424 h 1932"/>
              <a:gd name="T14" fmla="*/ 339047 w 1073"/>
              <a:gd name="T15" fmla="*/ 539198 h 1932"/>
              <a:gd name="T16" fmla="*/ 397896 w 1073"/>
              <a:gd name="T17" fmla="*/ 557213 h 1932"/>
              <a:gd name="T18" fmla="*/ 417289 w 1073"/>
              <a:gd name="T19" fmla="*/ 654119 h 1932"/>
              <a:gd name="T20" fmla="*/ 489512 w 1073"/>
              <a:gd name="T21" fmla="*/ 666543 h 1932"/>
              <a:gd name="T22" fmla="*/ 587147 w 1073"/>
              <a:gd name="T23" fmla="*/ 648528 h 1932"/>
              <a:gd name="T24" fmla="*/ 691469 w 1073"/>
              <a:gd name="T25" fmla="*/ 666543 h 1932"/>
              <a:gd name="T26" fmla="*/ 691469 w 1073"/>
              <a:gd name="T27" fmla="*/ 745435 h 1932"/>
              <a:gd name="T28" fmla="*/ 645995 w 1073"/>
              <a:gd name="T29" fmla="*/ 787676 h 1932"/>
              <a:gd name="T30" fmla="*/ 625934 w 1073"/>
              <a:gd name="T31" fmla="*/ 793888 h 1932"/>
              <a:gd name="T32" fmla="*/ 580460 w 1073"/>
              <a:gd name="T33" fmla="*/ 805691 h 1932"/>
              <a:gd name="T34" fmla="*/ 508905 w 1073"/>
              <a:gd name="T35" fmla="*/ 860356 h 1932"/>
              <a:gd name="T36" fmla="*/ 502218 w 1073"/>
              <a:gd name="T37" fmla="*/ 902597 h 1932"/>
              <a:gd name="T38" fmla="*/ 462763 w 1073"/>
              <a:gd name="T39" fmla="*/ 963475 h 1932"/>
              <a:gd name="T40" fmla="*/ 456744 w 1073"/>
              <a:gd name="T41" fmla="*/ 1018140 h 1932"/>
              <a:gd name="T42" fmla="*/ 410602 w 1073"/>
              <a:gd name="T43" fmla="*/ 1029942 h 1932"/>
              <a:gd name="T44" fmla="*/ 423976 w 1073"/>
              <a:gd name="T45" fmla="*/ 1102622 h 1932"/>
              <a:gd name="T46" fmla="*/ 365128 w 1073"/>
              <a:gd name="T47" fmla="*/ 1102622 h 1932"/>
              <a:gd name="T48" fmla="*/ 306279 w 1073"/>
              <a:gd name="T49" fmla="*/ 1163499 h 1932"/>
              <a:gd name="T50" fmla="*/ 208645 w 1073"/>
              <a:gd name="T51" fmla="*/ 1193938 h 1932"/>
              <a:gd name="T52" fmla="*/ 137090 w 1073"/>
              <a:gd name="T53" fmla="*/ 1157288 h 1932"/>
              <a:gd name="T54" fmla="*/ 189251 w 1073"/>
              <a:gd name="T55" fmla="*/ 1121258 h 1932"/>
              <a:gd name="T56" fmla="*/ 208645 w 1073"/>
              <a:gd name="T57" fmla="*/ 1066593 h 1932"/>
              <a:gd name="T58" fmla="*/ 208645 w 1073"/>
              <a:gd name="T59" fmla="*/ 1000125 h 1932"/>
              <a:gd name="T60" fmla="*/ 189251 w 1073"/>
              <a:gd name="T61" fmla="*/ 969686 h 1932"/>
              <a:gd name="T62" fmla="*/ 149796 w 1073"/>
              <a:gd name="T63" fmla="*/ 945460 h 1932"/>
              <a:gd name="T64" fmla="*/ 111010 w 1073"/>
              <a:gd name="T65" fmla="*/ 951051 h 1932"/>
              <a:gd name="T66" fmla="*/ 137090 w 1073"/>
              <a:gd name="T67" fmla="*/ 902597 h 1932"/>
              <a:gd name="T68" fmla="*/ 111010 w 1073"/>
              <a:gd name="T69" fmla="*/ 860356 h 1932"/>
              <a:gd name="T70" fmla="*/ 111010 w 1073"/>
              <a:gd name="T71" fmla="*/ 800100 h 1932"/>
              <a:gd name="T72" fmla="*/ 143777 w 1073"/>
              <a:gd name="T73" fmla="*/ 775873 h 1932"/>
              <a:gd name="T74" fmla="*/ 104322 w 1073"/>
              <a:gd name="T75" fmla="*/ 721208 h 1932"/>
              <a:gd name="T76" fmla="*/ 137090 w 1073"/>
              <a:gd name="T77" fmla="*/ 654119 h 1932"/>
              <a:gd name="T78" fmla="*/ 90948 w 1073"/>
              <a:gd name="T79" fmla="*/ 605666 h 1932"/>
              <a:gd name="T80" fmla="*/ 0 w 1073"/>
              <a:gd name="T81" fmla="*/ 581439 h 1932"/>
              <a:gd name="T82" fmla="*/ 6687 w 1073"/>
              <a:gd name="T83" fmla="*/ 521183 h 1932"/>
              <a:gd name="T84" fmla="*/ 64867 w 1073"/>
              <a:gd name="T85" fmla="*/ 472730 h 1932"/>
              <a:gd name="T86" fmla="*/ 78242 w 1073"/>
              <a:gd name="T87" fmla="*/ 387626 h 1932"/>
              <a:gd name="T88" fmla="*/ 90948 w 1073"/>
              <a:gd name="T89" fmla="*/ 345385 h 1932"/>
              <a:gd name="T90" fmla="*/ 123716 w 1073"/>
              <a:gd name="T91" fmla="*/ 296932 h 1932"/>
              <a:gd name="T92" fmla="*/ 104322 w 1073"/>
              <a:gd name="T93" fmla="*/ 242266 h 1932"/>
              <a:gd name="T94" fmla="*/ 90948 w 1073"/>
              <a:gd name="T95" fmla="*/ 200025 h 1932"/>
              <a:gd name="T96" fmla="*/ 71554 w 1073"/>
              <a:gd name="T97" fmla="*/ 169586 h 1932"/>
              <a:gd name="T98" fmla="*/ 64867 w 1073"/>
              <a:gd name="T99" fmla="*/ 121133 h 1932"/>
              <a:gd name="T100" fmla="*/ 58848 w 1073"/>
              <a:gd name="T101" fmla="*/ 60256 h 1932"/>
              <a:gd name="T102" fmla="*/ 84929 w 1073"/>
              <a:gd name="T103" fmla="*/ 11803 h 1932"/>
              <a:gd name="T104" fmla="*/ 143777 w 1073"/>
              <a:gd name="T105" fmla="*/ 78892 h 1932"/>
              <a:gd name="T106" fmla="*/ 189251 w 1073"/>
              <a:gd name="T107" fmla="*/ 36029 h 1932"/>
              <a:gd name="T108" fmla="*/ 293574 w 1073"/>
              <a:gd name="T109" fmla="*/ 103118 h 1932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073"/>
              <a:gd name="T166" fmla="*/ 0 h 1932"/>
              <a:gd name="T167" fmla="*/ 1073 w 1073"/>
              <a:gd name="T168" fmla="*/ 1932 h 1932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073" h="1932">
                <a:moveTo>
                  <a:pt x="507" y="166"/>
                </a:moveTo>
                <a:lnTo>
                  <a:pt x="497" y="175"/>
                </a:lnTo>
                <a:lnTo>
                  <a:pt x="488" y="195"/>
                </a:lnTo>
                <a:lnTo>
                  <a:pt x="478" y="214"/>
                </a:lnTo>
                <a:lnTo>
                  <a:pt x="458" y="224"/>
                </a:lnTo>
                <a:lnTo>
                  <a:pt x="439" y="244"/>
                </a:lnTo>
                <a:lnTo>
                  <a:pt x="429" y="253"/>
                </a:lnTo>
                <a:lnTo>
                  <a:pt x="400" y="263"/>
                </a:lnTo>
                <a:lnTo>
                  <a:pt x="390" y="273"/>
                </a:lnTo>
                <a:lnTo>
                  <a:pt x="380" y="312"/>
                </a:lnTo>
                <a:lnTo>
                  <a:pt x="351" y="322"/>
                </a:lnTo>
                <a:lnTo>
                  <a:pt x="341" y="361"/>
                </a:lnTo>
                <a:lnTo>
                  <a:pt x="371" y="370"/>
                </a:lnTo>
                <a:lnTo>
                  <a:pt x="351" y="448"/>
                </a:lnTo>
                <a:lnTo>
                  <a:pt x="371" y="458"/>
                </a:lnTo>
                <a:lnTo>
                  <a:pt x="400" y="468"/>
                </a:lnTo>
                <a:lnTo>
                  <a:pt x="410" y="468"/>
                </a:lnTo>
                <a:lnTo>
                  <a:pt x="410" y="478"/>
                </a:lnTo>
                <a:lnTo>
                  <a:pt x="410" y="497"/>
                </a:lnTo>
                <a:lnTo>
                  <a:pt x="419" y="488"/>
                </a:lnTo>
                <a:lnTo>
                  <a:pt x="429" y="478"/>
                </a:lnTo>
                <a:lnTo>
                  <a:pt x="439" y="478"/>
                </a:lnTo>
                <a:lnTo>
                  <a:pt x="439" y="497"/>
                </a:lnTo>
                <a:lnTo>
                  <a:pt x="449" y="507"/>
                </a:lnTo>
                <a:lnTo>
                  <a:pt x="458" y="507"/>
                </a:lnTo>
                <a:lnTo>
                  <a:pt x="478" y="507"/>
                </a:lnTo>
                <a:lnTo>
                  <a:pt x="488" y="527"/>
                </a:lnTo>
                <a:lnTo>
                  <a:pt x="497" y="546"/>
                </a:lnTo>
                <a:lnTo>
                  <a:pt x="497" y="566"/>
                </a:lnTo>
                <a:lnTo>
                  <a:pt x="488" y="585"/>
                </a:lnTo>
                <a:lnTo>
                  <a:pt x="468" y="605"/>
                </a:lnTo>
                <a:lnTo>
                  <a:pt x="468" y="614"/>
                </a:lnTo>
                <a:lnTo>
                  <a:pt x="478" y="614"/>
                </a:lnTo>
                <a:lnTo>
                  <a:pt x="478" y="634"/>
                </a:lnTo>
                <a:lnTo>
                  <a:pt x="468" y="673"/>
                </a:lnTo>
                <a:lnTo>
                  <a:pt x="439" y="683"/>
                </a:lnTo>
                <a:lnTo>
                  <a:pt x="419" y="702"/>
                </a:lnTo>
                <a:lnTo>
                  <a:pt x="410" y="722"/>
                </a:lnTo>
                <a:lnTo>
                  <a:pt x="351" y="741"/>
                </a:lnTo>
                <a:lnTo>
                  <a:pt x="400" y="780"/>
                </a:lnTo>
                <a:lnTo>
                  <a:pt x="390" y="809"/>
                </a:lnTo>
                <a:lnTo>
                  <a:pt x="371" y="839"/>
                </a:lnTo>
                <a:lnTo>
                  <a:pt x="390" y="888"/>
                </a:lnTo>
                <a:lnTo>
                  <a:pt x="410" y="897"/>
                </a:lnTo>
                <a:lnTo>
                  <a:pt x="419" y="917"/>
                </a:lnTo>
                <a:lnTo>
                  <a:pt x="419" y="927"/>
                </a:lnTo>
                <a:lnTo>
                  <a:pt x="439" y="927"/>
                </a:lnTo>
                <a:lnTo>
                  <a:pt x="449" y="917"/>
                </a:lnTo>
                <a:lnTo>
                  <a:pt x="458" y="907"/>
                </a:lnTo>
                <a:lnTo>
                  <a:pt x="478" y="897"/>
                </a:lnTo>
                <a:lnTo>
                  <a:pt x="478" y="907"/>
                </a:lnTo>
                <a:lnTo>
                  <a:pt x="488" y="897"/>
                </a:lnTo>
                <a:lnTo>
                  <a:pt x="488" y="888"/>
                </a:lnTo>
                <a:lnTo>
                  <a:pt x="497" y="888"/>
                </a:lnTo>
                <a:lnTo>
                  <a:pt x="507" y="888"/>
                </a:lnTo>
                <a:lnTo>
                  <a:pt x="507" y="868"/>
                </a:lnTo>
                <a:lnTo>
                  <a:pt x="517" y="858"/>
                </a:lnTo>
                <a:lnTo>
                  <a:pt x="536" y="858"/>
                </a:lnTo>
                <a:lnTo>
                  <a:pt x="527" y="878"/>
                </a:lnTo>
                <a:lnTo>
                  <a:pt x="527" y="888"/>
                </a:lnTo>
                <a:lnTo>
                  <a:pt x="546" y="888"/>
                </a:lnTo>
                <a:lnTo>
                  <a:pt x="575" y="897"/>
                </a:lnTo>
                <a:lnTo>
                  <a:pt x="595" y="897"/>
                </a:lnTo>
                <a:lnTo>
                  <a:pt x="614" y="907"/>
                </a:lnTo>
                <a:lnTo>
                  <a:pt x="634" y="917"/>
                </a:lnTo>
                <a:lnTo>
                  <a:pt x="644" y="936"/>
                </a:lnTo>
                <a:lnTo>
                  <a:pt x="644" y="956"/>
                </a:lnTo>
                <a:lnTo>
                  <a:pt x="634" y="985"/>
                </a:lnTo>
                <a:lnTo>
                  <a:pt x="624" y="995"/>
                </a:lnTo>
                <a:lnTo>
                  <a:pt x="624" y="1053"/>
                </a:lnTo>
                <a:lnTo>
                  <a:pt x="624" y="1063"/>
                </a:lnTo>
                <a:lnTo>
                  <a:pt x="644" y="1053"/>
                </a:lnTo>
                <a:lnTo>
                  <a:pt x="653" y="1073"/>
                </a:lnTo>
                <a:lnTo>
                  <a:pt x="663" y="1063"/>
                </a:lnTo>
                <a:lnTo>
                  <a:pt x="683" y="1063"/>
                </a:lnTo>
                <a:lnTo>
                  <a:pt x="683" y="1073"/>
                </a:lnTo>
                <a:lnTo>
                  <a:pt x="732" y="1073"/>
                </a:lnTo>
                <a:lnTo>
                  <a:pt x="751" y="1063"/>
                </a:lnTo>
                <a:lnTo>
                  <a:pt x="761" y="1053"/>
                </a:lnTo>
                <a:lnTo>
                  <a:pt x="780" y="1053"/>
                </a:lnTo>
                <a:lnTo>
                  <a:pt x="800" y="1053"/>
                </a:lnTo>
                <a:lnTo>
                  <a:pt x="829" y="1053"/>
                </a:lnTo>
                <a:lnTo>
                  <a:pt x="858" y="1053"/>
                </a:lnTo>
                <a:lnTo>
                  <a:pt x="878" y="1044"/>
                </a:lnTo>
                <a:lnTo>
                  <a:pt x="888" y="1024"/>
                </a:lnTo>
                <a:lnTo>
                  <a:pt x="897" y="1024"/>
                </a:lnTo>
                <a:lnTo>
                  <a:pt x="936" y="1053"/>
                </a:lnTo>
                <a:lnTo>
                  <a:pt x="966" y="1053"/>
                </a:lnTo>
                <a:lnTo>
                  <a:pt x="995" y="1053"/>
                </a:lnTo>
                <a:lnTo>
                  <a:pt x="1024" y="1063"/>
                </a:lnTo>
                <a:lnTo>
                  <a:pt x="1034" y="1073"/>
                </a:lnTo>
                <a:lnTo>
                  <a:pt x="1053" y="1063"/>
                </a:lnTo>
                <a:lnTo>
                  <a:pt x="1063" y="1073"/>
                </a:lnTo>
                <a:lnTo>
                  <a:pt x="1063" y="1092"/>
                </a:lnTo>
                <a:lnTo>
                  <a:pt x="1053" y="1112"/>
                </a:lnTo>
                <a:lnTo>
                  <a:pt x="1073" y="1161"/>
                </a:lnTo>
                <a:lnTo>
                  <a:pt x="1063" y="1180"/>
                </a:lnTo>
                <a:lnTo>
                  <a:pt x="1034" y="1200"/>
                </a:lnTo>
                <a:lnTo>
                  <a:pt x="1024" y="1200"/>
                </a:lnTo>
                <a:lnTo>
                  <a:pt x="1005" y="1229"/>
                </a:lnTo>
                <a:lnTo>
                  <a:pt x="995" y="1229"/>
                </a:lnTo>
                <a:lnTo>
                  <a:pt x="985" y="1239"/>
                </a:lnTo>
                <a:lnTo>
                  <a:pt x="985" y="1249"/>
                </a:lnTo>
                <a:lnTo>
                  <a:pt x="985" y="1268"/>
                </a:lnTo>
                <a:lnTo>
                  <a:pt x="966" y="1268"/>
                </a:lnTo>
                <a:lnTo>
                  <a:pt x="975" y="1278"/>
                </a:lnTo>
                <a:lnTo>
                  <a:pt x="975" y="1297"/>
                </a:lnTo>
                <a:lnTo>
                  <a:pt x="985" y="1307"/>
                </a:lnTo>
                <a:lnTo>
                  <a:pt x="985" y="1317"/>
                </a:lnTo>
                <a:lnTo>
                  <a:pt x="975" y="1317"/>
                </a:lnTo>
                <a:lnTo>
                  <a:pt x="936" y="1307"/>
                </a:lnTo>
                <a:lnTo>
                  <a:pt x="936" y="1278"/>
                </a:lnTo>
                <a:lnTo>
                  <a:pt x="927" y="1278"/>
                </a:lnTo>
                <a:lnTo>
                  <a:pt x="927" y="1268"/>
                </a:lnTo>
                <a:lnTo>
                  <a:pt x="917" y="1249"/>
                </a:lnTo>
                <a:lnTo>
                  <a:pt x="897" y="1249"/>
                </a:lnTo>
                <a:lnTo>
                  <a:pt x="897" y="1258"/>
                </a:lnTo>
                <a:lnTo>
                  <a:pt x="878" y="1288"/>
                </a:lnTo>
                <a:lnTo>
                  <a:pt x="868" y="1297"/>
                </a:lnTo>
                <a:lnTo>
                  <a:pt x="839" y="1297"/>
                </a:lnTo>
                <a:lnTo>
                  <a:pt x="829" y="1288"/>
                </a:lnTo>
                <a:lnTo>
                  <a:pt x="790" y="1288"/>
                </a:lnTo>
                <a:lnTo>
                  <a:pt x="780" y="1297"/>
                </a:lnTo>
                <a:lnTo>
                  <a:pt x="771" y="1327"/>
                </a:lnTo>
                <a:lnTo>
                  <a:pt x="751" y="1366"/>
                </a:lnTo>
                <a:lnTo>
                  <a:pt x="761" y="1385"/>
                </a:lnTo>
                <a:lnTo>
                  <a:pt x="771" y="1395"/>
                </a:lnTo>
                <a:lnTo>
                  <a:pt x="771" y="1405"/>
                </a:lnTo>
                <a:lnTo>
                  <a:pt x="780" y="1414"/>
                </a:lnTo>
                <a:lnTo>
                  <a:pt x="771" y="1424"/>
                </a:lnTo>
                <a:lnTo>
                  <a:pt x="761" y="1424"/>
                </a:lnTo>
                <a:lnTo>
                  <a:pt x="751" y="1444"/>
                </a:lnTo>
                <a:lnTo>
                  <a:pt x="751" y="1453"/>
                </a:lnTo>
                <a:lnTo>
                  <a:pt x="751" y="1473"/>
                </a:lnTo>
                <a:lnTo>
                  <a:pt x="722" y="1473"/>
                </a:lnTo>
                <a:lnTo>
                  <a:pt x="712" y="1483"/>
                </a:lnTo>
                <a:lnTo>
                  <a:pt x="712" y="1502"/>
                </a:lnTo>
                <a:lnTo>
                  <a:pt x="692" y="1502"/>
                </a:lnTo>
                <a:lnTo>
                  <a:pt x="692" y="1531"/>
                </a:lnTo>
                <a:lnTo>
                  <a:pt x="692" y="1551"/>
                </a:lnTo>
                <a:lnTo>
                  <a:pt x="702" y="1561"/>
                </a:lnTo>
                <a:lnTo>
                  <a:pt x="702" y="1571"/>
                </a:lnTo>
                <a:lnTo>
                  <a:pt x="692" y="1571"/>
                </a:lnTo>
                <a:lnTo>
                  <a:pt x="692" y="1580"/>
                </a:lnTo>
                <a:lnTo>
                  <a:pt x="692" y="1600"/>
                </a:lnTo>
                <a:lnTo>
                  <a:pt x="692" y="1619"/>
                </a:lnTo>
                <a:lnTo>
                  <a:pt x="683" y="1639"/>
                </a:lnTo>
                <a:lnTo>
                  <a:pt x="673" y="1639"/>
                </a:lnTo>
                <a:lnTo>
                  <a:pt x="644" y="1629"/>
                </a:lnTo>
                <a:lnTo>
                  <a:pt x="634" y="1629"/>
                </a:lnTo>
                <a:lnTo>
                  <a:pt x="634" y="1639"/>
                </a:lnTo>
                <a:lnTo>
                  <a:pt x="634" y="1649"/>
                </a:lnTo>
                <a:lnTo>
                  <a:pt x="634" y="1658"/>
                </a:lnTo>
                <a:lnTo>
                  <a:pt x="614" y="1658"/>
                </a:lnTo>
                <a:lnTo>
                  <a:pt x="614" y="1678"/>
                </a:lnTo>
                <a:lnTo>
                  <a:pt x="653" y="1717"/>
                </a:lnTo>
                <a:lnTo>
                  <a:pt x="683" y="1746"/>
                </a:lnTo>
                <a:lnTo>
                  <a:pt x="683" y="1756"/>
                </a:lnTo>
                <a:lnTo>
                  <a:pt x="663" y="1766"/>
                </a:lnTo>
                <a:lnTo>
                  <a:pt x="644" y="1766"/>
                </a:lnTo>
                <a:lnTo>
                  <a:pt x="634" y="1775"/>
                </a:lnTo>
                <a:lnTo>
                  <a:pt x="624" y="1775"/>
                </a:lnTo>
                <a:lnTo>
                  <a:pt x="614" y="1766"/>
                </a:lnTo>
                <a:lnTo>
                  <a:pt x="595" y="1766"/>
                </a:lnTo>
                <a:lnTo>
                  <a:pt x="585" y="1775"/>
                </a:lnTo>
                <a:lnTo>
                  <a:pt x="566" y="1766"/>
                </a:lnTo>
                <a:lnTo>
                  <a:pt x="546" y="1775"/>
                </a:lnTo>
                <a:lnTo>
                  <a:pt x="536" y="1805"/>
                </a:lnTo>
                <a:lnTo>
                  <a:pt x="527" y="1814"/>
                </a:lnTo>
                <a:lnTo>
                  <a:pt x="517" y="1834"/>
                </a:lnTo>
                <a:lnTo>
                  <a:pt x="497" y="1834"/>
                </a:lnTo>
                <a:lnTo>
                  <a:pt x="488" y="1844"/>
                </a:lnTo>
                <a:lnTo>
                  <a:pt x="458" y="1863"/>
                </a:lnTo>
                <a:lnTo>
                  <a:pt x="458" y="1873"/>
                </a:lnTo>
                <a:lnTo>
                  <a:pt x="449" y="1892"/>
                </a:lnTo>
                <a:lnTo>
                  <a:pt x="419" y="1902"/>
                </a:lnTo>
                <a:lnTo>
                  <a:pt x="400" y="1902"/>
                </a:lnTo>
                <a:lnTo>
                  <a:pt x="371" y="1922"/>
                </a:lnTo>
                <a:lnTo>
                  <a:pt x="361" y="1932"/>
                </a:lnTo>
                <a:lnTo>
                  <a:pt x="341" y="1932"/>
                </a:lnTo>
                <a:lnTo>
                  <a:pt x="312" y="1922"/>
                </a:lnTo>
                <a:lnTo>
                  <a:pt x="293" y="1922"/>
                </a:lnTo>
                <a:lnTo>
                  <a:pt x="273" y="1912"/>
                </a:lnTo>
                <a:lnTo>
                  <a:pt x="254" y="1902"/>
                </a:lnTo>
                <a:lnTo>
                  <a:pt x="224" y="1902"/>
                </a:lnTo>
                <a:lnTo>
                  <a:pt x="215" y="1892"/>
                </a:lnTo>
                <a:lnTo>
                  <a:pt x="205" y="1873"/>
                </a:lnTo>
                <a:lnTo>
                  <a:pt x="205" y="1863"/>
                </a:lnTo>
                <a:lnTo>
                  <a:pt x="205" y="1853"/>
                </a:lnTo>
                <a:lnTo>
                  <a:pt x="224" y="1844"/>
                </a:lnTo>
                <a:lnTo>
                  <a:pt x="234" y="1834"/>
                </a:lnTo>
                <a:lnTo>
                  <a:pt x="254" y="1834"/>
                </a:lnTo>
                <a:lnTo>
                  <a:pt x="263" y="1824"/>
                </a:lnTo>
                <a:lnTo>
                  <a:pt x="283" y="1814"/>
                </a:lnTo>
                <a:lnTo>
                  <a:pt x="283" y="1805"/>
                </a:lnTo>
                <a:lnTo>
                  <a:pt x="293" y="1795"/>
                </a:lnTo>
                <a:lnTo>
                  <a:pt x="293" y="1775"/>
                </a:lnTo>
                <a:lnTo>
                  <a:pt x="312" y="1775"/>
                </a:lnTo>
                <a:lnTo>
                  <a:pt x="332" y="1766"/>
                </a:lnTo>
                <a:lnTo>
                  <a:pt x="332" y="1746"/>
                </a:lnTo>
                <a:lnTo>
                  <a:pt x="322" y="1746"/>
                </a:lnTo>
                <a:lnTo>
                  <a:pt x="312" y="1717"/>
                </a:lnTo>
                <a:lnTo>
                  <a:pt x="312" y="1707"/>
                </a:lnTo>
                <a:lnTo>
                  <a:pt x="322" y="1697"/>
                </a:lnTo>
                <a:lnTo>
                  <a:pt x="322" y="1668"/>
                </a:lnTo>
                <a:lnTo>
                  <a:pt x="332" y="1649"/>
                </a:lnTo>
                <a:lnTo>
                  <a:pt x="322" y="1639"/>
                </a:lnTo>
                <a:lnTo>
                  <a:pt x="322" y="1629"/>
                </a:lnTo>
                <a:lnTo>
                  <a:pt x="312" y="1610"/>
                </a:lnTo>
                <a:lnTo>
                  <a:pt x="302" y="1600"/>
                </a:lnTo>
                <a:lnTo>
                  <a:pt x="302" y="1590"/>
                </a:lnTo>
                <a:lnTo>
                  <a:pt x="312" y="1580"/>
                </a:lnTo>
                <a:lnTo>
                  <a:pt x="302" y="1580"/>
                </a:lnTo>
                <a:lnTo>
                  <a:pt x="293" y="1571"/>
                </a:lnTo>
                <a:lnTo>
                  <a:pt x="283" y="1561"/>
                </a:lnTo>
                <a:lnTo>
                  <a:pt x="283" y="1551"/>
                </a:lnTo>
                <a:lnTo>
                  <a:pt x="273" y="1551"/>
                </a:lnTo>
                <a:lnTo>
                  <a:pt x="254" y="1551"/>
                </a:lnTo>
                <a:lnTo>
                  <a:pt x="244" y="1551"/>
                </a:lnTo>
                <a:lnTo>
                  <a:pt x="234" y="1531"/>
                </a:lnTo>
                <a:lnTo>
                  <a:pt x="224" y="1522"/>
                </a:lnTo>
                <a:lnTo>
                  <a:pt x="215" y="1531"/>
                </a:lnTo>
                <a:lnTo>
                  <a:pt x="215" y="1541"/>
                </a:lnTo>
                <a:lnTo>
                  <a:pt x="215" y="1561"/>
                </a:lnTo>
                <a:lnTo>
                  <a:pt x="195" y="1551"/>
                </a:lnTo>
                <a:lnTo>
                  <a:pt x="176" y="1551"/>
                </a:lnTo>
                <a:lnTo>
                  <a:pt x="176" y="1541"/>
                </a:lnTo>
                <a:lnTo>
                  <a:pt x="166" y="1531"/>
                </a:lnTo>
                <a:lnTo>
                  <a:pt x="156" y="1531"/>
                </a:lnTo>
                <a:lnTo>
                  <a:pt x="156" y="1502"/>
                </a:lnTo>
                <a:lnTo>
                  <a:pt x="146" y="1492"/>
                </a:lnTo>
                <a:lnTo>
                  <a:pt x="156" y="1483"/>
                </a:lnTo>
                <a:lnTo>
                  <a:pt x="176" y="1463"/>
                </a:lnTo>
                <a:lnTo>
                  <a:pt x="185" y="1453"/>
                </a:lnTo>
                <a:lnTo>
                  <a:pt x="205" y="1453"/>
                </a:lnTo>
                <a:lnTo>
                  <a:pt x="205" y="1444"/>
                </a:lnTo>
                <a:lnTo>
                  <a:pt x="205" y="1434"/>
                </a:lnTo>
                <a:lnTo>
                  <a:pt x="195" y="1424"/>
                </a:lnTo>
                <a:lnTo>
                  <a:pt x="195" y="1414"/>
                </a:lnTo>
                <a:lnTo>
                  <a:pt x="195" y="1405"/>
                </a:lnTo>
                <a:lnTo>
                  <a:pt x="176" y="1395"/>
                </a:lnTo>
                <a:lnTo>
                  <a:pt x="166" y="1385"/>
                </a:lnTo>
                <a:lnTo>
                  <a:pt x="156" y="1366"/>
                </a:lnTo>
                <a:lnTo>
                  <a:pt x="156" y="1356"/>
                </a:lnTo>
                <a:lnTo>
                  <a:pt x="166" y="1346"/>
                </a:lnTo>
                <a:lnTo>
                  <a:pt x="166" y="1317"/>
                </a:lnTo>
                <a:lnTo>
                  <a:pt x="176" y="1307"/>
                </a:lnTo>
                <a:lnTo>
                  <a:pt x="176" y="1297"/>
                </a:lnTo>
                <a:lnTo>
                  <a:pt x="166" y="1288"/>
                </a:lnTo>
                <a:lnTo>
                  <a:pt x="176" y="1288"/>
                </a:lnTo>
                <a:lnTo>
                  <a:pt x="185" y="1288"/>
                </a:lnTo>
                <a:lnTo>
                  <a:pt x="185" y="1278"/>
                </a:lnTo>
                <a:lnTo>
                  <a:pt x="195" y="1268"/>
                </a:lnTo>
                <a:lnTo>
                  <a:pt x="195" y="1258"/>
                </a:lnTo>
                <a:lnTo>
                  <a:pt x="205" y="1258"/>
                </a:lnTo>
                <a:lnTo>
                  <a:pt x="215" y="1249"/>
                </a:lnTo>
                <a:lnTo>
                  <a:pt x="234" y="1229"/>
                </a:lnTo>
                <a:lnTo>
                  <a:pt x="224" y="1210"/>
                </a:lnTo>
                <a:lnTo>
                  <a:pt x="205" y="1190"/>
                </a:lnTo>
                <a:lnTo>
                  <a:pt x="195" y="1180"/>
                </a:lnTo>
                <a:lnTo>
                  <a:pt x="176" y="1170"/>
                </a:lnTo>
                <a:lnTo>
                  <a:pt x="156" y="1170"/>
                </a:lnTo>
                <a:lnTo>
                  <a:pt x="156" y="1161"/>
                </a:lnTo>
                <a:lnTo>
                  <a:pt x="156" y="1122"/>
                </a:lnTo>
                <a:lnTo>
                  <a:pt x="176" y="1112"/>
                </a:lnTo>
                <a:lnTo>
                  <a:pt x="195" y="1102"/>
                </a:lnTo>
                <a:lnTo>
                  <a:pt x="215" y="1092"/>
                </a:lnTo>
                <a:lnTo>
                  <a:pt x="215" y="1083"/>
                </a:lnTo>
                <a:lnTo>
                  <a:pt x="205" y="1073"/>
                </a:lnTo>
                <a:lnTo>
                  <a:pt x="205" y="1053"/>
                </a:lnTo>
                <a:lnTo>
                  <a:pt x="195" y="1044"/>
                </a:lnTo>
                <a:lnTo>
                  <a:pt x="185" y="1053"/>
                </a:lnTo>
                <a:lnTo>
                  <a:pt x="176" y="1053"/>
                </a:lnTo>
                <a:lnTo>
                  <a:pt x="156" y="1005"/>
                </a:lnTo>
                <a:lnTo>
                  <a:pt x="146" y="995"/>
                </a:lnTo>
                <a:lnTo>
                  <a:pt x="136" y="995"/>
                </a:lnTo>
                <a:lnTo>
                  <a:pt x="136" y="975"/>
                </a:lnTo>
                <a:lnTo>
                  <a:pt x="136" y="966"/>
                </a:lnTo>
                <a:lnTo>
                  <a:pt x="107" y="956"/>
                </a:lnTo>
                <a:lnTo>
                  <a:pt x="88" y="956"/>
                </a:lnTo>
                <a:lnTo>
                  <a:pt x="58" y="946"/>
                </a:lnTo>
                <a:lnTo>
                  <a:pt x="39" y="956"/>
                </a:lnTo>
                <a:lnTo>
                  <a:pt x="29" y="956"/>
                </a:lnTo>
                <a:lnTo>
                  <a:pt x="0" y="936"/>
                </a:lnTo>
                <a:lnTo>
                  <a:pt x="0" y="917"/>
                </a:lnTo>
                <a:lnTo>
                  <a:pt x="10" y="907"/>
                </a:lnTo>
                <a:lnTo>
                  <a:pt x="19" y="897"/>
                </a:lnTo>
                <a:lnTo>
                  <a:pt x="19" y="878"/>
                </a:lnTo>
                <a:lnTo>
                  <a:pt x="10" y="858"/>
                </a:lnTo>
                <a:lnTo>
                  <a:pt x="10" y="849"/>
                </a:lnTo>
                <a:lnTo>
                  <a:pt x="10" y="839"/>
                </a:lnTo>
                <a:lnTo>
                  <a:pt x="0" y="829"/>
                </a:lnTo>
                <a:lnTo>
                  <a:pt x="39" y="819"/>
                </a:lnTo>
                <a:lnTo>
                  <a:pt x="97" y="800"/>
                </a:lnTo>
                <a:lnTo>
                  <a:pt x="97" y="790"/>
                </a:lnTo>
                <a:lnTo>
                  <a:pt x="107" y="780"/>
                </a:lnTo>
                <a:lnTo>
                  <a:pt x="107" y="761"/>
                </a:lnTo>
                <a:lnTo>
                  <a:pt x="97" y="761"/>
                </a:lnTo>
                <a:lnTo>
                  <a:pt x="78" y="751"/>
                </a:lnTo>
                <a:lnTo>
                  <a:pt x="58" y="731"/>
                </a:lnTo>
                <a:lnTo>
                  <a:pt x="49" y="712"/>
                </a:lnTo>
                <a:lnTo>
                  <a:pt x="78" y="663"/>
                </a:lnTo>
                <a:lnTo>
                  <a:pt x="97" y="644"/>
                </a:lnTo>
                <a:lnTo>
                  <a:pt x="97" y="634"/>
                </a:lnTo>
                <a:lnTo>
                  <a:pt x="117" y="624"/>
                </a:lnTo>
                <a:lnTo>
                  <a:pt x="136" y="624"/>
                </a:lnTo>
                <a:lnTo>
                  <a:pt x="146" y="614"/>
                </a:lnTo>
                <a:lnTo>
                  <a:pt x="136" y="595"/>
                </a:lnTo>
                <a:lnTo>
                  <a:pt x="146" y="585"/>
                </a:lnTo>
                <a:lnTo>
                  <a:pt x="146" y="575"/>
                </a:lnTo>
                <a:lnTo>
                  <a:pt x="136" y="566"/>
                </a:lnTo>
                <a:lnTo>
                  <a:pt x="136" y="556"/>
                </a:lnTo>
                <a:lnTo>
                  <a:pt x="127" y="546"/>
                </a:lnTo>
                <a:lnTo>
                  <a:pt x="127" y="527"/>
                </a:lnTo>
                <a:lnTo>
                  <a:pt x="136" y="507"/>
                </a:lnTo>
                <a:lnTo>
                  <a:pt x="156" y="497"/>
                </a:lnTo>
                <a:lnTo>
                  <a:pt x="176" y="497"/>
                </a:lnTo>
                <a:lnTo>
                  <a:pt x="185" y="478"/>
                </a:lnTo>
                <a:lnTo>
                  <a:pt x="185" y="448"/>
                </a:lnTo>
                <a:lnTo>
                  <a:pt x="185" y="419"/>
                </a:lnTo>
                <a:lnTo>
                  <a:pt x="185" y="400"/>
                </a:lnTo>
                <a:lnTo>
                  <a:pt x="176" y="400"/>
                </a:lnTo>
                <a:lnTo>
                  <a:pt x="156" y="409"/>
                </a:lnTo>
                <a:lnTo>
                  <a:pt x="146" y="400"/>
                </a:lnTo>
                <a:lnTo>
                  <a:pt x="156" y="390"/>
                </a:lnTo>
                <a:lnTo>
                  <a:pt x="146" y="380"/>
                </a:lnTo>
                <a:lnTo>
                  <a:pt x="127" y="370"/>
                </a:lnTo>
                <a:lnTo>
                  <a:pt x="117" y="361"/>
                </a:lnTo>
                <a:lnTo>
                  <a:pt x="127" y="361"/>
                </a:lnTo>
                <a:lnTo>
                  <a:pt x="136" y="351"/>
                </a:lnTo>
                <a:lnTo>
                  <a:pt x="136" y="322"/>
                </a:lnTo>
                <a:lnTo>
                  <a:pt x="136" y="312"/>
                </a:lnTo>
                <a:lnTo>
                  <a:pt x="146" y="302"/>
                </a:lnTo>
                <a:lnTo>
                  <a:pt x="136" y="292"/>
                </a:lnTo>
                <a:lnTo>
                  <a:pt x="127" y="283"/>
                </a:lnTo>
                <a:lnTo>
                  <a:pt x="117" y="283"/>
                </a:lnTo>
                <a:lnTo>
                  <a:pt x="107" y="283"/>
                </a:lnTo>
                <a:lnTo>
                  <a:pt x="107" y="273"/>
                </a:lnTo>
                <a:lnTo>
                  <a:pt x="107" y="253"/>
                </a:lnTo>
                <a:lnTo>
                  <a:pt x="97" y="253"/>
                </a:lnTo>
                <a:lnTo>
                  <a:pt x="97" y="234"/>
                </a:lnTo>
                <a:lnTo>
                  <a:pt x="117" y="234"/>
                </a:lnTo>
                <a:lnTo>
                  <a:pt x="117" y="224"/>
                </a:lnTo>
                <a:lnTo>
                  <a:pt x="107" y="214"/>
                </a:lnTo>
                <a:lnTo>
                  <a:pt x="97" y="195"/>
                </a:lnTo>
                <a:lnTo>
                  <a:pt x="107" y="175"/>
                </a:lnTo>
                <a:lnTo>
                  <a:pt x="117" y="166"/>
                </a:lnTo>
                <a:lnTo>
                  <a:pt x="117" y="156"/>
                </a:lnTo>
                <a:lnTo>
                  <a:pt x="97" y="127"/>
                </a:lnTo>
                <a:lnTo>
                  <a:pt x="88" y="107"/>
                </a:lnTo>
                <a:lnTo>
                  <a:pt x="88" y="97"/>
                </a:lnTo>
                <a:lnTo>
                  <a:pt x="97" y="78"/>
                </a:lnTo>
                <a:lnTo>
                  <a:pt x="97" y="58"/>
                </a:lnTo>
                <a:lnTo>
                  <a:pt x="97" y="39"/>
                </a:lnTo>
                <a:lnTo>
                  <a:pt x="97" y="19"/>
                </a:lnTo>
                <a:lnTo>
                  <a:pt x="117" y="29"/>
                </a:lnTo>
                <a:lnTo>
                  <a:pt x="127" y="19"/>
                </a:lnTo>
                <a:lnTo>
                  <a:pt x="166" y="0"/>
                </a:lnTo>
                <a:lnTo>
                  <a:pt x="176" y="19"/>
                </a:lnTo>
                <a:lnTo>
                  <a:pt x="156" y="29"/>
                </a:lnTo>
                <a:lnTo>
                  <a:pt x="176" y="39"/>
                </a:lnTo>
                <a:lnTo>
                  <a:pt x="176" y="58"/>
                </a:lnTo>
                <a:lnTo>
                  <a:pt x="195" y="117"/>
                </a:lnTo>
                <a:lnTo>
                  <a:pt x="215" y="127"/>
                </a:lnTo>
                <a:lnTo>
                  <a:pt x="215" y="107"/>
                </a:lnTo>
                <a:lnTo>
                  <a:pt x="244" y="107"/>
                </a:lnTo>
                <a:lnTo>
                  <a:pt x="244" y="97"/>
                </a:lnTo>
                <a:lnTo>
                  <a:pt x="244" y="78"/>
                </a:lnTo>
                <a:lnTo>
                  <a:pt x="263" y="78"/>
                </a:lnTo>
                <a:lnTo>
                  <a:pt x="263" y="58"/>
                </a:lnTo>
                <a:lnTo>
                  <a:pt x="283" y="58"/>
                </a:lnTo>
                <a:lnTo>
                  <a:pt x="312" y="58"/>
                </a:lnTo>
                <a:lnTo>
                  <a:pt x="312" y="87"/>
                </a:lnTo>
                <a:lnTo>
                  <a:pt x="341" y="146"/>
                </a:lnTo>
                <a:lnTo>
                  <a:pt x="371" y="146"/>
                </a:lnTo>
                <a:lnTo>
                  <a:pt x="410" y="156"/>
                </a:lnTo>
                <a:lnTo>
                  <a:pt x="419" y="156"/>
                </a:lnTo>
                <a:lnTo>
                  <a:pt x="439" y="166"/>
                </a:lnTo>
                <a:lnTo>
                  <a:pt x="468" y="166"/>
                </a:lnTo>
                <a:lnTo>
                  <a:pt x="507" y="166"/>
                </a:lnTo>
                <a:close/>
              </a:path>
            </a:pathLst>
          </a:custGeom>
          <a:solidFill>
            <a:srgbClr val="CCFFCC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512" name="Freeform 314"/>
          <p:cNvSpPr>
            <a:spLocks noChangeAspect="1"/>
          </p:cNvSpPr>
          <p:nvPr>
            <p:custDataLst>
              <p:tags r:id="rId78"/>
            </p:custDataLst>
          </p:nvPr>
        </p:nvSpPr>
        <p:spPr bwMode="auto">
          <a:xfrm>
            <a:off x="5035550" y="4468813"/>
            <a:ext cx="963613" cy="911225"/>
          </a:xfrm>
          <a:custGeom>
            <a:avLst/>
            <a:gdLst>
              <a:gd name="T0" fmla="*/ 13346 w 1444"/>
              <a:gd name="T1" fmla="*/ 686531 h 1464"/>
              <a:gd name="T2" fmla="*/ 52051 w 1444"/>
              <a:gd name="T3" fmla="*/ 667858 h 1464"/>
              <a:gd name="T4" fmla="*/ 58724 w 1444"/>
              <a:gd name="T5" fmla="*/ 625533 h 1464"/>
              <a:gd name="T6" fmla="*/ 91423 w 1444"/>
              <a:gd name="T7" fmla="*/ 576985 h 1464"/>
              <a:gd name="T8" fmla="*/ 104770 w 1444"/>
              <a:gd name="T9" fmla="*/ 534660 h 1464"/>
              <a:gd name="T10" fmla="*/ 124122 w 1444"/>
              <a:gd name="T11" fmla="*/ 461837 h 1464"/>
              <a:gd name="T12" fmla="*/ 195525 w 1444"/>
              <a:gd name="T13" fmla="*/ 437562 h 1464"/>
              <a:gd name="T14" fmla="*/ 240903 w 1444"/>
              <a:gd name="T15" fmla="*/ 486111 h 1464"/>
              <a:gd name="T16" fmla="*/ 247576 w 1444"/>
              <a:gd name="T17" fmla="*/ 455613 h 1464"/>
              <a:gd name="T18" fmla="*/ 280275 w 1444"/>
              <a:gd name="T19" fmla="*/ 407064 h 1464"/>
              <a:gd name="T20" fmla="*/ 365025 w 1444"/>
              <a:gd name="T21" fmla="*/ 388391 h 1464"/>
              <a:gd name="T22" fmla="*/ 417076 w 1444"/>
              <a:gd name="T23" fmla="*/ 364117 h 1464"/>
              <a:gd name="T24" fmla="*/ 391051 w 1444"/>
              <a:gd name="T25" fmla="*/ 315568 h 1464"/>
              <a:gd name="T26" fmla="*/ 391051 w 1444"/>
              <a:gd name="T27" fmla="*/ 279467 h 1464"/>
              <a:gd name="T28" fmla="*/ 377704 w 1444"/>
              <a:gd name="T29" fmla="*/ 224694 h 1464"/>
              <a:gd name="T30" fmla="*/ 423082 w 1444"/>
              <a:gd name="T31" fmla="*/ 182369 h 1464"/>
              <a:gd name="T32" fmla="*/ 436429 w 1444"/>
              <a:gd name="T33" fmla="*/ 90874 h 1464"/>
              <a:gd name="T34" fmla="*/ 436429 w 1444"/>
              <a:gd name="T35" fmla="*/ 54773 h 1464"/>
              <a:gd name="T36" fmla="*/ 429755 w 1444"/>
              <a:gd name="T37" fmla="*/ 6224 h 1464"/>
              <a:gd name="T38" fmla="*/ 501826 w 1444"/>
              <a:gd name="T39" fmla="*/ 12448 h 1464"/>
              <a:gd name="T40" fmla="*/ 514505 w 1444"/>
              <a:gd name="T41" fmla="*/ 36723 h 1464"/>
              <a:gd name="T42" fmla="*/ 540531 w 1444"/>
              <a:gd name="T43" fmla="*/ 109546 h 1464"/>
              <a:gd name="T44" fmla="*/ 559883 w 1444"/>
              <a:gd name="T45" fmla="*/ 158095 h 1464"/>
              <a:gd name="T46" fmla="*/ 592582 w 1444"/>
              <a:gd name="T47" fmla="*/ 194196 h 1464"/>
              <a:gd name="T48" fmla="*/ 599255 w 1444"/>
              <a:gd name="T49" fmla="*/ 230918 h 1464"/>
              <a:gd name="T50" fmla="*/ 579903 w 1444"/>
              <a:gd name="T51" fmla="*/ 334240 h 1464"/>
              <a:gd name="T52" fmla="*/ 651306 w 1444"/>
              <a:gd name="T53" fmla="*/ 328016 h 1464"/>
              <a:gd name="T54" fmla="*/ 703357 w 1444"/>
              <a:gd name="T55" fmla="*/ 321792 h 1464"/>
              <a:gd name="T56" fmla="*/ 736056 w 1444"/>
              <a:gd name="T57" fmla="*/ 291293 h 1464"/>
              <a:gd name="T58" fmla="*/ 800786 w 1444"/>
              <a:gd name="T59" fmla="*/ 200420 h 1464"/>
              <a:gd name="T60" fmla="*/ 859511 w 1444"/>
              <a:gd name="T61" fmla="*/ 237143 h 1464"/>
              <a:gd name="T62" fmla="*/ 898883 w 1444"/>
              <a:gd name="T63" fmla="*/ 248969 h 1464"/>
              <a:gd name="T64" fmla="*/ 944261 w 1444"/>
              <a:gd name="T65" fmla="*/ 267019 h 1464"/>
              <a:gd name="T66" fmla="*/ 956940 w 1444"/>
              <a:gd name="T67" fmla="*/ 328016 h 1464"/>
              <a:gd name="T68" fmla="*/ 904889 w 1444"/>
              <a:gd name="T69" fmla="*/ 339842 h 1464"/>
              <a:gd name="T70" fmla="*/ 911562 w 1444"/>
              <a:gd name="T71" fmla="*/ 388391 h 1464"/>
              <a:gd name="T72" fmla="*/ 930914 w 1444"/>
              <a:gd name="T73" fmla="*/ 413288 h 1464"/>
              <a:gd name="T74" fmla="*/ 911562 w 1444"/>
              <a:gd name="T75" fmla="*/ 443164 h 1464"/>
              <a:gd name="T76" fmla="*/ 859511 w 1444"/>
              <a:gd name="T77" fmla="*/ 418890 h 1464"/>
              <a:gd name="T78" fmla="*/ 826812 w 1444"/>
              <a:gd name="T79" fmla="*/ 467439 h 1464"/>
              <a:gd name="T80" fmla="*/ 729383 w 1444"/>
              <a:gd name="T81" fmla="*/ 473663 h 1464"/>
              <a:gd name="T82" fmla="*/ 670659 w 1444"/>
              <a:gd name="T83" fmla="*/ 491713 h 1464"/>
              <a:gd name="T84" fmla="*/ 599255 w 1444"/>
              <a:gd name="T85" fmla="*/ 510386 h 1464"/>
              <a:gd name="T86" fmla="*/ 599255 w 1444"/>
              <a:gd name="T87" fmla="*/ 558934 h 1464"/>
              <a:gd name="T88" fmla="*/ 599255 w 1444"/>
              <a:gd name="T89" fmla="*/ 656032 h 1464"/>
              <a:gd name="T90" fmla="*/ 566556 w 1444"/>
              <a:gd name="T91" fmla="*/ 783629 h 1464"/>
              <a:gd name="T92" fmla="*/ 488480 w 1444"/>
              <a:gd name="T93" fmla="*/ 764956 h 1464"/>
              <a:gd name="T94" fmla="*/ 423082 w 1444"/>
              <a:gd name="T95" fmla="*/ 764956 h 1464"/>
              <a:gd name="T96" fmla="*/ 332326 w 1444"/>
              <a:gd name="T97" fmla="*/ 728856 h 1464"/>
              <a:gd name="T98" fmla="*/ 306301 w 1444"/>
              <a:gd name="T99" fmla="*/ 771180 h 1464"/>
              <a:gd name="T100" fmla="*/ 377704 w 1444"/>
              <a:gd name="T101" fmla="*/ 795455 h 1464"/>
              <a:gd name="T102" fmla="*/ 501826 w 1444"/>
              <a:gd name="T103" fmla="*/ 832178 h 1464"/>
              <a:gd name="T104" fmla="*/ 403730 w 1444"/>
              <a:gd name="T105" fmla="*/ 905001 h 1464"/>
              <a:gd name="T106" fmla="*/ 358352 w 1444"/>
              <a:gd name="T107" fmla="*/ 892552 h 1464"/>
              <a:gd name="T108" fmla="*/ 325653 w 1444"/>
              <a:gd name="T109" fmla="*/ 850228 h 1464"/>
              <a:gd name="T110" fmla="*/ 266929 w 1444"/>
              <a:gd name="T111" fmla="*/ 819729 h 1464"/>
              <a:gd name="T112" fmla="*/ 214878 w 1444"/>
              <a:gd name="T113" fmla="*/ 771180 h 1464"/>
              <a:gd name="T114" fmla="*/ 156821 w 1444"/>
              <a:gd name="T115" fmla="*/ 789230 h 1464"/>
              <a:gd name="T116" fmla="*/ 110775 w 1444"/>
              <a:gd name="T117" fmla="*/ 783629 h 1464"/>
              <a:gd name="T118" fmla="*/ 46045 w 1444"/>
              <a:gd name="T119" fmla="*/ 746906 h 1464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444"/>
              <a:gd name="T181" fmla="*/ 0 h 1464"/>
              <a:gd name="T182" fmla="*/ 1444 w 1444"/>
              <a:gd name="T183" fmla="*/ 1464 h 1464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444" h="1464">
                <a:moveTo>
                  <a:pt x="69" y="1200"/>
                </a:moveTo>
                <a:lnTo>
                  <a:pt x="39" y="1171"/>
                </a:lnTo>
                <a:lnTo>
                  <a:pt x="0" y="1132"/>
                </a:lnTo>
                <a:lnTo>
                  <a:pt x="0" y="1112"/>
                </a:lnTo>
                <a:lnTo>
                  <a:pt x="20" y="1112"/>
                </a:lnTo>
                <a:lnTo>
                  <a:pt x="20" y="1103"/>
                </a:lnTo>
                <a:lnTo>
                  <a:pt x="20" y="1093"/>
                </a:lnTo>
                <a:lnTo>
                  <a:pt x="20" y="1083"/>
                </a:lnTo>
                <a:lnTo>
                  <a:pt x="39" y="1083"/>
                </a:lnTo>
                <a:lnTo>
                  <a:pt x="59" y="1093"/>
                </a:lnTo>
                <a:lnTo>
                  <a:pt x="69" y="1093"/>
                </a:lnTo>
                <a:lnTo>
                  <a:pt x="78" y="1073"/>
                </a:lnTo>
                <a:lnTo>
                  <a:pt x="78" y="1054"/>
                </a:lnTo>
                <a:lnTo>
                  <a:pt x="78" y="1034"/>
                </a:lnTo>
                <a:lnTo>
                  <a:pt x="78" y="1025"/>
                </a:lnTo>
                <a:lnTo>
                  <a:pt x="88" y="1025"/>
                </a:lnTo>
                <a:lnTo>
                  <a:pt x="88" y="1015"/>
                </a:lnTo>
                <a:lnTo>
                  <a:pt x="88" y="1005"/>
                </a:lnTo>
                <a:lnTo>
                  <a:pt x="88" y="985"/>
                </a:lnTo>
                <a:lnTo>
                  <a:pt x="88" y="956"/>
                </a:lnTo>
                <a:lnTo>
                  <a:pt x="98" y="956"/>
                </a:lnTo>
                <a:lnTo>
                  <a:pt x="98" y="937"/>
                </a:lnTo>
                <a:lnTo>
                  <a:pt x="108" y="927"/>
                </a:lnTo>
                <a:lnTo>
                  <a:pt x="137" y="927"/>
                </a:lnTo>
                <a:lnTo>
                  <a:pt x="137" y="917"/>
                </a:lnTo>
                <a:lnTo>
                  <a:pt x="147" y="898"/>
                </a:lnTo>
                <a:lnTo>
                  <a:pt x="147" y="878"/>
                </a:lnTo>
                <a:lnTo>
                  <a:pt x="157" y="878"/>
                </a:lnTo>
                <a:lnTo>
                  <a:pt x="166" y="868"/>
                </a:lnTo>
                <a:lnTo>
                  <a:pt x="157" y="859"/>
                </a:lnTo>
                <a:lnTo>
                  <a:pt x="157" y="849"/>
                </a:lnTo>
                <a:lnTo>
                  <a:pt x="147" y="839"/>
                </a:lnTo>
                <a:lnTo>
                  <a:pt x="137" y="820"/>
                </a:lnTo>
                <a:lnTo>
                  <a:pt x="157" y="781"/>
                </a:lnTo>
                <a:lnTo>
                  <a:pt x="166" y="751"/>
                </a:lnTo>
                <a:lnTo>
                  <a:pt x="186" y="742"/>
                </a:lnTo>
                <a:lnTo>
                  <a:pt x="215" y="742"/>
                </a:lnTo>
                <a:lnTo>
                  <a:pt x="235" y="751"/>
                </a:lnTo>
                <a:lnTo>
                  <a:pt x="254" y="751"/>
                </a:lnTo>
                <a:lnTo>
                  <a:pt x="264" y="742"/>
                </a:lnTo>
                <a:lnTo>
                  <a:pt x="283" y="712"/>
                </a:lnTo>
                <a:lnTo>
                  <a:pt x="293" y="703"/>
                </a:lnTo>
                <a:lnTo>
                  <a:pt x="303" y="703"/>
                </a:lnTo>
                <a:lnTo>
                  <a:pt x="313" y="732"/>
                </a:lnTo>
                <a:lnTo>
                  <a:pt x="332" y="732"/>
                </a:lnTo>
                <a:lnTo>
                  <a:pt x="332" y="761"/>
                </a:lnTo>
                <a:lnTo>
                  <a:pt x="361" y="781"/>
                </a:lnTo>
                <a:lnTo>
                  <a:pt x="371" y="771"/>
                </a:lnTo>
                <a:lnTo>
                  <a:pt x="371" y="761"/>
                </a:lnTo>
                <a:lnTo>
                  <a:pt x="361" y="751"/>
                </a:lnTo>
                <a:lnTo>
                  <a:pt x="361" y="732"/>
                </a:lnTo>
                <a:lnTo>
                  <a:pt x="352" y="732"/>
                </a:lnTo>
                <a:lnTo>
                  <a:pt x="371" y="732"/>
                </a:lnTo>
                <a:lnTo>
                  <a:pt x="371" y="703"/>
                </a:lnTo>
                <a:lnTo>
                  <a:pt x="371" y="693"/>
                </a:lnTo>
                <a:lnTo>
                  <a:pt x="381" y="683"/>
                </a:lnTo>
                <a:lnTo>
                  <a:pt x="400" y="683"/>
                </a:lnTo>
                <a:lnTo>
                  <a:pt x="410" y="654"/>
                </a:lnTo>
                <a:lnTo>
                  <a:pt x="420" y="654"/>
                </a:lnTo>
                <a:lnTo>
                  <a:pt x="449" y="634"/>
                </a:lnTo>
                <a:lnTo>
                  <a:pt x="459" y="615"/>
                </a:lnTo>
                <a:lnTo>
                  <a:pt x="488" y="585"/>
                </a:lnTo>
                <a:lnTo>
                  <a:pt x="508" y="605"/>
                </a:lnTo>
                <a:lnTo>
                  <a:pt x="537" y="605"/>
                </a:lnTo>
                <a:lnTo>
                  <a:pt x="547" y="624"/>
                </a:lnTo>
                <a:lnTo>
                  <a:pt x="566" y="624"/>
                </a:lnTo>
                <a:lnTo>
                  <a:pt x="586" y="644"/>
                </a:lnTo>
                <a:lnTo>
                  <a:pt x="595" y="634"/>
                </a:lnTo>
                <a:lnTo>
                  <a:pt x="595" y="615"/>
                </a:lnTo>
                <a:lnTo>
                  <a:pt x="595" y="605"/>
                </a:lnTo>
                <a:lnTo>
                  <a:pt x="625" y="585"/>
                </a:lnTo>
                <a:lnTo>
                  <a:pt x="625" y="566"/>
                </a:lnTo>
                <a:lnTo>
                  <a:pt x="615" y="556"/>
                </a:lnTo>
                <a:lnTo>
                  <a:pt x="615" y="546"/>
                </a:lnTo>
                <a:lnTo>
                  <a:pt x="595" y="537"/>
                </a:lnTo>
                <a:lnTo>
                  <a:pt x="586" y="527"/>
                </a:lnTo>
                <a:lnTo>
                  <a:pt x="586" y="507"/>
                </a:lnTo>
                <a:lnTo>
                  <a:pt x="605" y="498"/>
                </a:lnTo>
                <a:lnTo>
                  <a:pt x="625" y="488"/>
                </a:lnTo>
                <a:lnTo>
                  <a:pt x="625" y="468"/>
                </a:lnTo>
                <a:lnTo>
                  <a:pt x="615" y="449"/>
                </a:lnTo>
                <a:lnTo>
                  <a:pt x="605" y="449"/>
                </a:lnTo>
                <a:lnTo>
                  <a:pt x="586" y="449"/>
                </a:lnTo>
                <a:lnTo>
                  <a:pt x="566" y="420"/>
                </a:lnTo>
                <a:lnTo>
                  <a:pt x="566" y="400"/>
                </a:lnTo>
                <a:lnTo>
                  <a:pt x="576" y="390"/>
                </a:lnTo>
                <a:lnTo>
                  <a:pt x="576" y="381"/>
                </a:lnTo>
                <a:lnTo>
                  <a:pt x="566" y="381"/>
                </a:lnTo>
                <a:lnTo>
                  <a:pt x="566" y="361"/>
                </a:lnTo>
                <a:lnTo>
                  <a:pt x="576" y="351"/>
                </a:lnTo>
                <a:lnTo>
                  <a:pt x="576" y="332"/>
                </a:lnTo>
                <a:lnTo>
                  <a:pt x="576" y="322"/>
                </a:lnTo>
                <a:lnTo>
                  <a:pt x="586" y="322"/>
                </a:lnTo>
                <a:lnTo>
                  <a:pt x="605" y="312"/>
                </a:lnTo>
                <a:lnTo>
                  <a:pt x="634" y="293"/>
                </a:lnTo>
                <a:lnTo>
                  <a:pt x="625" y="263"/>
                </a:lnTo>
                <a:lnTo>
                  <a:pt x="634" y="254"/>
                </a:lnTo>
                <a:lnTo>
                  <a:pt x="654" y="234"/>
                </a:lnTo>
                <a:lnTo>
                  <a:pt x="654" y="195"/>
                </a:lnTo>
                <a:lnTo>
                  <a:pt x="664" y="176"/>
                </a:lnTo>
                <a:lnTo>
                  <a:pt x="654" y="146"/>
                </a:lnTo>
                <a:lnTo>
                  <a:pt x="634" y="137"/>
                </a:lnTo>
                <a:lnTo>
                  <a:pt x="634" y="127"/>
                </a:lnTo>
                <a:lnTo>
                  <a:pt x="644" y="117"/>
                </a:lnTo>
                <a:lnTo>
                  <a:pt x="644" y="98"/>
                </a:lnTo>
                <a:lnTo>
                  <a:pt x="644" y="78"/>
                </a:lnTo>
                <a:lnTo>
                  <a:pt x="654" y="88"/>
                </a:lnTo>
                <a:lnTo>
                  <a:pt x="664" y="78"/>
                </a:lnTo>
                <a:lnTo>
                  <a:pt x="644" y="59"/>
                </a:lnTo>
                <a:lnTo>
                  <a:pt x="644" y="29"/>
                </a:lnTo>
                <a:lnTo>
                  <a:pt x="634" y="20"/>
                </a:lnTo>
                <a:lnTo>
                  <a:pt x="634" y="10"/>
                </a:lnTo>
                <a:lnTo>
                  <a:pt x="644" y="10"/>
                </a:lnTo>
                <a:lnTo>
                  <a:pt x="654" y="20"/>
                </a:lnTo>
                <a:lnTo>
                  <a:pt x="673" y="20"/>
                </a:lnTo>
                <a:lnTo>
                  <a:pt x="683" y="20"/>
                </a:lnTo>
                <a:lnTo>
                  <a:pt x="703" y="0"/>
                </a:lnTo>
                <a:lnTo>
                  <a:pt x="752" y="10"/>
                </a:lnTo>
                <a:lnTo>
                  <a:pt x="752" y="20"/>
                </a:lnTo>
                <a:lnTo>
                  <a:pt x="742" y="20"/>
                </a:lnTo>
                <a:lnTo>
                  <a:pt x="732" y="29"/>
                </a:lnTo>
                <a:lnTo>
                  <a:pt x="722" y="39"/>
                </a:lnTo>
                <a:lnTo>
                  <a:pt x="722" y="49"/>
                </a:lnTo>
                <a:lnTo>
                  <a:pt x="742" y="59"/>
                </a:lnTo>
                <a:lnTo>
                  <a:pt x="771" y="59"/>
                </a:lnTo>
                <a:lnTo>
                  <a:pt x="791" y="68"/>
                </a:lnTo>
                <a:lnTo>
                  <a:pt x="800" y="88"/>
                </a:lnTo>
                <a:lnTo>
                  <a:pt x="820" y="127"/>
                </a:lnTo>
                <a:lnTo>
                  <a:pt x="810" y="146"/>
                </a:lnTo>
                <a:lnTo>
                  <a:pt x="800" y="156"/>
                </a:lnTo>
                <a:lnTo>
                  <a:pt x="810" y="176"/>
                </a:lnTo>
                <a:lnTo>
                  <a:pt x="830" y="176"/>
                </a:lnTo>
                <a:lnTo>
                  <a:pt x="839" y="176"/>
                </a:lnTo>
                <a:lnTo>
                  <a:pt x="839" y="224"/>
                </a:lnTo>
                <a:lnTo>
                  <a:pt x="839" y="234"/>
                </a:lnTo>
                <a:lnTo>
                  <a:pt x="839" y="254"/>
                </a:lnTo>
                <a:lnTo>
                  <a:pt x="839" y="263"/>
                </a:lnTo>
                <a:lnTo>
                  <a:pt x="849" y="263"/>
                </a:lnTo>
                <a:lnTo>
                  <a:pt x="849" y="273"/>
                </a:lnTo>
                <a:lnTo>
                  <a:pt x="849" y="293"/>
                </a:lnTo>
                <a:lnTo>
                  <a:pt x="859" y="303"/>
                </a:lnTo>
                <a:lnTo>
                  <a:pt x="888" y="312"/>
                </a:lnTo>
                <a:lnTo>
                  <a:pt x="898" y="322"/>
                </a:lnTo>
                <a:lnTo>
                  <a:pt x="898" y="332"/>
                </a:lnTo>
                <a:lnTo>
                  <a:pt x="898" y="342"/>
                </a:lnTo>
                <a:lnTo>
                  <a:pt x="888" y="351"/>
                </a:lnTo>
                <a:lnTo>
                  <a:pt x="898" y="361"/>
                </a:lnTo>
                <a:lnTo>
                  <a:pt x="898" y="371"/>
                </a:lnTo>
                <a:lnTo>
                  <a:pt x="878" y="371"/>
                </a:lnTo>
                <a:lnTo>
                  <a:pt x="869" y="429"/>
                </a:lnTo>
                <a:lnTo>
                  <a:pt x="869" y="478"/>
                </a:lnTo>
                <a:lnTo>
                  <a:pt x="859" y="507"/>
                </a:lnTo>
                <a:lnTo>
                  <a:pt x="859" y="527"/>
                </a:lnTo>
                <a:lnTo>
                  <a:pt x="869" y="537"/>
                </a:lnTo>
                <a:lnTo>
                  <a:pt x="888" y="556"/>
                </a:lnTo>
                <a:lnTo>
                  <a:pt x="917" y="556"/>
                </a:lnTo>
                <a:lnTo>
                  <a:pt x="927" y="546"/>
                </a:lnTo>
                <a:lnTo>
                  <a:pt x="937" y="537"/>
                </a:lnTo>
                <a:lnTo>
                  <a:pt x="956" y="537"/>
                </a:lnTo>
                <a:lnTo>
                  <a:pt x="976" y="527"/>
                </a:lnTo>
                <a:lnTo>
                  <a:pt x="995" y="517"/>
                </a:lnTo>
                <a:lnTo>
                  <a:pt x="1015" y="498"/>
                </a:lnTo>
                <a:lnTo>
                  <a:pt x="1034" y="468"/>
                </a:lnTo>
                <a:lnTo>
                  <a:pt x="1044" y="488"/>
                </a:lnTo>
                <a:lnTo>
                  <a:pt x="1054" y="488"/>
                </a:lnTo>
                <a:lnTo>
                  <a:pt x="1054" y="517"/>
                </a:lnTo>
                <a:lnTo>
                  <a:pt x="1054" y="537"/>
                </a:lnTo>
                <a:lnTo>
                  <a:pt x="1064" y="546"/>
                </a:lnTo>
                <a:lnTo>
                  <a:pt x="1073" y="527"/>
                </a:lnTo>
                <a:lnTo>
                  <a:pt x="1083" y="517"/>
                </a:lnTo>
                <a:lnTo>
                  <a:pt x="1103" y="507"/>
                </a:lnTo>
                <a:lnTo>
                  <a:pt x="1103" y="468"/>
                </a:lnTo>
                <a:lnTo>
                  <a:pt x="1112" y="459"/>
                </a:lnTo>
                <a:lnTo>
                  <a:pt x="1142" y="429"/>
                </a:lnTo>
                <a:lnTo>
                  <a:pt x="1151" y="381"/>
                </a:lnTo>
                <a:lnTo>
                  <a:pt x="1171" y="361"/>
                </a:lnTo>
                <a:lnTo>
                  <a:pt x="1171" y="342"/>
                </a:lnTo>
                <a:lnTo>
                  <a:pt x="1200" y="322"/>
                </a:lnTo>
                <a:lnTo>
                  <a:pt x="1229" y="332"/>
                </a:lnTo>
                <a:lnTo>
                  <a:pt x="1259" y="342"/>
                </a:lnTo>
                <a:lnTo>
                  <a:pt x="1288" y="351"/>
                </a:lnTo>
                <a:lnTo>
                  <a:pt x="1288" y="361"/>
                </a:lnTo>
                <a:lnTo>
                  <a:pt x="1288" y="381"/>
                </a:lnTo>
                <a:lnTo>
                  <a:pt x="1288" y="400"/>
                </a:lnTo>
                <a:lnTo>
                  <a:pt x="1298" y="420"/>
                </a:lnTo>
                <a:lnTo>
                  <a:pt x="1317" y="410"/>
                </a:lnTo>
                <a:lnTo>
                  <a:pt x="1317" y="400"/>
                </a:lnTo>
                <a:lnTo>
                  <a:pt x="1337" y="410"/>
                </a:lnTo>
                <a:lnTo>
                  <a:pt x="1347" y="400"/>
                </a:lnTo>
                <a:lnTo>
                  <a:pt x="1347" y="390"/>
                </a:lnTo>
                <a:lnTo>
                  <a:pt x="1376" y="410"/>
                </a:lnTo>
                <a:lnTo>
                  <a:pt x="1386" y="400"/>
                </a:lnTo>
                <a:lnTo>
                  <a:pt x="1395" y="410"/>
                </a:lnTo>
                <a:lnTo>
                  <a:pt x="1395" y="429"/>
                </a:lnTo>
                <a:lnTo>
                  <a:pt x="1415" y="429"/>
                </a:lnTo>
                <a:lnTo>
                  <a:pt x="1415" y="449"/>
                </a:lnTo>
                <a:lnTo>
                  <a:pt x="1415" y="468"/>
                </a:lnTo>
                <a:lnTo>
                  <a:pt x="1415" y="488"/>
                </a:lnTo>
                <a:lnTo>
                  <a:pt x="1434" y="488"/>
                </a:lnTo>
                <a:lnTo>
                  <a:pt x="1444" y="498"/>
                </a:lnTo>
                <a:lnTo>
                  <a:pt x="1434" y="527"/>
                </a:lnTo>
                <a:lnTo>
                  <a:pt x="1434" y="537"/>
                </a:lnTo>
                <a:lnTo>
                  <a:pt x="1405" y="527"/>
                </a:lnTo>
                <a:lnTo>
                  <a:pt x="1386" y="527"/>
                </a:lnTo>
                <a:lnTo>
                  <a:pt x="1376" y="527"/>
                </a:lnTo>
                <a:lnTo>
                  <a:pt x="1356" y="537"/>
                </a:lnTo>
                <a:lnTo>
                  <a:pt x="1356" y="546"/>
                </a:lnTo>
                <a:lnTo>
                  <a:pt x="1366" y="556"/>
                </a:lnTo>
                <a:lnTo>
                  <a:pt x="1356" y="566"/>
                </a:lnTo>
                <a:lnTo>
                  <a:pt x="1356" y="595"/>
                </a:lnTo>
                <a:lnTo>
                  <a:pt x="1347" y="605"/>
                </a:lnTo>
                <a:lnTo>
                  <a:pt x="1347" y="624"/>
                </a:lnTo>
                <a:lnTo>
                  <a:pt x="1366" y="624"/>
                </a:lnTo>
                <a:lnTo>
                  <a:pt x="1366" y="634"/>
                </a:lnTo>
                <a:lnTo>
                  <a:pt x="1356" y="644"/>
                </a:lnTo>
                <a:lnTo>
                  <a:pt x="1376" y="664"/>
                </a:lnTo>
                <a:lnTo>
                  <a:pt x="1376" y="654"/>
                </a:lnTo>
                <a:lnTo>
                  <a:pt x="1395" y="654"/>
                </a:lnTo>
                <a:lnTo>
                  <a:pt x="1395" y="664"/>
                </a:lnTo>
                <a:lnTo>
                  <a:pt x="1386" y="673"/>
                </a:lnTo>
                <a:lnTo>
                  <a:pt x="1395" y="683"/>
                </a:lnTo>
                <a:lnTo>
                  <a:pt x="1395" y="693"/>
                </a:lnTo>
                <a:lnTo>
                  <a:pt x="1386" y="703"/>
                </a:lnTo>
                <a:lnTo>
                  <a:pt x="1376" y="703"/>
                </a:lnTo>
                <a:lnTo>
                  <a:pt x="1366" y="712"/>
                </a:lnTo>
                <a:lnTo>
                  <a:pt x="1356" y="722"/>
                </a:lnTo>
                <a:lnTo>
                  <a:pt x="1298" y="712"/>
                </a:lnTo>
                <a:lnTo>
                  <a:pt x="1308" y="703"/>
                </a:lnTo>
                <a:lnTo>
                  <a:pt x="1308" y="693"/>
                </a:lnTo>
                <a:lnTo>
                  <a:pt x="1308" y="673"/>
                </a:lnTo>
                <a:lnTo>
                  <a:pt x="1288" y="673"/>
                </a:lnTo>
                <a:lnTo>
                  <a:pt x="1288" y="683"/>
                </a:lnTo>
                <a:lnTo>
                  <a:pt x="1278" y="703"/>
                </a:lnTo>
                <a:lnTo>
                  <a:pt x="1259" y="703"/>
                </a:lnTo>
                <a:lnTo>
                  <a:pt x="1239" y="712"/>
                </a:lnTo>
                <a:lnTo>
                  <a:pt x="1239" y="732"/>
                </a:lnTo>
                <a:lnTo>
                  <a:pt x="1239" y="751"/>
                </a:lnTo>
                <a:lnTo>
                  <a:pt x="1190" y="790"/>
                </a:lnTo>
                <a:lnTo>
                  <a:pt x="1151" y="790"/>
                </a:lnTo>
                <a:lnTo>
                  <a:pt x="1112" y="790"/>
                </a:lnTo>
                <a:lnTo>
                  <a:pt x="1103" y="781"/>
                </a:lnTo>
                <a:lnTo>
                  <a:pt x="1103" y="771"/>
                </a:lnTo>
                <a:lnTo>
                  <a:pt x="1093" y="761"/>
                </a:lnTo>
                <a:lnTo>
                  <a:pt x="1083" y="771"/>
                </a:lnTo>
                <a:lnTo>
                  <a:pt x="1064" y="771"/>
                </a:lnTo>
                <a:lnTo>
                  <a:pt x="1044" y="761"/>
                </a:lnTo>
                <a:lnTo>
                  <a:pt x="1034" y="761"/>
                </a:lnTo>
                <a:lnTo>
                  <a:pt x="1025" y="781"/>
                </a:lnTo>
                <a:lnTo>
                  <a:pt x="1005" y="790"/>
                </a:lnTo>
                <a:lnTo>
                  <a:pt x="976" y="790"/>
                </a:lnTo>
                <a:lnTo>
                  <a:pt x="956" y="781"/>
                </a:lnTo>
                <a:lnTo>
                  <a:pt x="937" y="790"/>
                </a:lnTo>
                <a:lnTo>
                  <a:pt x="927" y="810"/>
                </a:lnTo>
                <a:lnTo>
                  <a:pt x="908" y="810"/>
                </a:lnTo>
                <a:lnTo>
                  <a:pt x="898" y="820"/>
                </a:lnTo>
                <a:lnTo>
                  <a:pt x="878" y="839"/>
                </a:lnTo>
                <a:lnTo>
                  <a:pt x="859" y="859"/>
                </a:lnTo>
                <a:lnTo>
                  <a:pt x="859" y="878"/>
                </a:lnTo>
                <a:lnTo>
                  <a:pt x="888" y="878"/>
                </a:lnTo>
                <a:lnTo>
                  <a:pt x="888" y="898"/>
                </a:lnTo>
                <a:lnTo>
                  <a:pt x="898" y="898"/>
                </a:lnTo>
                <a:lnTo>
                  <a:pt x="898" y="907"/>
                </a:lnTo>
                <a:lnTo>
                  <a:pt x="888" y="917"/>
                </a:lnTo>
                <a:lnTo>
                  <a:pt x="888" y="956"/>
                </a:lnTo>
                <a:lnTo>
                  <a:pt x="898" y="985"/>
                </a:lnTo>
                <a:lnTo>
                  <a:pt x="898" y="1015"/>
                </a:lnTo>
                <a:lnTo>
                  <a:pt x="898" y="1054"/>
                </a:lnTo>
                <a:lnTo>
                  <a:pt x="937" y="1073"/>
                </a:lnTo>
                <a:lnTo>
                  <a:pt x="908" y="1132"/>
                </a:lnTo>
                <a:lnTo>
                  <a:pt x="898" y="1181"/>
                </a:lnTo>
                <a:lnTo>
                  <a:pt x="898" y="1200"/>
                </a:lnTo>
                <a:lnTo>
                  <a:pt x="878" y="1229"/>
                </a:lnTo>
                <a:lnTo>
                  <a:pt x="849" y="1259"/>
                </a:lnTo>
                <a:lnTo>
                  <a:pt x="810" y="1278"/>
                </a:lnTo>
                <a:lnTo>
                  <a:pt x="771" y="1317"/>
                </a:lnTo>
                <a:lnTo>
                  <a:pt x="752" y="1337"/>
                </a:lnTo>
                <a:lnTo>
                  <a:pt x="693" y="1288"/>
                </a:lnTo>
                <a:lnTo>
                  <a:pt x="693" y="1259"/>
                </a:lnTo>
                <a:lnTo>
                  <a:pt x="732" y="1229"/>
                </a:lnTo>
                <a:lnTo>
                  <a:pt x="703" y="1220"/>
                </a:lnTo>
                <a:lnTo>
                  <a:pt x="693" y="1190"/>
                </a:lnTo>
                <a:lnTo>
                  <a:pt x="683" y="1190"/>
                </a:lnTo>
                <a:lnTo>
                  <a:pt x="683" y="1210"/>
                </a:lnTo>
                <a:lnTo>
                  <a:pt x="664" y="1210"/>
                </a:lnTo>
                <a:lnTo>
                  <a:pt x="634" y="1229"/>
                </a:lnTo>
                <a:lnTo>
                  <a:pt x="605" y="1210"/>
                </a:lnTo>
                <a:lnTo>
                  <a:pt x="595" y="1161"/>
                </a:lnTo>
                <a:lnTo>
                  <a:pt x="576" y="1161"/>
                </a:lnTo>
                <a:lnTo>
                  <a:pt x="556" y="1171"/>
                </a:lnTo>
                <a:lnTo>
                  <a:pt x="537" y="1190"/>
                </a:lnTo>
                <a:lnTo>
                  <a:pt x="498" y="1171"/>
                </a:lnTo>
                <a:lnTo>
                  <a:pt x="478" y="1171"/>
                </a:lnTo>
                <a:lnTo>
                  <a:pt x="469" y="1190"/>
                </a:lnTo>
                <a:lnTo>
                  <a:pt x="488" y="1210"/>
                </a:lnTo>
                <a:lnTo>
                  <a:pt x="498" y="1229"/>
                </a:lnTo>
                <a:lnTo>
                  <a:pt x="478" y="1229"/>
                </a:lnTo>
                <a:lnTo>
                  <a:pt x="459" y="1239"/>
                </a:lnTo>
                <a:lnTo>
                  <a:pt x="459" y="1259"/>
                </a:lnTo>
                <a:lnTo>
                  <a:pt x="488" y="1268"/>
                </a:lnTo>
                <a:lnTo>
                  <a:pt x="517" y="1259"/>
                </a:lnTo>
                <a:lnTo>
                  <a:pt x="547" y="1239"/>
                </a:lnTo>
                <a:lnTo>
                  <a:pt x="547" y="1268"/>
                </a:lnTo>
                <a:lnTo>
                  <a:pt x="566" y="1278"/>
                </a:lnTo>
                <a:lnTo>
                  <a:pt x="586" y="1259"/>
                </a:lnTo>
                <a:lnTo>
                  <a:pt x="605" y="1259"/>
                </a:lnTo>
                <a:lnTo>
                  <a:pt x="605" y="1288"/>
                </a:lnTo>
                <a:lnTo>
                  <a:pt x="644" y="1327"/>
                </a:lnTo>
                <a:lnTo>
                  <a:pt x="693" y="1288"/>
                </a:lnTo>
                <a:lnTo>
                  <a:pt x="752" y="1337"/>
                </a:lnTo>
                <a:lnTo>
                  <a:pt x="732" y="1376"/>
                </a:lnTo>
                <a:lnTo>
                  <a:pt x="703" y="1405"/>
                </a:lnTo>
                <a:lnTo>
                  <a:pt x="664" y="1415"/>
                </a:lnTo>
                <a:lnTo>
                  <a:pt x="625" y="1425"/>
                </a:lnTo>
                <a:lnTo>
                  <a:pt x="625" y="1444"/>
                </a:lnTo>
                <a:lnTo>
                  <a:pt x="605" y="1454"/>
                </a:lnTo>
                <a:lnTo>
                  <a:pt x="595" y="1464"/>
                </a:lnTo>
                <a:lnTo>
                  <a:pt x="586" y="1464"/>
                </a:lnTo>
                <a:lnTo>
                  <a:pt x="586" y="1454"/>
                </a:lnTo>
                <a:lnTo>
                  <a:pt x="586" y="1444"/>
                </a:lnTo>
                <a:lnTo>
                  <a:pt x="556" y="1434"/>
                </a:lnTo>
                <a:lnTo>
                  <a:pt x="537" y="1434"/>
                </a:lnTo>
                <a:lnTo>
                  <a:pt x="537" y="1415"/>
                </a:lnTo>
                <a:lnTo>
                  <a:pt x="537" y="1405"/>
                </a:lnTo>
                <a:lnTo>
                  <a:pt x="517" y="1395"/>
                </a:lnTo>
                <a:lnTo>
                  <a:pt x="498" y="1386"/>
                </a:lnTo>
                <a:lnTo>
                  <a:pt x="488" y="1376"/>
                </a:lnTo>
                <a:lnTo>
                  <a:pt x="488" y="1366"/>
                </a:lnTo>
                <a:lnTo>
                  <a:pt x="469" y="1366"/>
                </a:lnTo>
                <a:lnTo>
                  <a:pt x="449" y="1366"/>
                </a:lnTo>
                <a:lnTo>
                  <a:pt x="449" y="1356"/>
                </a:lnTo>
                <a:lnTo>
                  <a:pt x="430" y="1346"/>
                </a:lnTo>
                <a:lnTo>
                  <a:pt x="400" y="1317"/>
                </a:lnTo>
                <a:lnTo>
                  <a:pt x="371" y="1298"/>
                </a:lnTo>
                <a:lnTo>
                  <a:pt x="361" y="1288"/>
                </a:lnTo>
                <a:lnTo>
                  <a:pt x="342" y="1288"/>
                </a:lnTo>
                <a:lnTo>
                  <a:pt x="342" y="1268"/>
                </a:lnTo>
                <a:lnTo>
                  <a:pt x="342" y="1259"/>
                </a:lnTo>
                <a:lnTo>
                  <a:pt x="322" y="1239"/>
                </a:lnTo>
                <a:lnTo>
                  <a:pt x="303" y="1239"/>
                </a:lnTo>
                <a:lnTo>
                  <a:pt x="293" y="1259"/>
                </a:lnTo>
                <a:lnTo>
                  <a:pt x="283" y="1259"/>
                </a:lnTo>
                <a:lnTo>
                  <a:pt x="264" y="1268"/>
                </a:lnTo>
                <a:lnTo>
                  <a:pt x="244" y="1288"/>
                </a:lnTo>
                <a:lnTo>
                  <a:pt x="235" y="1268"/>
                </a:lnTo>
                <a:lnTo>
                  <a:pt x="215" y="1268"/>
                </a:lnTo>
                <a:lnTo>
                  <a:pt x="205" y="1268"/>
                </a:lnTo>
                <a:lnTo>
                  <a:pt x="196" y="1268"/>
                </a:lnTo>
                <a:lnTo>
                  <a:pt x="186" y="1278"/>
                </a:lnTo>
                <a:lnTo>
                  <a:pt x="176" y="1259"/>
                </a:lnTo>
                <a:lnTo>
                  <a:pt x="166" y="1259"/>
                </a:lnTo>
                <a:lnTo>
                  <a:pt x="147" y="1239"/>
                </a:lnTo>
                <a:lnTo>
                  <a:pt x="127" y="1229"/>
                </a:lnTo>
                <a:lnTo>
                  <a:pt x="118" y="1220"/>
                </a:lnTo>
                <a:lnTo>
                  <a:pt x="108" y="1210"/>
                </a:lnTo>
                <a:lnTo>
                  <a:pt x="98" y="1190"/>
                </a:lnTo>
                <a:lnTo>
                  <a:pt x="69" y="1200"/>
                </a:lnTo>
                <a:close/>
              </a:path>
            </a:pathLst>
          </a:custGeom>
          <a:solidFill>
            <a:srgbClr val="CCFFCC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513" name="Freeform 313"/>
          <p:cNvSpPr>
            <a:spLocks noChangeAspect="1"/>
          </p:cNvSpPr>
          <p:nvPr>
            <p:custDataLst>
              <p:tags r:id="rId79"/>
            </p:custDataLst>
          </p:nvPr>
        </p:nvSpPr>
        <p:spPr bwMode="auto">
          <a:xfrm>
            <a:off x="5178425" y="4886325"/>
            <a:ext cx="808038" cy="577850"/>
          </a:xfrm>
          <a:custGeom>
            <a:avLst/>
            <a:gdLst>
              <a:gd name="T0" fmla="*/ 456107 w 1210"/>
              <a:gd name="T1" fmla="*/ 145865 h 927"/>
              <a:gd name="T2" fmla="*/ 430063 w 1210"/>
              <a:gd name="T3" fmla="*/ 127788 h 927"/>
              <a:gd name="T4" fmla="*/ 462785 w 1210"/>
              <a:gd name="T5" fmla="*/ 85400 h 927"/>
              <a:gd name="T6" fmla="*/ 508196 w 1210"/>
              <a:gd name="T7" fmla="*/ 72933 h 927"/>
              <a:gd name="T8" fmla="*/ 553606 w 1210"/>
              <a:gd name="T9" fmla="*/ 54855 h 927"/>
              <a:gd name="T10" fmla="*/ 593006 w 1210"/>
              <a:gd name="T11" fmla="*/ 61089 h 927"/>
              <a:gd name="T12" fmla="*/ 651105 w 1210"/>
              <a:gd name="T13" fmla="*/ 72933 h 927"/>
              <a:gd name="T14" fmla="*/ 697183 w 1210"/>
              <a:gd name="T15" fmla="*/ 18701 h 927"/>
              <a:gd name="T16" fmla="*/ 729905 w 1210"/>
              <a:gd name="T17" fmla="*/ 0 h 927"/>
              <a:gd name="T18" fmla="*/ 716549 w 1210"/>
              <a:gd name="T19" fmla="*/ 43011 h 927"/>
              <a:gd name="T20" fmla="*/ 735916 w 1210"/>
              <a:gd name="T21" fmla="*/ 79166 h 927"/>
              <a:gd name="T22" fmla="*/ 755950 w 1210"/>
              <a:gd name="T23" fmla="*/ 115944 h 927"/>
              <a:gd name="T24" fmla="*/ 788004 w 1210"/>
              <a:gd name="T25" fmla="*/ 140255 h 927"/>
              <a:gd name="T26" fmla="*/ 801360 w 1210"/>
              <a:gd name="T27" fmla="*/ 188877 h 927"/>
              <a:gd name="T28" fmla="*/ 761960 w 1210"/>
              <a:gd name="T29" fmla="*/ 200720 h 927"/>
              <a:gd name="T30" fmla="*/ 729905 w 1210"/>
              <a:gd name="T31" fmla="*/ 243732 h 927"/>
              <a:gd name="T32" fmla="*/ 709871 w 1210"/>
              <a:gd name="T33" fmla="*/ 261809 h 927"/>
              <a:gd name="T34" fmla="*/ 690505 w 1210"/>
              <a:gd name="T35" fmla="*/ 292353 h 927"/>
              <a:gd name="T36" fmla="*/ 716549 w 1210"/>
              <a:gd name="T37" fmla="*/ 334742 h 927"/>
              <a:gd name="T38" fmla="*/ 671139 w 1210"/>
              <a:gd name="T39" fmla="*/ 365286 h 927"/>
              <a:gd name="T40" fmla="*/ 625061 w 1210"/>
              <a:gd name="T41" fmla="*/ 395207 h 927"/>
              <a:gd name="T42" fmla="*/ 566962 w 1210"/>
              <a:gd name="T43" fmla="*/ 444452 h 927"/>
              <a:gd name="T44" fmla="*/ 514874 w 1210"/>
              <a:gd name="T45" fmla="*/ 456296 h 927"/>
              <a:gd name="T46" fmla="*/ 475474 w 1210"/>
              <a:gd name="T47" fmla="*/ 474373 h 927"/>
              <a:gd name="T48" fmla="*/ 475474 w 1210"/>
              <a:gd name="T49" fmla="*/ 486840 h 927"/>
              <a:gd name="T50" fmla="*/ 488830 w 1210"/>
              <a:gd name="T51" fmla="*/ 535462 h 927"/>
              <a:gd name="T52" fmla="*/ 442751 w 1210"/>
              <a:gd name="T53" fmla="*/ 577850 h 927"/>
              <a:gd name="T54" fmla="*/ 384653 w 1210"/>
              <a:gd name="T55" fmla="*/ 553539 h 927"/>
              <a:gd name="T56" fmla="*/ 351931 w 1210"/>
              <a:gd name="T57" fmla="*/ 547306 h 927"/>
              <a:gd name="T58" fmla="*/ 260442 w 1210"/>
              <a:gd name="T59" fmla="*/ 571616 h 927"/>
              <a:gd name="T60" fmla="*/ 182309 w 1210"/>
              <a:gd name="T61" fmla="*/ 547306 h 927"/>
              <a:gd name="T62" fmla="*/ 162943 w 1210"/>
              <a:gd name="T63" fmla="*/ 486840 h 927"/>
              <a:gd name="T64" fmla="*/ 84811 w 1210"/>
              <a:gd name="T65" fmla="*/ 468763 h 927"/>
              <a:gd name="T66" fmla="*/ 39400 w 1210"/>
              <a:gd name="T67" fmla="*/ 450062 h 927"/>
              <a:gd name="T68" fmla="*/ 0 w 1210"/>
              <a:gd name="T69" fmla="*/ 425751 h 927"/>
              <a:gd name="T70" fmla="*/ 0 w 1210"/>
              <a:gd name="T71" fmla="*/ 389597 h 927"/>
              <a:gd name="T72" fmla="*/ 32722 w 1210"/>
              <a:gd name="T73" fmla="*/ 370896 h 927"/>
              <a:gd name="T74" fmla="*/ 71455 w 1210"/>
              <a:gd name="T75" fmla="*/ 352819 h 927"/>
              <a:gd name="T76" fmla="*/ 97499 w 1210"/>
              <a:gd name="T77" fmla="*/ 377130 h 927"/>
              <a:gd name="T78" fmla="*/ 156265 w 1210"/>
              <a:gd name="T79" fmla="*/ 425751 h 927"/>
              <a:gd name="T80" fmla="*/ 182309 w 1210"/>
              <a:gd name="T81" fmla="*/ 425751 h 927"/>
              <a:gd name="T82" fmla="*/ 215032 w 1210"/>
              <a:gd name="T83" fmla="*/ 450062 h 927"/>
              <a:gd name="T84" fmla="*/ 247754 w 1210"/>
              <a:gd name="T85" fmla="*/ 474373 h 927"/>
              <a:gd name="T86" fmla="*/ 260442 w 1210"/>
              <a:gd name="T87" fmla="*/ 480607 h 927"/>
              <a:gd name="T88" fmla="*/ 325886 w 1210"/>
              <a:gd name="T89" fmla="*/ 456296 h 927"/>
              <a:gd name="T90" fmla="*/ 397341 w 1210"/>
              <a:gd name="T91" fmla="*/ 377130 h 927"/>
              <a:gd name="T92" fmla="*/ 449429 w 1210"/>
              <a:gd name="T93" fmla="*/ 316664 h 927"/>
              <a:gd name="T94" fmla="*/ 449429 w 1210"/>
              <a:gd name="T95" fmla="*/ 213187 h 927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1210"/>
              <a:gd name="T145" fmla="*/ 0 h 927"/>
              <a:gd name="T146" fmla="*/ 1210 w 1210"/>
              <a:gd name="T147" fmla="*/ 927 h 927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1210" h="927">
                <a:moveTo>
                  <a:pt x="673" y="312"/>
                </a:moveTo>
                <a:lnTo>
                  <a:pt x="673" y="283"/>
                </a:lnTo>
                <a:lnTo>
                  <a:pt x="673" y="244"/>
                </a:lnTo>
                <a:lnTo>
                  <a:pt x="683" y="234"/>
                </a:lnTo>
                <a:lnTo>
                  <a:pt x="683" y="225"/>
                </a:lnTo>
                <a:lnTo>
                  <a:pt x="673" y="225"/>
                </a:lnTo>
                <a:lnTo>
                  <a:pt x="673" y="205"/>
                </a:lnTo>
                <a:lnTo>
                  <a:pt x="644" y="205"/>
                </a:lnTo>
                <a:lnTo>
                  <a:pt x="644" y="186"/>
                </a:lnTo>
                <a:lnTo>
                  <a:pt x="663" y="166"/>
                </a:lnTo>
                <a:lnTo>
                  <a:pt x="683" y="147"/>
                </a:lnTo>
                <a:lnTo>
                  <a:pt x="693" y="137"/>
                </a:lnTo>
                <a:lnTo>
                  <a:pt x="712" y="137"/>
                </a:lnTo>
                <a:lnTo>
                  <a:pt x="722" y="117"/>
                </a:lnTo>
                <a:lnTo>
                  <a:pt x="741" y="108"/>
                </a:lnTo>
                <a:lnTo>
                  <a:pt x="761" y="117"/>
                </a:lnTo>
                <a:lnTo>
                  <a:pt x="790" y="117"/>
                </a:lnTo>
                <a:lnTo>
                  <a:pt x="810" y="108"/>
                </a:lnTo>
                <a:lnTo>
                  <a:pt x="819" y="88"/>
                </a:lnTo>
                <a:lnTo>
                  <a:pt x="829" y="88"/>
                </a:lnTo>
                <a:lnTo>
                  <a:pt x="849" y="98"/>
                </a:lnTo>
                <a:lnTo>
                  <a:pt x="868" y="98"/>
                </a:lnTo>
                <a:lnTo>
                  <a:pt x="878" y="88"/>
                </a:lnTo>
                <a:lnTo>
                  <a:pt x="888" y="98"/>
                </a:lnTo>
                <a:lnTo>
                  <a:pt x="888" y="108"/>
                </a:lnTo>
                <a:lnTo>
                  <a:pt x="897" y="117"/>
                </a:lnTo>
                <a:lnTo>
                  <a:pt x="936" y="117"/>
                </a:lnTo>
                <a:lnTo>
                  <a:pt x="975" y="117"/>
                </a:lnTo>
                <a:lnTo>
                  <a:pt x="1024" y="78"/>
                </a:lnTo>
                <a:lnTo>
                  <a:pt x="1024" y="59"/>
                </a:lnTo>
                <a:lnTo>
                  <a:pt x="1024" y="39"/>
                </a:lnTo>
                <a:lnTo>
                  <a:pt x="1044" y="30"/>
                </a:lnTo>
                <a:lnTo>
                  <a:pt x="1063" y="30"/>
                </a:lnTo>
                <a:lnTo>
                  <a:pt x="1063" y="10"/>
                </a:lnTo>
                <a:lnTo>
                  <a:pt x="1073" y="0"/>
                </a:lnTo>
                <a:lnTo>
                  <a:pt x="1093" y="0"/>
                </a:lnTo>
                <a:lnTo>
                  <a:pt x="1093" y="20"/>
                </a:lnTo>
                <a:lnTo>
                  <a:pt x="1093" y="30"/>
                </a:lnTo>
                <a:lnTo>
                  <a:pt x="1083" y="39"/>
                </a:lnTo>
                <a:lnTo>
                  <a:pt x="1073" y="69"/>
                </a:lnTo>
                <a:lnTo>
                  <a:pt x="1073" y="78"/>
                </a:lnTo>
                <a:lnTo>
                  <a:pt x="1093" y="98"/>
                </a:lnTo>
                <a:lnTo>
                  <a:pt x="1093" y="127"/>
                </a:lnTo>
                <a:lnTo>
                  <a:pt x="1102" y="127"/>
                </a:lnTo>
                <a:lnTo>
                  <a:pt x="1112" y="147"/>
                </a:lnTo>
                <a:lnTo>
                  <a:pt x="1122" y="156"/>
                </a:lnTo>
                <a:lnTo>
                  <a:pt x="1122" y="176"/>
                </a:lnTo>
                <a:lnTo>
                  <a:pt x="1132" y="186"/>
                </a:lnTo>
                <a:lnTo>
                  <a:pt x="1132" y="205"/>
                </a:lnTo>
                <a:lnTo>
                  <a:pt x="1151" y="215"/>
                </a:lnTo>
                <a:lnTo>
                  <a:pt x="1171" y="215"/>
                </a:lnTo>
                <a:lnTo>
                  <a:pt x="1180" y="225"/>
                </a:lnTo>
                <a:lnTo>
                  <a:pt x="1210" y="234"/>
                </a:lnTo>
                <a:lnTo>
                  <a:pt x="1210" y="254"/>
                </a:lnTo>
                <a:lnTo>
                  <a:pt x="1210" y="293"/>
                </a:lnTo>
                <a:lnTo>
                  <a:pt x="1200" y="303"/>
                </a:lnTo>
                <a:lnTo>
                  <a:pt x="1190" y="303"/>
                </a:lnTo>
                <a:lnTo>
                  <a:pt x="1171" y="312"/>
                </a:lnTo>
                <a:lnTo>
                  <a:pt x="1151" y="312"/>
                </a:lnTo>
                <a:lnTo>
                  <a:pt x="1141" y="322"/>
                </a:lnTo>
                <a:lnTo>
                  <a:pt x="1132" y="342"/>
                </a:lnTo>
                <a:lnTo>
                  <a:pt x="1122" y="352"/>
                </a:lnTo>
                <a:lnTo>
                  <a:pt x="1112" y="381"/>
                </a:lnTo>
                <a:lnTo>
                  <a:pt x="1093" y="391"/>
                </a:lnTo>
                <a:lnTo>
                  <a:pt x="1083" y="400"/>
                </a:lnTo>
                <a:lnTo>
                  <a:pt x="1083" y="410"/>
                </a:lnTo>
                <a:lnTo>
                  <a:pt x="1073" y="410"/>
                </a:lnTo>
                <a:lnTo>
                  <a:pt x="1063" y="420"/>
                </a:lnTo>
                <a:lnTo>
                  <a:pt x="1054" y="420"/>
                </a:lnTo>
                <a:lnTo>
                  <a:pt x="1054" y="430"/>
                </a:lnTo>
                <a:lnTo>
                  <a:pt x="1034" y="449"/>
                </a:lnTo>
                <a:lnTo>
                  <a:pt x="1034" y="469"/>
                </a:lnTo>
                <a:lnTo>
                  <a:pt x="1054" y="478"/>
                </a:lnTo>
                <a:lnTo>
                  <a:pt x="1063" y="488"/>
                </a:lnTo>
                <a:lnTo>
                  <a:pt x="1073" y="498"/>
                </a:lnTo>
                <a:lnTo>
                  <a:pt x="1073" y="537"/>
                </a:lnTo>
                <a:lnTo>
                  <a:pt x="1063" y="547"/>
                </a:lnTo>
                <a:lnTo>
                  <a:pt x="1044" y="566"/>
                </a:lnTo>
                <a:lnTo>
                  <a:pt x="1024" y="566"/>
                </a:lnTo>
                <a:lnTo>
                  <a:pt x="1005" y="586"/>
                </a:lnTo>
                <a:lnTo>
                  <a:pt x="975" y="595"/>
                </a:lnTo>
                <a:lnTo>
                  <a:pt x="975" y="615"/>
                </a:lnTo>
                <a:lnTo>
                  <a:pt x="956" y="615"/>
                </a:lnTo>
                <a:lnTo>
                  <a:pt x="936" y="634"/>
                </a:lnTo>
                <a:lnTo>
                  <a:pt x="907" y="654"/>
                </a:lnTo>
                <a:lnTo>
                  <a:pt x="868" y="693"/>
                </a:lnTo>
                <a:lnTo>
                  <a:pt x="868" y="703"/>
                </a:lnTo>
                <a:lnTo>
                  <a:pt x="849" y="713"/>
                </a:lnTo>
                <a:lnTo>
                  <a:pt x="839" y="703"/>
                </a:lnTo>
                <a:lnTo>
                  <a:pt x="819" y="703"/>
                </a:lnTo>
                <a:lnTo>
                  <a:pt x="790" y="722"/>
                </a:lnTo>
                <a:lnTo>
                  <a:pt x="771" y="732"/>
                </a:lnTo>
                <a:lnTo>
                  <a:pt x="761" y="722"/>
                </a:lnTo>
                <a:lnTo>
                  <a:pt x="722" y="732"/>
                </a:lnTo>
                <a:lnTo>
                  <a:pt x="712" y="752"/>
                </a:lnTo>
                <a:lnTo>
                  <a:pt x="712" y="761"/>
                </a:lnTo>
                <a:lnTo>
                  <a:pt x="722" y="771"/>
                </a:lnTo>
                <a:lnTo>
                  <a:pt x="722" y="781"/>
                </a:lnTo>
                <a:lnTo>
                  <a:pt x="712" y="781"/>
                </a:lnTo>
                <a:lnTo>
                  <a:pt x="712" y="810"/>
                </a:lnTo>
                <a:lnTo>
                  <a:pt x="712" y="839"/>
                </a:lnTo>
                <a:lnTo>
                  <a:pt x="732" y="849"/>
                </a:lnTo>
                <a:lnTo>
                  <a:pt x="732" y="859"/>
                </a:lnTo>
                <a:lnTo>
                  <a:pt x="722" y="869"/>
                </a:lnTo>
                <a:lnTo>
                  <a:pt x="693" y="888"/>
                </a:lnTo>
                <a:lnTo>
                  <a:pt x="683" y="898"/>
                </a:lnTo>
                <a:lnTo>
                  <a:pt x="663" y="927"/>
                </a:lnTo>
                <a:lnTo>
                  <a:pt x="634" y="917"/>
                </a:lnTo>
                <a:lnTo>
                  <a:pt x="624" y="908"/>
                </a:lnTo>
                <a:lnTo>
                  <a:pt x="605" y="888"/>
                </a:lnTo>
                <a:lnTo>
                  <a:pt x="576" y="888"/>
                </a:lnTo>
                <a:lnTo>
                  <a:pt x="566" y="908"/>
                </a:lnTo>
                <a:lnTo>
                  <a:pt x="556" y="898"/>
                </a:lnTo>
                <a:lnTo>
                  <a:pt x="556" y="888"/>
                </a:lnTo>
                <a:lnTo>
                  <a:pt x="527" y="878"/>
                </a:lnTo>
                <a:lnTo>
                  <a:pt x="488" y="888"/>
                </a:lnTo>
                <a:lnTo>
                  <a:pt x="449" y="908"/>
                </a:lnTo>
                <a:lnTo>
                  <a:pt x="419" y="917"/>
                </a:lnTo>
                <a:lnTo>
                  <a:pt x="390" y="917"/>
                </a:lnTo>
                <a:lnTo>
                  <a:pt x="351" y="917"/>
                </a:lnTo>
                <a:lnTo>
                  <a:pt x="332" y="908"/>
                </a:lnTo>
                <a:lnTo>
                  <a:pt x="302" y="888"/>
                </a:lnTo>
                <a:lnTo>
                  <a:pt x="273" y="878"/>
                </a:lnTo>
                <a:lnTo>
                  <a:pt x="273" y="859"/>
                </a:lnTo>
                <a:lnTo>
                  <a:pt x="263" y="820"/>
                </a:lnTo>
                <a:lnTo>
                  <a:pt x="254" y="791"/>
                </a:lnTo>
                <a:lnTo>
                  <a:pt x="244" y="781"/>
                </a:lnTo>
                <a:lnTo>
                  <a:pt x="215" y="771"/>
                </a:lnTo>
                <a:lnTo>
                  <a:pt x="185" y="771"/>
                </a:lnTo>
                <a:lnTo>
                  <a:pt x="156" y="761"/>
                </a:lnTo>
                <a:lnTo>
                  <a:pt x="127" y="752"/>
                </a:lnTo>
                <a:lnTo>
                  <a:pt x="98" y="752"/>
                </a:lnTo>
                <a:lnTo>
                  <a:pt x="98" y="742"/>
                </a:lnTo>
                <a:lnTo>
                  <a:pt x="88" y="722"/>
                </a:lnTo>
                <a:lnTo>
                  <a:pt x="59" y="722"/>
                </a:lnTo>
                <a:lnTo>
                  <a:pt x="49" y="722"/>
                </a:lnTo>
                <a:lnTo>
                  <a:pt x="29" y="703"/>
                </a:lnTo>
                <a:lnTo>
                  <a:pt x="20" y="703"/>
                </a:lnTo>
                <a:lnTo>
                  <a:pt x="0" y="683"/>
                </a:lnTo>
                <a:lnTo>
                  <a:pt x="10" y="673"/>
                </a:lnTo>
                <a:lnTo>
                  <a:pt x="20" y="654"/>
                </a:lnTo>
                <a:lnTo>
                  <a:pt x="10" y="634"/>
                </a:lnTo>
                <a:lnTo>
                  <a:pt x="0" y="625"/>
                </a:lnTo>
                <a:lnTo>
                  <a:pt x="0" y="615"/>
                </a:lnTo>
                <a:lnTo>
                  <a:pt x="29" y="625"/>
                </a:lnTo>
                <a:lnTo>
                  <a:pt x="29" y="615"/>
                </a:lnTo>
                <a:lnTo>
                  <a:pt x="49" y="595"/>
                </a:lnTo>
                <a:lnTo>
                  <a:pt x="68" y="586"/>
                </a:lnTo>
                <a:lnTo>
                  <a:pt x="78" y="586"/>
                </a:lnTo>
                <a:lnTo>
                  <a:pt x="88" y="566"/>
                </a:lnTo>
                <a:lnTo>
                  <a:pt x="107" y="566"/>
                </a:lnTo>
                <a:lnTo>
                  <a:pt x="117" y="576"/>
                </a:lnTo>
                <a:lnTo>
                  <a:pt x="117" y="586"/>
                </a:lnTo>
                <a:lnTo>
                  <a:pt x="127" y="605"/>
                </a:lnTo>
                <a:lnTo>
                  <a:pt x="146" y="605"/>
                </a:lnTo>
                <a:lnTo>
                  <a:pt x="156" y="625"/>
                </a:lnTo>
                <a:lnTo>
                  <a:pt x="185" y="644"/>
                </a:lnTo>
                <a:lnTo>
                  <a:pt x="215" y="664"/>
                </a:lnTo>
                <a:lnTo>
                  <a:pt x="234" y="683"/>
                </a:lnTo>
                <a:lnTo>
                  <a:pt x="234" y="693"/>
                </a:lnTo>
                <a:lnTo>
                  <a:pt x="254" y="683"/>
                </a:lnTo>
                <a:lnTo>
                  <a:pt x="273" y="683"/>
                </a:lnTo>
                <a:lnTo>
                  <a:pt x="273" y="703"/>
                </a:lnTo>
                <a:lnTo>
                  <a:pt x="283" y="713"/>
                </a:lnTo>
                <a:lnTo>
                  <a:pt x="302" y="722"/>
                </a:lnTo>
                <a:lnTo>
                  <a:pt x="322" y="722"/>
                </a:lnTo>
                <a:lnTo>
                  <a:pt x="322" y="742"/>
                </a:lnTo>
                <a:lnTo>
                  <a:pt x="322" y="761"/>
                </a:lnTo>
                <a:lnTo>
                  <a:pt x="341" y="761"/>
                </a:lnTo>
                <a:lnTo>
                  <a:pt x="371" y="761"/>
                </a:lnTo>
                <a:lnTo>
                  <a:pt x="371" y="771"/>
                </a:lnTo>
                <a:lnTo>
                  <a:pt x="371" y="791"/>
                </a:lnTo>
                <a:lnTo>
                  <a:pt x="380" y="791"/>
                </a:lnTo>
                <a:lnTo>
                  <a:pt x="390" y="771"/>
                </a:lnTo>
                <a:lnTo>
                  <a:pt x="410" y="761"/>
                </a:lnTo>
                <a:lnTo>
                  <a:pt x="410" y="752"/>
                </a:lnTo>
                <a:lnTo>
                  <a:pt x="449" y="742"/>
                </a:lnTo>
                <a:lnTo>
                  <a:pt x="488" y="732"/>
                </a:lnTo>
                <a:lnTo>
                  <a:pt x="517" y="703"/>
                </a:lnTo>
                <a:lnTo>
                  <a:pt x="537" y="664"/>
                </a:lnTo>
                <a:lnTo>
                  <a:pt x="556" y="644"/>
                </a:lnTo>
                <a:lnTo>
                  <a:pt x="595" y="605"/>
                </a:lnTo>
                <a:lnTo>
                  <a:pt x="634" y="576"/>
                </a:lnTo>
                <a:lnTo>
                  <a:pt x="663" y="547"/>
                </a:lnTo>
                <a:lnTo>
                  <a:pt x="683" y="527"/>
                </a:lnTo>
                <a:lnTo>
                  <a:pt x="673" y="508"/>
                </a:lnTo>
                <a:lnTo>
                  <a:pt x="693" y="459"/>
                </a:lnTo>
                <a:lnTo>
                  <a:pt x="712" y="400"/>
                </a:lnTo>
                <a:lnTo>
                  <a:pt x="683" y="381"/>
                </a:lnTo>
                <a:lnTo>
                  <a:pt x="673" y="342"/>
                </a:lnTo>
                <a:lnTo>
                  <a:pt x="673" y="312"/>
                </a:lnTo>
                <a:close/>
              </a:path>
            </a:pathLst>
          </a:custGeom>
          <a:solidFill>
            <a:srgbClr val="CCFFCC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514" name="Freeform 312"/>
          <p:cNvSpPr>
            <a:spLocks noChangeAspect="1"/>
          </p:cNvSpPr>
          <p:nvPr>
            <p:custDataLst>
              <p:tags r:id="rId80"/>
            </p:custDataLst>
          </p:nvPr>
        </p:nvSpPr>
        <p:spPr bwMode="auto">
          <a:xfrm>
            <a:off x="5178425" y="4886325"/>
            <a:ext cx="808038" cy="577850"/>
          </a:xfrm>
          <a:custGeom>
            <a:avLst/>
            <a:gdLst>
              <a:gd name="T0" fmla="*/ 456107 w 1210"/>
              <a:gd name="T1" fmla="*/ 145865 h 927"/>
              <a:gd name="T2" fmla="*/ 430063 w 1210"/>
              <a:gd name="T3" fmla="*/ 127788 h 927"/>
              <a:gd name="T4" fmla="*/ 462785 w 1210"/>
              <a:gd name="T5" fmla="*/ 85400 h 927"/>
              <a:gd name="T6" fmla="*/ 508196 w 1210"/>
              <a:gd name="T7" fmla="*/ 72933 h 927"/>
              <a:gd name="T8" fmla="*/ 553606 w 1210"/>
              <a:gd name="T9" fmla="*/ 54855 h 927"/>
              <a:gd name="T10" fmla="*/ 593006 w 1210"/>
              <a:gd name="T11" fmla="*/ 61089 h 927"/>
              <a:gd name="T12" fmla="*/ 645095 w 1210"/>
              <a:gd name="T13" fmla="*/ 72933 h 927"/>
              <a:gd name="T14" fmla="*/ 697183 w 1210"/>
              <a:gd name="T15" fmla="*/ 18701 h 927"/>
              <a:gd name="T16" fmla="*/ 729905 w 1210"/>
              <a:gd name="T17" fmla="*/ 0 h 927"/>
              <a:gd name="T18" fmla="*/ 716549 w 1210"/>
              <a:gd name="T19" fmla="*/ 43011 h 927"/>
              <a:gd name="T20" fmla="*/ 735916 w 1210"/>
              <a:gd name="T21" fmla="*/ 79166 h 927"/>
              <a:gd name="T22" fmla="*/ 755950 w 1210"/>
              <a:gd name="T23" fmla="*/ 115944 h 927"/>
              <a:gd name="T24" fmla="*/ 788004 w 1210"/>
              <a:gd name="T25" fmla="*/ 140255 h 927"/>
              <a:gd name="T26" fmla="*/ 801360 w 1210"/>
              <a:gd name="T27" fmla="*/ 188877 h 927"/>
              <a:gd name="T28" fmla="*/ 761960 w 1210"/>
              <a:gd name="T29" fmla="*/ 200720 h 927"/>
              <a:gd name="T30" fmla="*/ 729905 w 1210"/>
              <a:gd name="T31" fmla="*/ 243732 h 927"/>
              <a:gd name="T32" fmla="*/ 709871 w 1210"/>
              <a:gd name="T33" fmla="*/ 261809 h 927"/>
              <a:gd name="T34" fmla="*/ 690505 w 1210"/>
              <a:gd name="T35" fmla="*/ 292353 h 927"/>
              <a:gd name="T36" fmla="*/ 716549 w 1210"/>
              <a:gd name="T37" fmla="*/ 334742 h 927"/>
              <a:gd name="T38" fmla="*/ 671139 w 1210"/>
              <a:gd name="T39" fmla="*/ 365286 h 927"/>
              <a:gd name="T40" fmla="*/ 625061 w 1210"/>
              <a:gd name="T41" fmla="*/ 395207 h 927"/>
              <a:gd name="T42" fmla="*/ 566962 w 1210"/>
              <a:gd name="T43" fmla="*/ 444452 h 927"/>
              <a:gd name="T44" fmla="*/ 514874 w 1210"/>
              <a:gd name="T45" fmla="*/ 462529 h 927"/>
              <a:gd name="T46" fmla="*/ 475474 w 1210"/>
              <a:gd name="T47" fmla="*/ 474373 h 927"/>
              <a:gd name="T48" fmla="*/ 475474 w 1210"/>
              <a:gd name="T49" fmla="*/ 486840 h 927"/>
              <a:gd name="T50" fmla="*/ 488830 w 1210"/>
              <a:gd name="T51" fmla="*/ 535462 h 927"/>
              <a:gd name="T52" fmla="*/ 442751 w 1210"/>
              <a:gd name="T53" fmla="*/ 577850 h 927"/>
              <a:gd name="T54" fmla="*/ 384653 w 1210"/>
              <a:gd name="T55" fmla="*/ 553539 h 927"/>
              <a:gd name="T56" fmla="*/ 351931 w 1210"/>
              <a:gd name="T57" fmla="*/ 547306 h 927"/>
              <a:gd name="T58" fmla="*/ 260442 w 1210"/>
              <a:gd name="T59" fmla="*/ 571616 h 927"/>
              <a:gd name="T60" fmla="*/ 182309 w 1210"/>
              <a:gd name="T61" fmla="*/ 547306 h 927"/>
              <a:gd name="T62" fmla="*/ 162943 w 1210"/>
              <a:gd name="T63" fmla="*/ 486840 h 927"/>
              <a:gd name="T64" fmla="*/ 84811 w 1210"/>
              <a:gd name="T65" fmla="*/ 468763 h 927"/>
              <a:gd name="T66" fmla="*/ 39400 w 1210"/>
              <a:gd name="T67" fmla="*/ 450062 h 927"/>
              <a:gd name="T68" fmla="*/ 0 w 1210"/>
              <a:gd name="T69" fmla="*/ 425751 h 927"/>
              <a:gd name="T70" fmla="*/ 0 w 1210"/>
              <a:gd name="T71" fmla="*/ 389597 h 927"/>
              <a:gd name="T72" fmla="*/ 32722 w 1210"/>
              <a:gd name="T73" fmla="*/ 370896 h 927"/>
              <a:gd name="T74" fmla="*/ 71455 w 1210"/>
              <a:gd name="T75" fmla="*/ 352819 h 927"/>
              <a:gd name="T76" fmla="*/ 97499 w 1210"/>
              <a:gd name="T77" fmla="*/ 377130 h 927"/>
              <a:gd name="T78" fmla="*/ 156265 w 1210"/>
              <a:gd name="T79" fmla="*/ 425751 h 927"/>
              <a:gd name="T80" fmla="*/ 182309 w 1210"/>
              <a:gd name="T81" fmla="*/ 425751 h 927"/>
              <a:gd name="T82" fmla="*/ 215032 w 1210"/>
              <a:gd name="T83" fmla="*/ 450062 h 927"/>
              <a:gd name="T84" fmla="*/ 247754 w 1210"/>
              <a:gd name="T85" fmla="*/ 474373 h 927"/>
              <a:gd name="T86" fmla="*/ 260442 w 1210"/>
              <a:gd name="T87" fmla="*/ 480607 h 927"/>
              <a:gd name="T88" fmla="*/ 325886 w 1210"/>
              <a:gd name="T89" fmla="*/ 456296 h 927"/>
              <a:gd name="T90" fmla="*/ 397341 w 1210"/>
              <a:gd name="T91" fmla="*/ 377130 h 927"/>
              <a:gd name="T92" fmla="*/ 449429 w 1210"/>
              <a:gd name="T93" fmla="*/ 316664 h 927"/>
              <a:gd name="T94" fmla="*/ 449429 w 1210"/>
              <a:gd name="T95" fmla="*/ 213187 h 927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1210"/>
              <a:gd name="T145" fmla="*/ 0 h 927"/>
              <a:gd name="T146" fmla="*/ 1210 w 1210"/>
              <a:gd name="T147" fmla="*/ 927 h 927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1210" h="927">
                <a:moveTo>
                  <a:pt x="673" y="312"/>
                </a:moveTo>
                <a:lnTo>
                  <a:pt x="673" y="283"/>
                </a:lnTo>
                <a:lnTo>
                  <a:pt x="673" y="244"/>
                </a:lnTo>
                <a:lnTo>
                  <a:pt x="683" y="234"/>
                </a:lnTo>
                <a:lnTo>
                  <a:pt x="683" y="225"/>
                </a:lnTo>
                <a:lnTo>
                  <a:pt x="673" y="225"/>
                </a:lnTo>
                <a:lnTo>
                  <a:pt x="673" y="205"/>
                </a:lnTo>
                <a:lnTo>
                  <a:pt x="644" y="205"/>
                </a:lnTo>
                <a:lnTo>
                  <a:pt x="644" y="186"/>
                </a:lnTo>
                <a:lnTo>
                  <a:pt x="663" y="166"/>
                </a:lnTo>
                <a:lnTo>
                  <a:pt x="683" y="147"/>
                </a:lnTo>
                <a:lnTo>
                  <a:pt x="693" y="137"/>
                </a:lnTo>
                <a:lnTo>
                  <a:pt x="712" y="137"/>
                </a:lnTo>
                <a:lnTo>
                  <a:pt x="722" y="117"/>
                </a:lnTo>
                <a:lnTo>
                  <a:pt x="741" y="108"/>
                </a:lnTo>
                <a:lnTo>
                  <a:pt x="761" y="117"/>
                </a:lnTo>
                <a:lnTo>
                  <a:pt x="790" y="117"/>
                </a:lnTo>
                <a:lnTo>
                  <a:pt x="810" y="108"/>
                </a:lnTo>
                <a:lnTo>
                  <a:pt x="819" y="88"/>
                </a:lnTo>
                <a:lnTo>
                  <a:pt x="829" y="88"/>
                </a:lnTo>
                <a:lnTo>
                  <a:pt x="849" y="98"/>
                </a:lnTo>
                <a:lnTo>
                  <a:pt x="868" y="98"/>
                </a:lnTo>
                <a:lnTo>
                  <a:pt x="878" y="88"/>
                </a:lnTo>
                <a:lnTo>
                  <a:pt x="888" y="98"/>
                </a:lnTo>
                <a:lnTo>
                  <a:pt x="888" y="108"/>
                </a:lnTo>
                <a:lnTo>
                  <a:pt x="897" y="117"/>
                </a:lnTo>
                <a:lnTo>
                  <a:pt x="936" y="117"/>
                </a:lnTo>
                <a:lnTo>
                  <a:pt x="966" y="117"/>
                </a:lnTo>
                <a:lnTo>
                  <a:pt x="1024" y="78"/>
                </a:lnTo>
                <a:lnTo>
                  <a:pt x="1024" y="59"/>
                </a:lnTo>
                <a:lnTo>
                  <a:pt x="1024" y="39"/>
                </a:lnTo>
                <a:lnTo>
                  <a:pt x="1044" y="30"/>
                </a:lnTo>
                <a:lnTo>
                  <a:pt x="1063" y="30"/>
                </a:lnTo>
                <a:lnTo>
                  <a:pt x="1063" y="10"/>
                </a:lnTo>
                <a:lnTo>
                  <a:pt x="1073" y="0"/>
                </a:lnTo>
                <a:lnTo>
                  <a:pt x="1093" y="0"/>
                </a:lnTo>
                <a:lnTo>
                  <a:pt x="1093" y="20"/>
                </a:lnTo>
                <a:lnTo>
                  <a:pt x="1093" y="30"/>
                </a:lnTo>
                <a:lnTo>
                  <a:pt x="1083" y="39"/>
                </a:lnTo>
                <a:lnTo>
                  <a:pt x="1073" y="69"/>
                </a:lnTo>
                <a:lnTo>
                  <a:pt x="1073" y="78"/>
                </a:lnTo>
                <a:lnTo>
                  <a:pt x="1093" y="98"/>
                </a:lnTo>
                <a:lnTo>
                  <a:pt x="1093" y="127"/>
                </a:lnTo>
                <a:lnTo>
                  <a:pt x="1102" y="127"/>
                </a:lnTo>
                <a:lnTo>
                  <a:pt x="1112" y="147"/>
                </a:lnTo>
                <a:lnTo>
                  <a:pt x="1112" y="156"/>
                </a:lnTo>
                <a:lnTo>
                  <a:pt x="1112" y="176"/>
                </a:lnTo>
                <a:lnTo>
                  <a:pt x="1132" y="186"/>
                </a:lnTo>
                <a:lnTo>
                  <a:pt x="1132" y="205"/>
                </a:lnTo>
                <a:lnTo>
                  <a:pt x="1151" y="215"/>
                </a:lnTo>
                <a:lnTo>
                  <a:pt x="1171" y="215"/>
                </a:lnTo>
                <a:lnTo>
                  <a:pt x="1180" y="225"/>
                </a:lnTo>
                <a:lnTo>
                  <a:pt x="1210" y="234"/>
                </a:lnTo>
                <a:lnTo>
                  <a:pt x="1210" y="254"/>
                </a:lnTo>
                <a:lnTo>
                  <a:pt x="1210" y="293"/>
                </a:lnTo>
                <a:lnTo>
                  <a:pt x="1200" y="303"/>
                </a:lnTo>
                <a:lnTo>
                  <a:pt x="1190" y="303"/>
                </a:lnTo>
                <a:lnTo>
                  <a:pt x="1171" y="312"/>
                </a:lnTo>
                <a:lnTo>
                  <a:pt x="1151" y="322"/>
                </a:lnTo>
                <a:lnTo>
                  <a:pt x="1141" y="322"/>
                </a:lnTo>
                <a:lnTo>
                  <a:pt x="1132" y="342"/>
                </a:lnTo>
                <a:lnTo>
                  <a:pt x="1112" y="352"/>
                </a:lnTo>
                <a:lnTo>
                  <a:pt x="1112" y="381"/>
                </a:lnTo>
                <a:lnTo>
                  <a:pt x="1093" y="391"/>
                </a:lnTo>
                <a:lnTo>
                  <a:pt x="1083" y="400"/>
                </a:lnTo>
                <a:lnTo>
                  <a:pt x="1083" y="410"/>
                </a:lnTo>
                <a:lnTo>
                  <a:pt x="1073" y="410"/>
                </a:lnTo>
                <a:lnTo>
                  <a:pt x="1063" y="420"/>
                </a:lnTo>
                <a:lnTo>
                  <a:pt x="1054" y="420"/>
                </a:lnTo>
                <a:lnTo>
                  <a:pt x="1054" y="430"/>
                </a:lnTo>
                <a:lnTo>
                  <a:pt x="1034" y="449"/>
                </a:lnTo>
                <a:lnTo>
                  <a:pt x="1034" y="469"/>
                </a:lnTo>
                <a:lnTo>
                  <a:pt x="1054" y="478"/>
                </a:lnTo>
                <a:lnTo>
                  <a:pt x="1063" y="488"/>
                </a:lnTo>
                <a:lnTo>
                  <a:pt x="1073" y="498"/>
                </a:lnTo>
                <a:lnTo>
                  <a:pt x="1073" y="537"/>
                </a:lnTo>
                <a:lnTo>
                  <a:pt x="1063" y="547"/>
                </a:lnTo>
                <a:lnTo>
                  <a:pt x="1044" y="566"/>
                </a:lnTo>
                <a:lnTo>
                  <a:pt x="1024" y="566"/>
                </a:lnTo>
                <a:lnTo>
                  <a:pt x="1005" y="586"/>
                </a:lnTo>
                <a:lnTo>
                  <a:pt x="975" y="595"/>
                </a:lnTo>
                <a:lnTo>
                  <a:pt x="975" y="615"/>
                </a:lnTo>
                <a:lnTo>
                  <a:pt x="956" y="615"/>
                </a:lnTo>
                <a:lnTo>
                  <a:pt x="936" y="634"/>
                </a:lnTo>
                <a:lnTo>
                  <a:pt x="907" y="664"/>
                </a:lnTo>
                <a:lnTo>
                  <a:pt x="868" y="693"/>
                </a:lnTo>
                <a:lnTo>
                  <a:pt x="868" y="703"/>
                </a:lnTo>
                <a:lnTo>
                  <a:pt x="849" y="713"/>
                </a:lnTo>
                <a:lnTo>
                  <a:pt x="839" y="703"/>
                </a:lnTo>
                <a:lnTo>
                  <a:pt x="819" y="703"/>
                </a:lnTo>
                <a:lnTo>
                  <a:pt x="790" y="722"/>
                </a:lnTo>
                <a:lnTo>
                  <a:pt x="771" y="742"/>
                </a:lnTo>
                <a:lnTo>
                  <a:pt x="761" y="722"/>
                </a:lnTo>
                <a:lnTo>
                  <a:pt x="722" y="742"/>
                </a:lnTo>
                <a:lnTo>
                  <a:pt x="722" y="752"/>
                </a:lnTo>
                <a:lnTo>
                  <a:pt x="712" y="761"/>
                </a:lnTo>
                <a:lnTo>
                  <a:pt x="722" y="771"/>
                </a:lnTo>
                <a:lnTo>
                  <a:pt x="722" y="781"/>
                </a:lnTo>
                <a:lnTo>
                  <a:pt x="712" y="781"/>
                </a:lnTo>
                <a:lnTo>
                  <a:pt x="712" y="820"/>
                </a:lnTo>
                <a:lnTo>
                  <a:pt x="722" y="839"/>
                </a:lnTo>
                <a:lnTo>
                  <a:pt x="732" y="849"/>
                </a:lnTo>
                <a:lnTo>
                  <a:pt x="732" y="859"/>
                </a:lnTo>
                <a:lnTo>
                  <a:pt x="722" y="869"/>
                </a:lnTo>
                <a:lnTo>
                  <a:pt x="693" y="888"/>
                </a:lnTo>
                <a:lnTo>
                  <a:pt x="683" y="898"/>
                </a:lnTo>
                <a:lnTo>
                  <a:pt x="663" y="927"/>
                </a:lnTo>
                <a:lnTo>
                  <a:pt x="634" y="917"/>
                </a:lnTo>
                <a:lnTo>
                  <a:pt x="624" y="908"/>
                </a:lnTo>
                <a:lnTo>
                  <a:pt x="605" y="888"/>
                </a:lnTo>
                <a:lnTo>
                  <a:pt x="576" y="888"/>
                </a:lnTo>
                <a:lnTo>
                  <a:pt x="576" y="908"/>
                </a:lnTo>
                <a:lnTo>
                  <a:pt x="556" y="898"/>
                </a:lnTo>
                <a:lnTo>
                  <a:pt x="556" y="888"/>
                </a:lnTo>
                <a:lnTo>
                  <a:pt x="527" y="878"/>
                </a:lnTo>
                <a:lnTo>
                  <a:pt x="488" y="888"/>
                </a:lnTo>
                <a:lnTo>
                  <a:pt x="449" y="908"/>
                </a:lnTo>
                <a:lnTo>
                  <a:pt x="429" y="917"/>
                </a:lnTo>
                <a:lnTo>
                  <a:pt x="390" y="917"/>
                </a:lnTo>
                <a:lnTo>
                  <a:pt x="351" y="917"/>
                </a:lnTo>
                <a:lnTo>
                  <a:pt x="332" y="908"/>
                </a:lnTo>
                <a:lnTo>
                  <a:pt x="302" y="888"/>
                </a:lnTo>
                <a:lnTo>
                  <a:pt x="273" y="878"/>
                </a:lnTo>
                <a:lnTo>
                  <a:pt x="273" y="859"/>
                </a:lnTo>
                <a:lnTo>
                  <a:pt x="263" y="820"/>
                </a:lnTo>
                <a:lnTo>
                  <a:pt x="254" y="791"/>
                </a:lnTo>
                <a:lnTo>
                  <a:pt x="244" y="781"/>
                </a:lnTo>
                <a:lnTo>
                  <a:pt x="215" y="771"/>
                </a:lnTo>
                <a:lnTo>
                  <a:pt x="185" y="771"/>
                </a:lnTo>
                <a:lnTo>
                  <a:pt x="156" y="761"/>
                </a:lnTo>
                <a:lnTo>
                  <a:pt x="127" y="752"/>
                </a:lnTo>
                <a:lnTo>
                  <a:pt x="98" y="752"/>
                </a:lnTo>
                <a:lnTo>
                  <a:pt x="98" y="742"/>
                </a:lnTo>
                <a:lnTo>
                  <a:pt x="78" y="722"/>
                </a:lnTo>
                <a:lnTo>
                  <a:pt x="59" y="722"/>
                </a:lnTo>
                <a:lnTo>
                  <a:pt x="49" y="722"/>
                </a:lnTo>
                <a:lnTo>
                  <a:pt x="29" y="703"/>
                </a:lnTo>
                <a:lnTo>
                  <a:pt x="20" y="703"/>
                </a:lnTo>
                <a:lnTo>
                  <a:pt x="0" y="683"/>
                </a:lnTo>
                <a:lnTo>
                  <a:pt x="10" y="673"/>
                </a:lnTo>
                <a:lnTo>
                  <a:pt x="20" y="654"/>
                </a:lnTo>
                <a:lnTo>
                  <a:pt x="10" y="634"/>
                </a:lnTo>
                <a:lnTo>
                  <a:pt x="0" y="625"/>
                </a:lnTo>
                <a:lnTo>
                  <a:pt x="0" y="615"/>
                </a:lnTo>
                <a:lnTo>
                  <a:pt x="29" y="625"/>
                </a:lnTo>
                <a:lnTo>
                  <a:pt x="29" y="615"/>
                </a:lnTo>
                <a:lnTo>
                  <a:pt x="49" y="595"/>
                </a:lnTo>
                <a:lnTo>
                  <a:pt x="68" y="586"/>
                </a:lnTo>
                <a:lnTo>
                  <a:pt x="78" y="586"/>
                </a:lnTo>
                <a:lnTo>
                  <a:pt x="88" y="566"/>
                </a:lnTo>
                <a:lnTo>
                  <a:pt x="107" y="566"/>
                </a:lnTo>
                <a:lnTo>
                  <a:pt x="127" y="576"/>
                </a:lnTo>
                <a:lnTo>
                  <a:pt x="127" y="586"/>
                </a:lnTo>
                <a:lnTo>
                  <a:pt x="127" y="605"/>
                </a:lnTo>
                <a:lnTo>
                  <a:pt x="146" y="605"/>
                </a:lnTo>
                <a:lnTo>
                  <a:pt x="156" y="625"/>
                </a:lnTo>
                <a:lnTo>
                  <a:pt x="185" y="644"/>
                </a:lnTo>
                <a:lnTo>
                  <a:pt x="215" y="664"/>
                </a:lnTo>
                <a:lnTo>
                  <a:pt x="234" y="683"/>
                </a:lnTo>
                <a:lnTo>
                  <a:pt x="234" y="693"/>
                </a:lnTo>
                <a:lnTo>
                  <a:pt x="254" y="683"/>
                </a:lnTo>
                <a:lnTo>
                  <a:pt x="273" y="683"/>
                </a:lnTo>
                <a:lnTo>
                  <a:pt x="273" y="703"/>
                </a:lnTo>
                <a:lnTo>
                  <a:pt x="283" y="713"/>
                </a:lnTo>
                <a:lnTo>
                  <a:pt x="302" y="722"/>
                </a:lnTo>
                <a:lnTo>
                  <a:pt x="322" y="722"/>
                </a:lnTo>
                <a:lnTo>
                  <a:pt x="322" y="742"/>
                </a:lnTo>
                <a:lnTo>
                  <a:pt x="322" y="761"/>
                </a:lnTo>
                <a:lnTo>
                  <a:pt x="341" y="761"/>
                </a:lnTo>
                <a:lnTo>
                  <a:pt x="371" y="761"/>
                </a:lnTo>
                <a:lnTo>
                  <a:pt x="371" y="771"/>
                </a:lnTo>
                <a:lnTo>
                  <a:pt x="371" y="791"/>
                </a:lnTo>
                <a:lnTo>
                  <a:pt x="380" y="791"/>
                </a:lnTo>
                <a:lnTo>
                  <a:pt x="390" y="771"/>
                </a:lnTo>
                <a:lnTo>
                  <a:pt x="410" y="761"/>
                </a:lnTo>
                <a:lnTo>
                  <a:pt x="410" y="752"/>
                </a:lnTo>
                <a:lnTo>
                  <a:pt x="449" y="742"/>
                </a:lnTo>
                <a:lnTo>
                  <a:pt x="488" y="732"/>
                </a:lnTo>
                <a:lnTo>
                  <a:pt x="517" y="703"/>
                </a:lnTo>
                <a:lnTo>
                  <a:pt x="537" y="664"/>
                </a:lnTo>
                <a:lnTo>
                  <a:pt x="556" y="644"/>
                </a:lnTo>
                <a:lnTo>
                  <a:pt x="595" y="605"/>
                </a:lnTo>
                <a:lnTo>
                  <a:pt x="634" y="576"/>
                </a:lnTo>
                <a:lnTo>
                  <a:pt x="663" y="547"/>
                </a:lnTo>
                <a:lnTo>
                  <a:pt x="683" y="527"/>
                </a:lnTo>
                <a:lnTo>
                  <a:pt x="673" y="508"/>
                </a:lnTo>
                <a:lnTo>
                  <a:pt x="693" y="459"/>
                </a:lnTo>
                <a:lnTo>
                  <a:pt x="722" y="400"/>
                </a:lnTo>
                <a:lnTo>
                  <a:pt x="683" y="381"/>
                </a:lnTo>
                <a:lnTo>
                  <a:pt x="673" y="342"/>
                </a:lnTo>
              </a:path>
            </a:pathLst>
          </a:custGeom>
          <a:noFill/>
          <a:ln w="6350" cap="rnd">
            <a:solidFill>
              <a:srgbClr val="7F7E61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515" name="Freeform 311"/>
          <p:cNvSpPr>
            <a:spLocks noChangeAspect="1"/>
          </p:cNvSpPr>
          <p:nvPr>
            <p:custDataLst>
              <p:tags r:id="rId81"/>
            </p:custDataLst>
          </p:nvPr>
        </p:nvSpPr>
        <p:spPr bwMode="auto">
          <a:xfrm>
            <a:off x="5635625" y="4784725"/>
            <a:ext cx="612775" cy="715963"/>
          </a:xfrm>
          <a:custGeom>
            <a:avLst/>
            <a:gdLst>
              <a:gd name="T0" fmla="*/ 32744 w 917"/>
              <a:gd name="T1" fmla="*/ 643247 h 1152"/>
              <a:gd name="T2" fmla="*/ 26061 w 917"/>
              <a:gd name="T3" fmla="*/ 588555 h 1152"/>
              <a:gd name="T4" fmla="*/ 26061 w 917"/>
              <a:gd name="T5" fmla="*/ 564317 h 1152"/>
              <a:gd name="T6" fmla="*/ 104245 w 917"/>
              <a:gd name="T7" fmla="*/ 540079 h 1152"/>
              <a:gd name="T8" fmla="*/ 169064 w 917"/>
              <a:gd name="T9" fmla="*/ 497196 h 1152"/>
              <a:gd name="T10" fmla="*/ 227869 w 917"/>
              <a:gd name="T11" fmla="*/ 461149 h 1152"/>
              <a:gd name="T12" fmla="*/ 260613 w 917"/>
              <a:gd name="T13" fmla="*/ 406458 h 1152"/>
              <a:gd name="T14" fmla="*/ 247917 w 917"/>
              <a:gd name="T15" fmla="*/ 376004 h 1152"/>
              <a:gd name="T16" fmla="*/ 267296 w 917"/>
              <a:gd name="T17" fmla="*/ 351766 h 1152"/>
              <a:gd name="T18" fmla="*/ 306053 w 917"/>
              <a:gd name="T19" fmla="*/ 303289 h 1152"/>
              <a:gd name="T20" fmla="*/ 352162 w 917"/>
              <a:gd name="T21" fmla="*/ 285266 h 1152"/>
              <a:gd name="T22" fmla="*/ 312736 w 917"/>
              <a:gd name="T23" fmla="*/ 236789 h 1152"/>
              <a:gd name="T24" fmla="*/ 286674 w 917"/>
              <a:gd name="T25" fmla="*/ 194528 h 1152"/>
              <a:gd name="T26" fmla="*/ 260613 w 917"/>
              <a:gd name="T27" fmla="*/ 146051 h 1152"/>
              <a:gd name="T28" fmla="*/ 286674 w 917"/>
              <a:gd name="T29" fmla="*/ 127406 h 1152"/>
              <a:gd name="T30" fmla="*/ 332115 w 917"/>
              <a:gd name="T31" fmla="*/ 115598 h 1152"/>
              <a:gd name="T32" fmla="*/ 326101 w 917"/>
              <a:gd name="T33" fmla="*/ 91360 h 1152"/>
              <a:gd name="T34" fmla="*/ 300039 w 917"/>
              <a:gd name="T35" fmla="*/ 72715 h 1152"/>
              <a:gd name="T36" fmla="*/ 306053 w 917"/>
              <a:gd name="T37" fmla="*/ 24238 h 1152"/>
              <a:gd name="T38" fmla="*/ 358176 w 917"/>
              <a:gd name="T39" fmla="*/ 12430 h 1152"/>
              <a:gd name="T40" fmla="*/ 378223 w 917"/>
              <a:gd name="T41" fmla="*/ 36668 h 1152"/>
              <a:gd name="T42" fmla="*/ 384237 w 917"/>
              <a:gd name="T43" fmla="*/ 54692 h 1152"/>
              <a:gd name="T44" fmla="*/ 436360 w 917"/>
              <a:gd name="T45" fmla="*/ 91360 h 1152"/>
              <a:gd name="T46" fmla="*/ 462421 w 917"/>
              <a:gd name="T47" fmla="*/ 133621 h 1152"/>
              <a:gd name="T48" fmla="*/ 501847 w 917"/>
              <a:gd name="T49" fmla="*/ 133621 h 1152"/>
              <a:gd name="T50" fmla="*/ 540605 w 917"/>
              <a:gd name="T51" fmla="*/ 157860 h 1152"/>
              <a:gd name="T52" fmla="*/ 560652 w 917"/>
              <a:gd name="T53" fmla="*/ 206336 h 1152"/>
              <a:gd name="T54" fmla="*/ 586714 w 917"/>
              <a:gd name="T55" fmla="*/ 230575 h 1152"/>
              <a:gd name="T56" fmla="*/ 592728 w 917"/>
              <a:gd name="T57" fmla="*/ 267243 h 1152"/>
              <a:gd name="T58" fmla="*/ 560652 w 917"/>
              <a:gd name="T59" fmla="*/ 339958 h 1152"/>
              <a:gd name="T60" fmla="*/ 566667 w 917"/>
              <a:gd name="T61" fmla="*/ 376004 h 1152"/>
              <a:gd name="T62" fmla="*/ 586714 w 917"/>
              <a:gd name="T63" fmla="*/ 418887 h 1152"/>
              <a:gd name="T64" fmla="*/ 566667 w 917"/>
              <a:gd name="T65" fmla="*/ 472957 h 1152"/>
              <a:gd name="T66" fmla="*/ 553970 w 917"/>
              <a:gd name="T67" fmla="*/ 533864 h 1152"/>
              <a:gd name="T68" fmla="*/ 560652 w 917"/>
              <a:gd name="T69" fmla="*/ 570532 h 1152"/>
              <a:gd name="T70" fmla="*/ 508530 w 917"/>
              <a:gd name="T71" fmla="*/ 619009 h 1152"/>
              <a:gd name="T72" fmla="*/ 410299 w 917"/>
              <a:gd name="T73" fmla="*/ 606579 h 1152"/>
              <a:gd name="T74" fmla="*/ 326101 w 917"/>
              <a:gd name="T75" fmla="*/ 606579 h 1152"/>
              <a:gd name="T76" fmla="*/ 378223 w 917"/>
              <a:gd name="T77" fmla="*/ 558102 h 1152"/>
              <a:gd name="T78" fmla="*/ 364858 w 917"/>
              <a:gd name="T79" fmla="*/ 533864 h 1152"/>
              <a:gd name="T80" fmla="*/ 352162 w 917"/>
              <a:gd name="T81" fmla="*/ 509626 h 1152"/>
              <a:gd name="T82" fmla="*/ 306053 w 917"/>
              <a:gd name="T83" fmla="*/ 509626 h 1152"/>
              <a:gd name="T84" fmla="*/ 267296 w 917"/>
              <a:gd name="T85" fmla="*/ 546294 h 1152"/>
              <a:gd name="T86" fmla="*/ 234552 w 917"/>
              <a:gd name="T87" fmla="*/ 570532 h 1152"/>
              <a:gd name="T88" fmla="*/ 221187 w 917"/>
              <a:gd name="T89" fmla="*/ 564317 h 1152"/>
              <a:gd name="T90" fmla="*/ 215173 w 917"/>
              <a:gd name="T91" fmla="*/ 588555 h 1152"/>
              <a:gd name="T92" fmla="*/ 253931 w 917"/>
              <a:gd name="T93" fmla="*/ 594770 h 1152"/>
              <a:gd name="T94" fmla="*/ 319418 w 917"/>
              <a:gd name="T95" fmla="*/ 588555 h 1152"/>
              <a:gd name="T96" fmla="*/ 260613 w 917"/>
              <a:gd name="T97" fmla="*/ 673079 h 1152"/>
              <a:gd name="T98" fmla="*/ 195126 w 917"/>
              <a:gd name="T99" fmla="*/ 703532 h 1152"/>
              <a:gd name="T100" fmla="*/ 116942 w 917"/>
              <a:gd name="T101" fmla="*/ 715962 h 1152"/>
              <a:gd name="T102" fmla="*/ 38758 w 917"/>
              <a:gd name="T103" fmla="*/ 703532 h 1152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917"/>
              <a:gd name="T157" fmla="*/ 0 h 1152"/>
              <a:gd name="T158" fmla="*/ 917 w 917"/>
              <a:gd name="T159" fmla="*/ 1152 h 1152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917" h="1152">
                <a:moveTo>
                  <a:pt x="10" y="1093"/>
                </a:moveTo>
                <a:lnTo>
                  <a:pt x="0" y="1074"/>
                </a:lnTo>
                <a:lnTo>
                  <a:pt x="10" y="1054"/>
                </a:lnTo>
                <a:lnTo>
                  <a:pt x="39" y="1035"/>
                </a:lnTo>
                <a:lnTo>
                  <a:pt x="49" y="1035"/>
                </a:lnTo>
                <a:lnTo>
                  <a:pt x="49" y="1015"/>
                </a:lnTo>
                <a:lnTo>
                  <a:pt x="29" y="1005"/>
                </a:lnTo>
                <a:lnTo>
                  <a:pt x="29" y="986"/>
                </a:lnTo>
                <a:lnTo>
                  <a:pt x="29" y="957"/>
                </a:lnTo>
                <a:lnTo>
                  <a:pt x="39" y="947"/>
                </a:lnTo>
                <a:lnTo>
                  <a:pt x="39" y="937"/>
                </a:lnTo>
                <a:lnTo>
                  <a:pt x="29" y="937"/>
                </a:lnTo>
                <a:lnTo>
                  <a:pt x="29" y="927"/>
                </a:lnTo>
                <a:lnTo>
                  <a:pt x="29" y="918"/>
                </a:lnTo>
                <a:lnTo>
                  <a:pt x="39" y="908"/>
                </a:lnTo>
                <a:lnTo>
                  <a:pt x="78" y="898"/>
                </a:lnTo>
                <a:lnTo>
                  <a:pt x="88" y="908"/>
                </a:lnTo>
                <a:lnTo>
                  <a:pt x="107" y="898"/>
                </a:lnTo>
                <a:lnTo>
                  <a:pt x="136" y="869"/>
                </a:lnTo>
                <a:lnTo>
                  <a:pt x="156" y="869"/>
                </a:lnTo>
                <a:lnTo>
                  <a:pt x="166" y="879"/>
                </a:lnTo>
                <a:lnTo>
                  <a:pt x="185" y="879"/>
                </a:lnTo>
                <a:lnTo>
                  <a:pt x="185" y="859"/>
                </a:lnTo>
                <a:lnTo>
                  <a:pt x="224" y="830"/>
                </a:lnTo>
                <a:lnTo>
                  <a:pt x="253" y="800"/>
                </a:lnTo>
                <a:lnTo>
                  <a:pt x="273" y="781"/>
                </a:lnTo>
                <a:lnTo>
                  <a:pt x="292" y="781"/>
                </a:lnTo>
                <a:lnTo>
                  <a:pt x="292" y="761"/>
                </a:lnTo>
                <a:lnTo>
                  <a:pt x="322" y="752"/>
                </a:lnTo>
                <a:lnTo>
                  <a:pt x="341" y="742"/>
                </a:lnTo>
                <a:lnTo>
                  <a:pt x="361" y="742"/>
                </a:lnTo>
                <a:lnTo>
                  <a:pt x="390" y="722"/>
                </a:lnTo>
                <a:lnTo>
                  <a:pt x="390" y="703"/>
                </a:lnTo>
                <a:lnTo>
                  <a:pt x="390" y="664"/>
                </a:lnTo>
                <a:lnTo>
                  <a:pt x="390" y="654"/>
                </a:lnTo>
                <a:lnTo>
                  <a:pt x="371" y="644"/>
                </a:lnTo>
                <a:lnTo>
                  <a:pt x="351" y="635"/>
                </a:lnTo>
                <a:lnTo>
                  <a:pt x="351" y="625"/>
                </a:lnTo>
                <a:lnTo>
                  <a:pt x="351" y="615"/>
                </a:lnTo>
                <a:lnTo>
                  <a:pt x="371" y="605"/>
                </a:lnTo>
                <a:lnTo>
                  <a:pt x="371" y="586"/>
                </a:lnTo>
                <a:lnTo>
                  <a:pt x="390" y="586"/>
                </a:lnTo>
                <a:lnTo>
                  <a:pt x="390" y="576"/>
                </a:lnTo>
                <a:lnTo>
                  <a:pt x="400" y="576"/>
                </a:lnTo>
                <a:lnTo>
                  <a:pt x="400" y="566"/>
                </a:lnTo>
                <a:lnTo>
                  <a:pt x="410" y="557"/>
                </a:lnTo>
                <a:lnTo>
                  <a:pt x="429" y="547"/>
                </a:lnTo>
                <a:lnTo>
                  <a:pt x="439" y="518"/>
                </a:lnTo>
                <a:lnTo>
                  <a:pt x="449" y="508"/>
                </a:lnTo>
                <a:lnTo>
                  <a:pt x="458" y="488"/>
                </a:lnTo>
                <a:lnTo>
                  <a:pt x="468" y="488"/>
                </a:lnTo>
                <a:lnTo>
                  <a:pt x="488" y="478"/>
                </a:lnTo>
                <a:lnTo>
                  <a:pt x="507" y="469"/>
                </a:lnTo>
                <a:lnTo>
                  <a:pt x="517" y="469"/>
                </a:lnTo>
                <a:lnTo>
                  <a:pt x="527" y="459"/>
                </a:lnTo>
                <a:lnTo>
                  <a:pt x="536" y="420"/>
                </a:lnTo>
                <a:lnTo>
                  <a:pt x="527" y="400"/>
                </a:lnTo>
                <a:lnTo>
                  <a:pt x="497" y="391"/>
                </a:lnTo>
                <a:lnTo>
                  <a:pt x="488" y="381"/>
                </a:lnTo>
                <a:lnTo>
                  <a:pt x="468" y="381"/>
                </a:lnTo>
                <a:lnTo>
                  <a:pt x="449" y="371"/>
                </a:lnTo>
                <a:lnTo>
                  <a:pt x="449" y="352"/>
                </a:lnTo>
                <a:lnTo>
                  <a:pt x="439" y="342"/>
                </a:lnTo>
                <a:lnTo>
                  <a:pt x="439" y="322"/>
                </a:lnTo>
                <a:lnTo>
                  <a:pt x="429" y="313"/>
                </a:lnTo>
                <a:lnTo>
                  <a:pt x="419" y="293"/>
                </a:lnTo>
                <a:lnTo>
                  <a:pt x="410" y="293"/>
                </a:lnTo>
                <a:lnTo>
                  <a:pt x="410" y="264"/>
                </a:lnTo>
                <a:lnTo>
                  <a:pt x="390" y="244"/>
                </a:lnTo>
                <a:lnTo>
                  <a:pt x="390" y="235"/>
                </a:lnTo>
                <a:lnTo>
                  <a:pt x="390" y="215"/>
                </a:lnTo>
                <a:lnTo>
                  <a:pt x="400" y="205"/>
                </a:lnTo>
                <a:lnTo>
                  <a:pt x="410" y="205"/>
                </a:lnTo>
                <a:lnTo>
                  <a:pt x="419" y="205"/>
                </a:lnTo>
                <a:lnTo>
                  <a:pt x="429" y="205"/>
                </a:lnTo>
                <a:lnTo>
                  <a:pt x="458" y="215"/>
                </a:lnTo>
                <a:lnTo>
                  <a:pt x="468" y="205"/>
                </a:lnTo>
                <a:lnTo>
                  <a:pt x="478" y="196"/>
                </a:lnTo>
                <a:lnTo>
                  <a:pt x="488" y="196"/>
                </a:lnTo>
                <a:lnTo>
                  <a:pt x="497" y="186"/>
                </a:lnTo>
                <a:lnTo>
                  <a:pt x="497" y="176"/>
                </a:lnTo>
                <a:lnTo>
                  <a:pt x="488" y="166"/>
                </a:lnTo>
                <a:lnTo>
                  <a:pt x="497" y="157"/>
                </a:lnTo>
                <a:lnTo>
                  <a:pt x="497" y="147"/>
                </a:lnTo>
                <a:lnTo>
                  <a:pt x="488" y="147"/>
                </a:lnTo>
                <a:lnTo>
                  <a:pt x="478" y="157"/>
                </a:lnTo>
                <a:lnTo>
                  <a:pt x="458" y="137"/>
                </a:lnTo>
                <a:lnTo>
                  <a:pt x="468" y="127"/>
                </a:lnTo>
                <a:lnTo>
                  <a:pt x="468" y="117"/>
                </a:lnTo>
                <a:lnTo>
                  <a:pt x="449" y="117"/>
                </a:lnTo>
                <a:lnTo>
                  <a:pt x="449" y="88"/>
                </a:lnTo>
                <a:lnTo>
                  <a:pt x="458" y="88"/>
                </a:lnTo>
                <a:lnTo>
                  <a:pt x="458" y="59"/>
                </a:lnTo>
                <a:lnTo>
                  <a:pt x="468" y="49"/>
                </a:lnTo>
                <a:lnTo>
                  <a:pt x="458" y="39"/>
                </a:lnTo>
                <a:lnTo>
                  <a:pt x="458" y="30"/>
                </a:lnTo>
                <a:lnTo>
                  <a:pt x="478" y="20"/>
                </a:lnTo>
                <a:lnTo>
                  <a:pt x="488" y="20"/>
                </a:lnTo>
                <a:lnTo>
                  <a:pt x="507" y="20"/>
                </a:lnTo>
                <a:lnTo>
                  <a:pt x="536" y="20"/>
                </a:lnTo>
                <a:lnTo>
                  <a:pt x="546" y="10"/>
                </a:lnTo>
                <a:lnTo>
                  <a:pt x="546" y="0"/>
                </a:lnTo>
                <a:lnTo>
                  <a:pt x="556" y="20"/>
                </a:lnTo>
                <a:lnTo>
                  <a:pt x="566" y="39"/>
                </a:lnTo>
                <a:lnTo>
                  <a:pt x="566" y="59"/>
                </a:lnTo>
                <a:lnTo>
                  <a:pt x="566" y="69"/>
                </a:lnTo>
                <a:lnTo>
                  <a:pt x="575" y="69"/>
                </a:lnTo>
                <a:lnTo>
                  <a:pt x="575" y="78"/>
                </a:lnTo>
                <a:lnTo>
                  <a:pt x="566" y="88"/>
                </a:lnTo>
                <a:lnTo>
                  <a:pt x="575" y="88"/>
                </a:lnTo>
                <a:lnTo>
                  <a:pt x="595" y="69"/>
                </a:lnTo>
                <a:lnTo>
                  <a:pt x="605" y="78"/>
                </a:lnTo>
                <a:lnTo>
                  <a:pt x="605" y="98"/>
                </a:lnTo>
                <a:lnTo>
                  <a:pt x="634" y="137"/>
                </a:lnTo>
                <a:lnTo>
                  <a:pt x="653" y="147"/>
                </a:lnTo>
                <a:lnTo>
                  <a:pt x="653" y="157"/>
                </a:lnTo>
                <a:lnTo>
                  <a:pt x="673" y="186"/>
                </a:lnTo>
                <a:lnTo>
                  <a:pt x="692" y="196"/>
                </a:lnTo>
                <a:lnTo>
                  <a:pt x="712" y="205"/>
                </a:lnTo>
                <a:lnTo>
                  <a:pt x="692" y="215"/>
                </a:lnTo>
                <a:lnTo>
                  <a:pt x="683" y="225"/>
                </a:lnTo>
                <a:lnTo>
                  <a:pt x="692" y="235"/>
                </a:lnTo>
                <a:lnTo>
                  <a:pt x="702" y="244"/>
                </a:lnTo>
                <a:lnTo>
                  <a:pt x="731" y="225"/>
                </a:lnTo>
                <a:lnTo>
                  <a:pt x="751" y="215"/>
                </a:lnTo>
                <a:lnTo>
                  <a:pt x="770" y="225"/>
                </a:lnTo>
                <a:lnTo>
                  <a:pt x="780" y="254"/>
                </a:lnTo>
                <a:lnTo>
                  <a:pt x="780" y="264"/>
                </a:lnTo>
                <a:lnTo>
                  <a:pt x="790" y="274"/>
                </a:lnTo>
                <a:lnTo>
                  <a:pt x="809" y="254"/>
                </a:lnTo>
                <a:lnTo>
                  <a:pt x="829" y="264"/>
                </a:lnTo>
                <a:lnTo>
                  <a:pt x="829" y="283"/>
                </a:lnTo>
                <a:lnTo>
                  <a:pt x="839" y="293"/>
                </a:lnTo>
                <a:lnTo>
                  <a:pt x="839" y="313"/>
                </a:lnTo>
                <a:lnTo>
                  <a:pt x="839" y="332"/>
                </a:lnTo>
                <a:lnTo>
                  <a:pt x="839" y="342"/>
                </a:lnTo>
                <a:lnTo>
                  <a:pt x="858" y="342"/>
                </a:lnTo>
                <a:lnTo>
                  <a:pt x="858" y="352"/>
                </a:lnTo>
                <a:lnTo>
                  <a:pt x="878" y="371"/>
                </a:lnTo>
                <a:lnTo>
                  <a:pt x="858" y="371"/>
                </a:lnTo>
                <a:lnTo>
                  <a:pt x="858" y="391"/>
                </a:lnTo>
                <a:lnTo>
                  <a:pt x="858" y="400"/>
                </a:lnTo>
                <a:lnTo>
                  <a:pt x="858" y="430"/>
                </a:lnTo>
                <a:lnTo>
                  <a:pt x="887" y="430"/>
                </a:lnTo>
                <a:lnTo>
                  <a:pt x="917" y="488"/>
                </a:lnTo>
                <a:lnTo>
                  <a:pt x="897" y="498"/>
                </a:lnTo>
                <a:lnTo>
                  <a:pt x="878" y="508"/>
                </a:lnTo>
                <a:lnTo>
                  <a:pt x="848" y="527"/>
                </a:lnTo>
                <a:lnTo>
                  <a:pt x="839" y="547"/>
                </a:lnTo>
                <a:lnTo>
                  <a:pt x="819" y="566"/>
                </a:lnTo>
                <a:lnTo>
                  <a:pt x="809" y="605"/>
                </a:lnTo>
                <a:lnTo>
                  <a:pt x="829" y="605"/>
                </a:lnTo>
                <a:lnTo>
                  <a:pt x="848" y="596"/>
                </a:lnTo>
                <a:lnTo>
                  <a:pt x="848" y="605"/>
                </a:lnTo>
                <a:lnTo>
                  <a:pt x="868" y="615"/>
                </a:lnTo>
                <a:lnTo>
                  <a:pt x="868" y="635"/>
                </a:lnTo>
                <a:lnTo>
                  <a:pt x="878" y="644"/>
                </a:lnTo>
                <a:lnTo>
                  <a:pt x="878" y="654"/>
                </a:lnTo>
                <a:lnTo>
                  <a:pt x="878" y="674"/>
                </a:lnTo>
                <a:lnTo>
                  <a:pt x="868" y="683"/>
                </a:lnTo>
                <a:lnTo>
                  <a:pt x="858" y="703"/>
                </a:lnTo>
                <a:lnTo>
                  <a:pt x="848" y="722"/>
                </a:lnTo>
                <a:lnTo>
                  <a:pt x="848" y="742"/>
                </a:lnTo>
                <a:lnTo>
                  <a:pt x="848" y="761"/>
                </a:lnTo>
                <a:lnTo>
                  <a:pt x="848" y="791"/>
                </a:lnTo>
                <a:lnTo>
                  <a:pt x="839" y="820"/>
                </a:lnTo>
                <a:lnTo>
                  <a:pt x="839" y="830"/>
                </a:lnTo>
                <a:lnTo>
                  <a:pt x="829" y="839"/>
                </a:lnTo>
                <a:lnTo>
                  <a:pt x="829" y="859"/>
                </a:lnTo>
                <a:lnTo>
                  <a:pt x="839" y="869"/>
                </a:lnTo>
                <a:lnTo>
                  <a:pt x="848" y="879"/>
                </a:lnTo>
                <a:lnTo>
                  <a:pt x="848" y="898"/>
                </a:lnTo>
                <a:lnTo>
                  <a:pt x="839" y="908"/>
                </a:lnTo>
                <a:lnTo>
                  <a:pt x="839" y="918"/>
                </a:lnTo>
                <a:lnTo>
                  <a:pt x="809" y="927"/>
                </a:lnTo>
                <a:lnTo>
                  <a:pt x="790" y="957"/>
                </a:lnTo>
                <a:lnTo>
                  <a:pt x="770" y="976"/>
                </a:lnTo>
                <a:lnTo>
                  <a:pt x="770" y="996"/>
                </a:lnTo>
                <a:lnTo>
                  <a:pt x="761" y="996"/>
                </a:lnTo>
                <a:lnTo>
                  <a:pt x="722" y="996"/>
                </a:lnTo>
                <a:lnTo>
                  <a:pt x="683" y="986"/>
                </a:lnTo>
                <a:lnTo>
                  <a:pt x="653" y="976"/>
                </a:lnTo>
                <a:lnTo>
                  <a:pt x="624" y="966"/>
                </a:lnTo>
                <a:lnTo>
                  <a:pt x="614" y="976"/>
                </a:lnTo>
                <a:lnTo>
                  <a:pt x="605" y="996"/>
                </a:lnTo>
                <a:lnTo>
                  <a:pt x="585" y="996"/>
                </a:lnTo>
                <a:lnTo>
                  <a:pt x="556" y="986"/>
                </a:lnTo>
                <a:lnTo>
                  <a:pt x="527" y="976"/>
                </a:lnTo>
                <a:lnTo>
                  <a:pt x="488" y="976"/>
                </a:lnTo>
                <a:lnTo>
                  <a:pt x="478" y="947"/>
                </a:lnTo>
                <a:lnTo>
                  <a:pt x="497" y="937"/>
                </a:lnTo>
                <a:lnTo>
                  <a:pt x="517" y="927"/>
                </a:lnTo>
                <a:lnTo>
                  <a:pt x="556" y="918"/>
                </a:lnTo>
                <a:lnTo>
                  <a:pt x="566" y="898"/>
                </a:lnTo>
                <a:lnTo>
                  <a:pt x="575" y="888"/>
                </a:lnTo>
                <a:lnTo>
                  <a:pt x="556" y="888"/>
                </a:lnTo>
                <a:lnTo>
                  <a:pt x="536" y="888"/>
                </a:lnTo>
                <a:lnTo>
                  <a:pt x="536" y="859"/>
                </a:lnTo>
                <a:lnTo>
                  <a:pt x="546" y="859"/>
                </a:lnTo>
                <a:lnTo>
                  <a:pt x="566" y="859"/>
                </a:lnTo>
                <a:lnTo>
                  <a:pt x="566" y="839"/>
                </a:lnTo>
                <a:lnTo>
                  <a:pt x="556" y="839"/>
                </a:lnTo>
                <a:lnTo>
                  <a:pt x="546" y="820"/>
                </a:lnTo>
                <a:lnTo>
                  <a:pt x="527" y="820"/>
                </a:lnTo>
                <a:lnTo>
                  <a:pt x="517" y="810"/>
                </a:lnTo>
                <a:lnTo>
                  <a:pt x="507" y="800"/>
                </a:lnTo>
                <a:lnTo>
                  <a:pt x="488" y="800"/>
                </a:lnTo>
                <a:lnTo>
                  <a:pt x="478" y="810"/>
                </a:lnTo>
                <a:lnTo>
                  <a:pt x="458" y="820"/>
                </a:lnTo>
                <a:lnTo>
                  <a:pt x="458" y="830"/>
                </a:lnTo>
                <a:lnTo>
                  <a:pt x="449" y="839"/>
                </a:lnTo>
                <a:lnTo>
                  <a:pt x="410" y="839"/>
                </a:lnTo>
                <a:lnTo>
                  <a:pt x="390" y="859"/>
                </a:lnTo>
                <a:lnTo>
                  <a:pt x="400" y="879"/>
                </a:lnTo>
                <a:lnTo>
                  <a:pt x="410" y="879"/>
                </a:lnTo>
                <a:lnTo>
                  <a:pt x="390" y="888"/>
                </a:lnTo>
                <a:lnTo>
                  <a:pt x="380" y="888"/>
                </a:lnTo>
                <a:lnTo>
                  <a:pt x="361" y="898"/>
                </a:lnTo>
                <a:lnTo>
                  <a:pt x="351" y="918"/>
                </a:lnTo>
                <a:lnTo>
                  <a:pt x="341" y="927"/>
                </a:lnTo>
                <a:lnTo>
                  <a:pt x="341" y="937"/>
                </a:lnTo>
                <a:lnTo>
                  <a:pt x="331" y="937"/>
                </a:lnTo>
                <a:lnTo>
                  <a:pt x="331" y="918"/>
                </a:lnTo>
                <a:lnTo>
                  <a:pt x="331" y="908"/>
                </a:lnTo>
                <a:lnTo>
                  <a:pt x="322" y="908"/>
                </a:lnTo>
                <a:lnTo>
                  <a:pt x="322" y="918"/>
                </a:lnTo>
                <a:lnTo>
                  <a:pt x="322" y="937"/>
                </a:lnTo>
                <a:lnTo>
                  <a:pt x="322" y="947"/>
                </a:lnTo>
                <a:lnTo>
                  <a:pt x="322" y="957"/>
                </a:lnTo>
                <a:lnTo>
                  <a:pt x="341" y="966"/>
                </a:lnTo>
                <a:lnTo>
                  <a:pt x="351" y="976"/>
                </a:lnTo>
                <a:lnTo>
                  <a:pt x="371" y="957"/>
                </a:lnTo>
                <a:lnTo>
                  <a:pt x="380" y="957"/>
                </a:lnTo>
                <a:lnTo>
                  <a:pt x="390" y="976"/>
                </a:lnTo>
                <a:lnTo>
                  <a:pt x="400" y="976"/>
                </a:lnTo>
                <a:lnTo>
                  <a:pt x="439" y="966"/>
                </a:lnTo>
                <a:lnTo>
                  <a:pt x="449" y="947"/>
                </a:lnTo>
                <a:lnTo>
                  <a:pt x="478" y="947"/>
                </a:lnTo>
                <a:lnTo>
                  <a:pt x="488" y="976"/>
                </a:lnTo>
                <a:lnTo>
                  <a:pt x="458" y="986"/>
                </a:lnTo>
                <a:lnTo>
                  <a:pt x="410" y="1044"/>
                </a:lnTo>
                <a:lnTo>
                  <a:pt x="410" y="1074"/>
                </a:lnTo>
                <a:lnTo>
                  <a:pt x="390" y="1083"/>
                </a:lnTo>
                <a:lnTo>
                  <a:pt x="371" y="1083"/>
                </a:lnTo>
                <a:lnTo>
                  <a:pt x="351" y="1093"/>
                </a:lnTo>
                <a:lnTo>
                  <a:pt x="331" y="1113"/>
                </a:lnTo>
                <a:lnTo>
                  <a:pt x="302" y="1122"/>
                </a:lnTo>
                <a:lnTo>
                  <a:pt x="292" y="1132"/>
                </a:lnTo>
                <a:lnTo>
                  <a:pt x="273" y="1152"/>
                </a:lnTo>
                <a:lnTo>
                  <a:pt x="244" y="1152"/>
                </a:lnTo>
                <a:lnTo>
                  <a:pt x="224" y="1152"/>
                </a:lnTo>
                <a:lnTo>
                  <a:pt x="195" y="1152"/>
                </a:lnTo>
                <a:lnTo>
                  <a:pt x="175" y="1152"/>
                </a:lnTo>
                <a:lnTo>
                  <a:pt x="156" y="1152"/>
                </a:lnTo>
                <a:lnTo>
                  <a:pt x="146" y="1142"/>
                </a:lnTo>
                <a:lnTo>
                  <a:pt x="88" y="1152"/>
                </a:lnTo>
                <a:lnTo>
                  <a:pt x="68" y="1142"/>
                </a:lnTo>
                <a:lnTo>
                  <a:pt x="58" y="1132"/>
                </a:lnTo>
                <a:lnTo>
                  <a:pt x="39" y="1122"/>
                </a:lnTo>
                <a:lnTo>
                  <a:pt x="29" y="1113"/>
                </a:lnTo>
                <a:lnTo>
                  <a:pt x="19" y="1093"/>
                </a:lnTo>
                <a:lnTo>
                  <a:pt x="10" y="1093"/>
                </a:lnTo>
                <a:close/>
              </a:path>
            </a:pathLst>
          </a:custGeom>
          <a:solidFill>
            <a:srgbClr val="CCFFCC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516" name="Freeform 310"/>
          <p:cNvSpPr>
            <a:spLocks noChangeAspect="1"/>
          </p:cNvSpPr>
          <p:nvPr>
            <p:custDataLst>
              <p:tags r:id="rId82"/>
            </p:custDataLst>
          </p:nvPr>
        </p:nvSpPr>
        <p:spPr bwMode="auto">
          <a:xfrm>
            <a:off x="6070600" y="4772025"/>
            <a:ext cx="749300" cy="474663"/>
          </a:xfrm>
          <a:custGeom>
            <a:avLst/>
            <a:gdLst>
              <a:gd name="T0" fmla="*/ 150261 w 1122"/>
              <a:gd name="T1" fmla="*/ 243256 h 761"/>
              <a:gd name="T2" fmla="*/ 136904 w 1122"/>
              <a:gd name="T3" fmla="*/ 273819 h 761"/>
              <a:gd name="T4" fmla="*/ 221718 w 1122"/>
              <a:gd name="T5" fmla="*/ 298145 h 761"/>
              <a:gd name="T6" fmla="*/ 267130 w 1122"/>
              <a:gd name="T7" fmla="*/ 285670 h 761"/>
              <a:gd name="T8" fmla="*/ 319220 w 1122"/>
              <a:gd name="T9" fmla="*/ 298145 h 761"/>
              <a:gd name="T10" fmla="*/ 358622 w 1122"/>
              <a:gd name="T11" fmla="*/ 291908 h 761"/>
              <a:gd name="T12" fmla="*/ 384667 w 1122"/>
              <a:gd name="T13" fmla="*/ 304382 h 761"/>
              <a:gd name="T14" fmla="*/ 410713 w 1122"/>
              <a:gd name="T15" fmla="*/ 334946 h 761"/>
              <a:gd name="T16" fmla="*/ 436758 w 1122"/>
              <a:gd name="T17" fmla="*/ 359271 h 761"/>
              <a:gd name="T18" fmla="*/ 462803 w 1122"/>
              <a:gd name="T19" fmla="*/ 383597 h 761"/>
              <a:gd name="T20" fmla="*/ 495526 w 1122"/>
              <a:gd name="T21" fmla="*/ 432248 h 761"/>
              <a:gd name="T22" fmla="*/ 534260 w 1122"/>
              <a:gd name="T23" fmla="*/ 462187 h 761"/>
              <a:gd name="T24" fmla="*/ 580340 w 1122"/>
              <a:gd name="T25" fmla="*/ 468425 h 761"/>
              <a:gd name="T26" fmla="*/ 625752 w 1122"/>
              <a:gd name="T27" fmla="*/ 462187 h 761"/>
              <a:gd name="T28" fmla="*/ 658476 w 1122"/>
              <a:gd name="T29" fmla="*/ 462187 h 761"/>
              <a:gd name="T30" fmla="*/ 710566 w 1122"/>
              <a:gd name="T31" fmla="*/ 468425 h 761"/>
              <a:gd name="T32" fmla="*/ 723255 w 1122"/>
              <a:gd name="T33" fmla="*/ 432248 h 761"/>
              <a:gd name="T34" fmla="*/ 716577 w 1122"/>
              <a:gd name="T35" fmla="*/ 389210 h 761"/>
              <a:gd name="T36" fmla="*/ 697210 w 1122"/>
              <a:gd name="T37" fmla="*/ 364885 h 761"/>
              <a:gd name="T38" fmla="*/ 658476 w 1122"/>
              <a:gd name="T39" fmla="*/ 346796 h 761"/>
              <a:gd name="T40" fmla="*/ 638441 w 1122"/>
              <a:gd name="T41" fmla="*/ 316233 h 761"/>
              <a:gd name="T42" fmla="*/ 651797 w 1122"/>
              <a:gd name="T43" fmla="*/ 285670 h 761"/>
              <a:gd name="T44" fmla="*/ 671164 w 1122"/>
              <a:gd name="T45" fmla="*/ 255731 h 761"/>
              <a:gd name="T46" fmla="*/ 677843 w 1122"/>
              <a:gd name="T47" fmla="*/ 237019 h 761"/>
              <a:gd name="T48" fmla="*/ 697210 w 1122"/>
              <a:gd name="T49" fmla="*/ 212693 h 761"/>
              <a:gd name="T50" fmla="*/ 684521 w 1122"/>
              <a:gd name="T51" fmla="*/ 176517 h 761"/>
              <a:gd name="T52" fmla="*/ 710566 w 1122"/>
              <a:gd name="T53" fmla="*/ 170280 h 761"/>
              <a:gd name="T54" fmla="*/ 742622 w 1122"/>
              <a:gd name="T55" fmla="*/ 139717 h 761"/>
              <a:gd name="T56" fmla="*/ 723255 w 1122"/>
              <a:gd name="T57" fmla="*/ 103540 h 761"/>
              <a:gd name="T58" fmla="*/ 690531 w 1122"/>
              <a:gd name="T59" fmla="*/ 109777 h 761"/>
              <a:gd name="T60" fmla="*/ 651797 w 1122"/>
              <a:gd name="T61" fmla="*/ 134103 h 761"/>
              <a:gd name="T62" fmla="*/ 619074 w 1122"/>
              <a:gd name="T63" fmla="*/ 158429 h 761"/>
              <a:gd name="T64" fmla="*/ 599707 w 1122"/>
              <a:gd name="T65" fmla="*/ 170280 h 761"/>
              <a:gd name="T66" fmla="*/ 566984 w 1122"/>
              <a:gd name="T67" fmla="*/ 134103 h 761"/>
              <a:gd name="T68" fmla="*/ 521572 w 1122"/>
              <a:gd name="T69" fmla="*/ 139717 h 761"/>
              <a:gd name="T70" fmla="*/ 534260 w 1122"/>
              <a:gd name="T71" fmla="*/ 97303 h 761"/>
              <a:gd name="T72" fmla="*/ 554295 w 1122"/>
              <a:gd name="T73" fmla="*/ 42414 h 761"/>
              <a:gd name="T74" fmla="*/ 566984 w 1122"/>
              <a:gd name="T75" fmla="*/ 24326 h 761"/>
              <a:gd name="T76" fmla="*/ 566984 w 1122"/>
              <a:gd name="T77" fmla="*/ 18088 h 761"/>
              <a:gd name="T78" fmla="*/ 534260 w 1122"/>
              <a:gd name="T79" fmla="*/ 6237 h 761"/>
              <a:gd name="T80" fmla="*/ 423401 w 1122"/>
              <a:gd name="T81" fmla="*/ 42414 h 761"/>
              <a:gd name="T82" fmla="*/ 397356 w 1122"/>
              <a:gd name="T83" fmla="*/ 79214 h 761"/>
              <a:gd name="T84" fmla="*/ 345266 w 1122"/>
              <a:gd name="T85" fmla="*/ 84828 h 761"/>
              <a:gd name="T86" fmla="*/ 325899 w 1122"/>
              <a:gd name="T87" fmla="*/ 97303 h 761"/>
              <a:gd name="T88" fmla="*/ 287165 w 1122"/>
              <a:gd name="T89" fmla="*/ 109777 h 761"/>
              <a:gd name="T90" fmla="*/ 261120 w 1122"/>
              <a:gd name="T91" fmla="*/ 103540 h 761"/>
              <a:gd name="T92" fmla="*/ 202351 w 1122"/>
              <a:gd name="T93" fmla="*/ 109777 h 761"/>
              <a:gd name="T94" fmla="*/ 150261 w 1122"/>
              <a:gd name="T95" fmla="*/ 91065 h 761"/>
              <a:gd name="T96" fmla="*/ 110859 w 1122"/>
              <a:gd name="T97" fmla="*/ 103540 h 761"/>
              <a:gd name="T98" fmla="*/ 72125 w 1122"/>
              <a:gd name="T99" fmla="*/ 91065 h 761"/>
              <a:gd name="T100" fmla="*/ 13357 w 1122"/>
              <a:gd name="T101" fmla="*/ 91065 h 761"/>
              <a:gd name="T102" fmla="*/ 32723 w 1122"/>
              <a:gd name="T103" fmla="*/ 134103 h 761"/>
              <a:gd name="T104" fmla="*/ 26045 w 1122"/>
              <a:gd name="T105" fmla="*/ 158429 h 761"/>
              <a:gd name="T106" fmla="*/ 78136 w 1122"/>
              <a:gd name="T107" fmla="*/ 152191 h 761"/>
              <a:gd name="T108" fmla="*/ 104181 w 1122"/>
              <a:gd name="T109" fmla="*/ 170280 h 761"/>
              <a:gd name="T110" fmla="*/ 124215 w 1122"/>
              <a:gd name="T111" fmla="*/ 207080 h 761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1122"/>
              <a:gd name="T169" fmla="*/ 0 h 761"/>
              <a:gd name="T170" fmla="*/ 1122 w 1122"/>
              <a:gd name="T171" fmla="*/ 761 h 761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1122" h="761">
                <a:moveTo>
                  <a:pt x="205" y="361"/>
                </a:moveTo>
                <a:lnTo>
                  <a:pt x="205" y="371"/>
                </a:lnTo>
                <a:lnTo>
                  <a:pt x="225" y="380"/>
                </a:lnTo>
                <a:lnTo>
                  <a:pt x="225" y="390"/>
                </a:lnTo>
                <a:lnTo>
                  <a:pt x="205" y="390"/>
                </a:lnTo>
                <a:lnTo>
                  <a:pt x="205" y="410"/>
                </a:lnTo>
                <a:lnTo>
                  <a:pt x="205" y="419"/>
                </a:lnTo>
                <a:lnTo>
                  <a:pt x="205" y="439"/>
                </a:lnTo>
                <a:lnTo>
                  <a:pt x="234" y="449"/>
                </a:lnTo>
                <a:lnTo>
                  <a:pt x="264" y="497"/>
                </a:lnTo>
                <a:lnTo>
                  <a:pt x="303" y="488"/>
                </a:lnTo>
                <a:lnTo>
                  <a:pt x="332" y="478"/>
                </a:lnTo>
                <a:lnTo>
                  <a:pt x="352" y="458"/>
                </a:lnTo>
                <a:lnTo>
                  <a:pt x="361" y="458"/>
                </a:lnTo>
                <a:lnTo>
                  <a:pt x="381" y="458"/>
                </a:lnTo>
                <a:lnTo>
                  <a:pt x="400" y="458"/>
                </a:lnTo>
                <a:lnTo>
                  <a:pt x="430" y="458"/>
                </a:lnTo>
                <a:lnTo>
                  <a:pt x="439" y="478"/>
                </a:lnTo>
                <a:lnTo>
                  <a:pt x="459" y="478"/>
                </a:lnTo>
                <a:lnTo>
                  <a:pt x="478" y="478"/>
                </a:lnTo>
                <a:lnTo>
                  <a:pt x="478" y="458"/>
                </a:lnTo>
                <a:lnTo>
                  <a:pt x="498" y="458"/>
                </a:lnTo>
                <a:lnTo>
                  <a:pt x="517" y="468"/>
                </a:lnTo>
                <a:lnTo>
                  <a:pt x="537" y="468"/>
                </a:lnTo>
                <a:lnTo>
                  <a:pt x="547" y="478"/>
                </a:lnTo>
                <a:lnTo>
                  <a:pt x="566" y="478"/>
                </a:lnTo>
                <a:lnTo>
                  <a:pt x="566" y="488"/>
                </a:lnTo>
                <a:lnTo>
                  <a:pt x="576" y="488"/>
                </a:lnTo>
                <a:lnTo>
                  <a:pt x="586" y="497"/>
                </a:lnTo>
                <a:lnTo>
                  <a:pt x="595" y="517"/>
                </a:lnTo>
                <a:lnTo>
                  <a:pt x="605" y="527"/>
                </a:lnTo>
                <a:lnTo>
                  <a:pt x="615" y="537"/>
                </a:lnTo>
                <a:lnTo>
                  <a:pt x="625" y="556"/>
                </a:lnTo>
                <a:lnTo>
                  <a:pt x="644" y="556"/>
                </a:lnTo>
                <a:lnTo>
                  <a:pt x="654" y="566"/>
                </a:lnTo>
                <a:lnTo>
                  <a:pt x="654" y="576"/>
                </a:lnTo>
                <a:lnTo>
                  <a:pt x="664" y="585"/>
                </a:lnTo>
                <a:lnTo>
                  <a:pt x="683" y="595"/>
                </a:lnTo>
                <a:lnTo>
                  <a:pt x="683" y="615"/>
                </a:lnTo>
                <a:lnTo>
                  <a:pt x="693" y="615"/>
                </a:lnTo>
                <a:lnTo>
                  <a:pt x="703" y="634"/>
                </a:lnTo>
                <a:lnTo>
                  <a:pt x="732" y="663"/>
                </a:lnTo>
                <a:lnTo>
                  <a:pt x="742" y="673"/>
                </a:lnTo>
                <a:lnTo>
                  <a:pt x="742" y="693"/>
                </a:lnTo>
                <a:lnTo>
                  <a:pt x="771" y="702"/>
                </a:lnTo>
                <a:lnTo>
                  <a:pt x="781" y="722"/>
                </a:lnTo>
                <a:lnTo>
                  <a:pt x="790" y="741"/>
                </a:lnTo>
                <a:lnTo>
                  <a:pt x="800" y="741"/>
                </a:lnTo>
                <a:lnTo>
                  <a:pt x="810" y="761"/>
                </a:lnTo>
                <a:lnTo>
                  <a:pt x="830" y="761"/>
                </a:lnTo>
                <a:lnTo>
                  <a:pt x="859" y="751"/>
                </a:lnTo>
                <a:lnTo>
                  <a:pt x="869" y="751"/>
                </a:lnTo>
                <a:lnTo>
                  <a:pt x="888" y="732"/>
                </a:lnTo>
                <a:lnTo>
                  <a:pt x="898" y="732"/>
                </a:lnTo>
                <a:lnTo>
                  <a:pt x="917" y="741"/>
                </a:lnTo>
                <a:lnTo>
                  <a:pt x="937" y="741"/>
                </a:lnTo>
                <a:lnTo>
                  <a:pt x="947" y="732"/>
                </a:lnTo>
                <a:lnTo>
                  <a:pt x="956" y="732"/>
                </a:lnTo>
                <a:lnTo>
                  <a:pt x="976" y="732"/>
                </a:lnTo>
                <a:lnTo>
                  <a:pt x="986" y="741"/>
                </a:lnTo>
                <a:lnTo>
                  <a:pt x="1005" y="751"/>
                </a:lnTo>
                <a:lnTo>
                  <a:pt x="1034" y="761"/>
                </a:lnTo>
                <a:lnTo>
                  <a:pt x="1044" y="751"/>
                </a:lnTo>
                <a:lnTo>
                  <a:pt x="1064" y="751"/>
                </a:lnTo>
                <a:lnTo>
                  <a:pt x="1064" y="722"/>
                </a:lnTo>
                <a:lnTo>
                  <a:pt x="1064" y="712"/>
                </a:lnTo>
                <a:lnTo>
                  <a:pt x="1073" y="693"/>
                </a:lnTo>
                <a:lnTo>
                  <a:pt x="1083" y="693"/>
                </a:lnTo>
                <a:lnTo>
                  <a:pt x="1083" y="673"/>
                </a:lnTo>
                <a:lnTo>
                  <a:pt x="1073" y="654"/>
                </a:lnTo>
                <a:lnTo>
                  <a:pt x="1064" y="644"/>
                </a:lnTo>
                <a:lnTo>
                  <a:pt x="1073" y="624"/>
                </a:lnTo>
                <a:lnTo>
                  <a:pt x="1064" y="615"/>
                </a:lnTo>
                <a:lnTo>
                  <a:pt x="1044" y="605"/>
                </a:lnTo>
                <a:lnTo>
                  <a:pt x="1044" y="595"/>
                </a:lnTo>
                <a:lnTo>
                  <a:pt x="1044" y="585"/>
                </a:lnTo>
                <a:lnTo>
                  <a:pt x="1025" y="576"/>
                </a:lnTo>
                <a:lnTo>
                  <a:pt x="1005" y="585"/>
                </a:lnTo>
                <a:lnTo>
                  <a:pt x="986" y="566"/>
                </a:lnTo>
                <a:lnTo>
                  <a:pt x="986" y="556"/>
                </a:lnTo>
                <a:lnTo>
                  <a:pt x="956" y="556"/>
                </a:lnTo>
                <a:lnTo>
                  <a:pt x="956" y="537"/>
                </a:lnTo>
                <a:lnTo>
                  <a:pt x="947" y="517"/>
                </a:lnTo>
                <a:lnTo>
                  <a:pt x="956" y="507"/>
                </a:lnTo>
                <a:lnTo>
                  <a:pt x="966" y="488"/>
                </a:lnTo>
                <a:lnTo>
                  <a:pt x="966" y="468"/>
                </a:lnTo>
                <a:lnTo>
                  <a:pt x="976" y="468"/>
                </a:lnTo>
                <a:lnTo>
                  <a:pt x="976" y="458"/>
                </a:lnTo>
                <a:lnTo>
                  <a:pt x="966" y="449"/>
                </a:lnTo>
                <a:lnTo>
                  <a:pt x="956" y="429"/>
                </a:lnTo>
                <a:lnTo>
                  <a:pt x="986" y="429"/>
                </a:lnTo>
                <a:lnTo>
                  <a:pt x="1005" y="410"/>
                </a:lnTo>
                <a:lnTo>
                  <a:pt x="1005" y="400"/>
                </a:lnTo>
                <a:lnTo>
                  <a:pt x="1005" y="380"/>
                </a:lnTo>
                <a:lnTo>
                  <a:pt x="1015" y="380"/>
                </a:lnTo>
                <a:lnTo>
                  <a:pt x="1015" y="361"/>
                </a:lnTo>
                <a:lnTo>
                  <a:pt x="1015" y="351"/>
                </a:lnTo>
                <a:lnTo>
                  <a:pt x="1025" y="351"/>
                </a:lnTo>
                <a:lnTo>
                  <a:pt x="1044" y="341"/>
                </a:lnTo>
                <a:lnTo>
                  <a:pt x="1064" y="332"/>
                </a:lnTo>
                <a:lnTo>
                  <a:pt x="1054" y="312"/>
                </a:lnTo>
                <a:lnTo>
                  <a:pt x="1044" y="302"/>
                </a:lnTo>
                <a:lnTo>
                  <a:pt x="1025" y="283"/>
                </a:lnTo>
                <a:lnTo>
                  <a:pt x="1025" y="273"/>
                </a:lnTo>
                <a:lnTo>
                  <a:pt x="1034" y="273"/>
                </a:lnTo>
                <a:lnTo>
                  <a:pt x="1044" y="283"/>
                </a:lnTo>
                <a:lnTo>
                  <a:pt x="1064" y="273"/>
                </a:lnTo>
                <a:lnTo>
                  <a:pt x="1093" y="263"/>
                </a:lnTo>
                <a:lnTo>
                  <a:pt x="1122" y="263"/>
                </a:lnTo>
                <a:lnTo>
                  <a:pt x="1122" y="244"/>
                </a:lnTo>
                <a:lnTo>
                  <a:pt x="1112" y="224"/>
                </a:lnTo>
                <a:lnTo>
                  <a:pt x="1103" y="224"/>
                </a:lnTo>
                <a:lnTo>
                  <a:pt x="1093" y="205"/>
                </a:lnTo>
                <a:lnTo>
                  <a:pt x="1093" y="185"/>
                </a:lnTo>
                <a:lnTo>
                  <a:pt x="1083" y="166"/>
                </a:lnTo>
                <a:lnTo>
                  <a:pt x="1064" y="156"/>
                </a:lnTo>
                <a:lnTo>
                  <a:pt x="1044" y="146"/>
                </a:lnTo>
                <a:lnTo>
                  <a:pt x="1034" y="176"/>
                </a:lnTo>
                <a:lnTo>
                  <a:pt x="1025" y="185"/>
                </a:lnTo>
                <a:lnTo>
                  <a:pt x="1005" y="185"/>
                </a:lnTo>
                <a:lnTo>
                  <a:pt x="976" y="195"/>
                </a:lnTo>
                <a:lnTo>
                  <a:pt x="976" y="215"/>
                </a:lnTo>
                <a:lnTo>
                  <a:pt x="966" y="224"/>
                </a:lnTo>
                <a:lnTo>
                  <a:pt x="966" y="234"/>
                </a:lnTo>
                <a:lnTo>
                  <a:pt x="947" y="244"/>
                </a:lnTo>
                <a:lnTo>
                  <a:pt x="927" y="254"/>
                </a:lnTo>
                <a:lnTo>
                  <a:pt x="927" y="273"/>
                </a:lnTo>
                <a:lnTo>
                  <a:pt x="908" y="273"/>
                </a:lnTo>
                <a:lnTo>
                  <a:pt x="908" y="263"/>
                </a:lnTo>
                <a:lnTo>
                  <a:pt x="898" y="273"/>
                </a:lnTo>
                <a:lnTo>
                  <a:pt x="878" y="283"/>
                </a:lnTo>
                <a:lnTo>
                  <a:pt x="859" y="263"/>
                </a:lnTo>
                <a:lnTo>
                  <a:pt x="849" y="234"/>
                </a:lnTo>
                <a:lnTo>
                  <a:pt x="849" y="215"/>
                </a:lnTo>
                <a:lnTo>
                  <a:pt x="820" y="224"/>
                </a:lnTo>
                <a:lnTo>
                  <a:pt x="810" y="234"/>
                </a:lnTo>
                <a:lnTo>
                  <a:pt x="790" y="234"/>
                </a:lnTo>
                <a:lnTo>
                  <a:pt x="781" y="224"/>
                </a:lnTo>
                <a:lnTo>
                  <a:pt x="790" y="195"/>
                </a:lnTo>
                <a:lnTo>
                  <a:pt x="800" y="176"/>
                </a:lnTo>
                <a:lnTo>
                  <a:pt x="800" y="166"/>
                </a:lnTo>
                <a:lnTo>
                  <a:pt x="800" y="156"/>
                </a:lnTo>
                <a:lnTo>
                  <a:pt x="800" y="136"/>
                </a:lnTo>
                <a:lnTo>
                  <a:pt x="810" y="117"/>
                </a:lnTo>
                <a:lnTo>
                  <a:pt x="820" y="88"/>
                </a:lnTo>
                <a:lnTo>
                  <a:pt x="830" y="68"/>
                </a:lnTo>
                <a:lnTo>
                  <a:pt x="849" y="58"/>
                </a:lnTo>
                <a:lnTo>
                  <a:pt x="839" y="49"/>
                </a:lnTo>
                <a:lnTo>
                  <a:pt x="839" y="39"/>
                </a:lnTo>
                <a:lnTo>
                  <a:pt x="849" y="39"/>
                </a:lnTo>
                <a:lnTo>
                  <a:pt x="839" y="29"/>
                </a:lnTo>
                <a:lnTo>
                  <a:pt x="849" y="29"/>
                </a:lnTo>
                <a:lnTo>
                  <a:pt x="859" y="19"/>
                </a:lnTo>
                <a:lnTo>
                  <a:pt x="830" y="10"/>
                </a:lnTo>
                <a:lnTo>
                  <a:pt x="810" y="0"/>
                </a:lnTo>
                <a:lnTo>
                  <a:pt x="800" y="10"/>
                </a:lnTo>
                <a:lnTo>
                  <a:pt x="771" y="19"/>
                </a:lnTo>
                <a:lnTo>
                  <a:pt x="712" y="39"/>
                </a:lnTo>
                <a:lnTo>
                  <a:pt x="664" y="58"/>
                </a:lnTo>
                <a:lnTo>
                  <a:pt x="634" y="68"/>
                </a:lnTo>
                <a:lnTo>
                  <a:pt x="595" y="88"/>
                </a:lnTo>
                <a:lnTo>
                  <a:pt x="595" y="107"/>
                </a:lnTo>
                <a:lnTo>
                  <a:pt x="605" y="117"/>
                </a:lnTo>
                <a:lnTo>
                  <a:pt x="595" y="127"/>
                </a:lnTo>
                <a:lnTo>
                  <a:pt x="556" y="136"/>
                </a:lnTo>
                <a:lnTo>
                  <a:pt x="537" y="136"/>
                </a:lnTo>
                <a:lnTo>
                  <a:pt x="527" y="136"/>
                </a:lnTo>
                <a:lnTo>
                  <a:pt x="517" y="136"/>
                </a:lnTo>
                <a:lnTo>
                  <a:pt x="517" y="156"/>
                </a:lnTo>
                <a:lnTo>
                  <a:pt x="498" y="156"/>
                </a:lnTo>
                <a:lnTo>
                  <a:pt x="498" y="146"/>
                </a:lnTo>
                <a:lnTo>
                  <a:pt x="488" y="156"/>
                </a:lnTo>
                <a:lnTo>
                  <a:pt x="478" y="156"/>
                </a:lnTo>
                <a:lnTo>
                  <a:pt x="459" y="156"/>
                </a:lnTo>
                <a:lnTo>
                  <a:pt x="449" y="166"/>
                </a:lnTo>
                <a:lnTo>
                  <a:pt x="430" y="176"/>
                </a:lnTo>
                <a:lnTo>
                  <a:pt x="420" y="166"/>
                </a:lnTo>
                <a:lnTo>
                  <a:pt x="410" y="156"/>
                </a:lnTo>
                <a:lnTo>
                  <a:pt x="400" y="166"/>
                </a:lnTo>
                <a:lnTo>
                  <a:pt x="391" y="166"/>
                </a:lnTo>
                <a:lnTo>
                  <a:pt x="361" y="166"/>
                </a:lnTo>
                <a:lnTo>
                  <a:pt x="332" y="176"/>
                </a:lnTo>
                <a:lnTo>
                  <a:pt x="313" y="185"/>
                </a:lnTo>
                <a:lnTo>
                  <a:pt x="303" y="176"/>
                </a:lnTo>
                <a:lnTo>
                  <a:pt x="283" y="156"/>
                </a:lnTo>
                <a:lnTo>
                  <a:pt x="264" y="146"/>
                </a:lnTo>
                <a:lnTo>
                  <a:pt x="244" y="146"/>
                </a:lnTo>
                <a:lnTo>
                  <a:pt x="225" y="146"/>
                </a:lnTo>
                <a:lnTo>
                  <a:pt x="195" y="146"/>
                </a:lnTo>
                <a:lnTo>
                  <a:pt x="186" y="146"/>
                </a:lnTo>
                <a:lnTo>
                  <a:pt x="186" y="166"/>
                </a:lnTo>
                <a:lnTo>
                  <a:pt x="166" y="166"/>
                </a:lnTo>
                <a:lnTo>
                  <a:pt x="147" y="156"/>
                </a:lnTo>
                <a:lnTo>
                  <a:pt x="137" y="136"/>
                </a:lnTo>
                <a:lnTo>
                  <a:pt x="117" y="156"/>
                </a:lnTo>
                <a:lnTo>
                  <a:pt x="108" y="146"/>
                </a:lnTo>
                <a:lnTo>
                  <a:pt x="88" y="136"/>
                </a:lnTo>
                <a:lnTo>
                  <a:pt x="69" y="136"/>
                </a:lnTo>
                <a:lnTo>
                  <a:pt x="49" y="136"/>
                </a:lnTo>
                <a:lnTo>
                  <a:pt x="20" y="146"/>
                </a:lnTo>
                <a:lnTo>
                  <a:pt x="10" y="156"/>
                </a:lnTo>
                <a:lnTo>
                  <a:pt x="0" y="176"/>
                </a:lnTo>
                <a:lnTo>
                  <a:pt x="20" y="205"/>
                </a:lnTo>
                <a:lnTo>
                  <a:pt x="49" y="215"/>
                </a:lnTo>
                <a:lnTo>
                  <a:pt x="59" y="224"/>
                </a:lnTo>
                <a:lnTo>
                  <a:pt x="39" y="234"/>
                </a:lnTo>
                <a:lnTo>
                  <a:pt x="30" y="244"/>
                </a:lnTo>
                <a:lnTo>
                  <a:pt x="39" y="254"/>
                </a:lnTo>
                <a:lnTo>
                  <a:pt x="49" y="263"/>
                </a:lnTo>
                <a:lnTo>
                  <a:pt x="78" y="244"/>
                </a:lnTo>
                <a:lnTo>
                  <a:pt x="108" y="234"/>
                </a:lnTo>
                <a:lnTo>
                  <a:pt x="117" y="244"/>
                </a:lnTo>
                <a:lnTo>
                  <a:pt x="127" y="273"/>
                </a:lnTo>
                <a:lnTo>
                  <a:pt x="127" y="283"/>
                </a:lnTo>
                <a:lnTo>
                  <a:pt x="137" y="293"/>
                </a:lnTo>
                <a:lnTo>
                  <a:pt x="156" y="273"/>
                </a:lnTo>
                <a:lnTo>
                  <a:pt x="176" y="283"/>
                </a:lnTo>
                <a:lnTo>
                  <a:pt x="176" y="302"/>
                </a:lnTo>
                <a:lnTo>
                  <a:pt x="186" y="312"/>
                </a:lnTo>
                <a:lnTo>
                  <a:pt x="186" y="332"/>
                </a:lnTo>
                <a:lnTo>
                  <a:pt x="186" y="351"/>
                </a:lnTo>
                <a:lnTo>
                  <a:pt x="186" y="361"/>
                </a:lnTo>
                <a:lnTo>
                  <a:pt x="205" y="361"/>
                </a:lnTo>
                <a:close/>
              </a:path>
            </a:pathLst>
          </a:custGeom>
          <a:solidFill>
            <a:srgbClr val="CCECFF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grpSp>
        <p:nvGrpSpPr>
          <p:cNvPr id="18517" name="Group 307"/>
          <p:cNvGrpSpPr>
            <a:grpSpLocks noChangeAspect="1"/>
          </p:cNvGrpSpPr>
          <p:nvPr>
            <p:custDataLst>
              <p:tags r:id="rId83"/>
            </p:custDataLst>
          </p:nvPr>
        </p:nvGrpSpPr>
        <p:grpSpPr bwMode="auto">
          <a:xfrm>
            <a:off x="6070600" y="4772025"/>
            <a:ext cx="749300" cy="474663"/>
            <a:chOff x="6613" y="3093"/>
            <a:chExt cx="1122" cy="761"/>
          </a:xfrm>
        </p:grpSpPr>
        <p:sp>
          <p:nvSpPr>
            <p:cNvPr id="18792" name="Freeform 309"/>
            <p:cNvSpPr>
              <a:spLocks noChangeAspect="1"/>
            </p:cNvSpPr>
            <p:nvPr/>
          </p:nvSpPr>
          <p:spPr bwMode="auto">
            <a:xfrm>
              <a:off x="6613" y="3093"/>
              <a:ext cx="1122" cy="761"/>
            </a:xfrm>
            <a:custGeom>
              <a:avLst/>
              <a:gdLst>
                <a:gd name="T0" fmla="*/ 225 w 1122"/>
                <a:gd name="T1" fmla="*/ 390 h 761"/>
                <a:gd name="T2" fmla="*/ 205 w 1122"/>
                <a:gd name="T3" fmla="*/ 439 h 761"/>
                <a:gd name="T4" fmla="*/ 332 w 1122"/>
                <a:gd name="T5" fmla="*/ 478 h 761"/>
                <a:gd name="T6" fmla="*/ 400 w 1122"/>
                <a:gd name="T7" fmla="*/ 458 h 761"/>
                <a:gd name="T8" fmla="*/ 478 w 1122"/>
                <a:gd name="T9" fmla="*/ 478 h 761"/>
                <a:gd name="T10" fmla="*/ 537 w 1122"/>
                <a:gd name="T11" fmla="*/ 468 h 761"/>
                <a:gd name="T12" fmla="*/ 576 w 1122"/>
                <a:gd name="T13" fmla="*/ 488 h 761"/>
                <a:gd name="T14" fmla="*/ 615 w 1122"/>
                <a:gd name="T15" fmla="*/ 537 h 761"/>
                <a:gd name="T16" fmla="*/ 654 w 1122"/>
                <a:gd name="T17" fmla="*/ 576 h 761"/>
                <a:gd name="T18" fmla="*/ 693 w 1122"/>
                <a:gd name="T19" fmla="*/ 615 h 761"/>
                <a:gd name="T20" fmla="*/ 751 w 1122"/>
                <a:gd name="T21" fmla="*/ 693 h 761"/>
                <a:gd name="T22" fmla="*/ 800 w 1122"/>
                <a:gd name="T23" fmla="*/ 741 h 761"/>
                <a:gd name="T24" fmla="*/ 869 w 1122"/>
                <a:gd name="T25" fmla="*/ 741 h 761"/>
                <a:gd name="T26" fmla="*/ 937 w 1122"/>
                <a:gd name="T27" fmla="*/ 741 h 761"/>
                <a:gd name="T28" fmla="*/ 986 w 1122"/>
                <a:gd name="T29" fmla="*/ 741 h 761"/>
                <a:gd name="T30" fmla="*/ 1064 w 1122"/>
                <a:gd name="T31" fmla="*/ 741 h 761"/>
                <a:gd name="T32" fmla="*/ 1083 w 1122"/>
                <a:gd name="T33" fmla="*/ 683 h 761"/>
                <a:gd name="T34" fmla="*/ 1073 w 1122"/>
                <a:gd name="T35" fmla="*/ 624 h 761"/>
                <a:gd name="T36" fmla="*/ 1044 w 1122"/>
                <a:gd name="T37" fmla="*/ 585 h 761"/>
                <a:gd name="T38" fmla="*/ 986 w 1122"/>
                <a:gd name="T39" fmla="*/ 556 h 761"/>
                <a:gd name="T40" fmla="*/ 956 w 1122"/>
                <a:gd name="T41" fmla="*/ 507 h 761"/>
                <a:gd name="T42" fmla="*/ 976 w 1122"/>
                <a:gd name="T43" fmla="*/ 458 h 761"/>
                <a:gd name="T44" fmla="*/ 1005 w 1122"/>
                <a:gd name="T45" fmla="*/ 410 h 761"/>
                <a:gd name="T46" fmla="*/ 1015 w 1122"/>
                <a:gd name="T47" fmla="*/ 380 h 761"/>
                <a:gd name="T48" fmla="*/ 1044 w 1122"/>
                <a:gd name="T49" fmla="*/ 341 h 761"/>
                <a:gd name="T50" fmla="*/ 1025 w 1122"/>
                <a:gd name="T51" fmla="*/ 283 h 761"/>
                <a:gd name="T52" fmla="*/ 1064 w 1122"/>
                <a:gd name="T53" fmla="*/ 263 h 761"/>
                <a:gd name="T54" fmla="*/ 1112 w 1122"/>
                <a:gd name="T55" fmla="*/ 224 h 761"/>
                <a:gd name="T56" fmla="*/ 1083 w 1122"/>
                <a:gd name="T57" fmla="*/ 166 h 761"/>
                <a:gd name="T58" fmla="*/ 1034 w 1122"/>
                <a:gd name="T59" fmla="*/ 176 h 761"/>
                <a:gd name="T60" fmla="*/ 976 w 1122"/>
                <a:gd name="T61" fmla="*/ 215 h 761"/>
                <a:gd name="T62" fmla="*/ 927 w 1122"/>
                <a:gd name="T63" fmla="*/ 254 h 761"/>
                <a:gd name="T64" fmla="*/ 898 w 1122"/>
                <a:gd name="T65" fmla="*/ 263 h 761"/>
                <a:gd name="T66" fmla="*/ 849 w 1122"/>
                <a:gd name="T67" fmla="*/ 215 h 761"/>
                <a:gd name="T68" fmla="*/ 781 w 1122"/>
                <a:gd name="T69" fmla="*/ 224 h 761"/>
                <a:gd name="T70" fmla="*/ 800 w 1122"/>
                <a:gd name="T71" fmla="*/ 156 h 761"/>
                <a:gd name="T72" fmla="*/ 830 w 1122"/>
                <a:gd name="T73" fmla="*/ 68 h 761"/>
                <a:gd name="T74" fmla="*/ 849 w 1122"/>
                <a:gd name="T75" fmla="*/ 39 h 761"/>
                <a:gd name="T76" fmla="*/ 849 w 1122"/>
                <a:gd name="T77" fmla="*/ 29 h 761"/>
                <a:gd name="T78" fmla="*/ 800 w 1122"/>
                <a:gd name="T79" fmla="*/ 10 h 761"/>
                <a:gd name="T80" fmla="*/ 634 w 1122"/>
                <a:gd name="T81" fmla="*/ 68 h 761"/>
                <a:gd name="T82" fmla="*/ 595 w 1122"/>
                <a:gd name="T83" fmla="*/ 127 h 761"/>
                <a:gd name="T84" fmla="*/ 517 w 1122"/>
                <a:gd name="T85" fmla="*/ 127 h 761"/>
                <a:gd name="T86" fmla="*/ 488 w 1122"/>
                <a:gd name="T87" fmla="*/ 146 h 761"/>
                <a:gd name="T88" fmla="*/ 430 w 1122"/>
                <a:gd name="T89" fmla="*/ 176 h 761"/>
                <a:gd name="T90" fmla="*/ 391 w 1122"/>
                <a:gd name="T91" fmla="*/ 166 h 761"/>
                <a:gd name="T92" fmla="*/ 303 w 1122"/>
                <a:gd name="T93" fmla="*/ 176 h 761"/>
                <a:gd name="T94" fmla="*/ 225 w 1122"/>
                <a:gd name="T95" fmla="*/ 146 h 761"/>
                <a:gd name="T96" fmla="*/ 166 w 1122"/>
                <a:gd name="T97" fmla="*/ 166 h 761"/>
                <a:gd name="T98" fmla="*/ 98 w 1122"/>
                <a:gd name="T99" fmla="*/ 146 h 761"/>
                <a:gd name="T100" fmla="*/ 20 w 1122"/>
                <a:gd name="T101" fmla="*/ 146 h 761"/>
                <a:gd name="T102" fmla="*/ 49 w 1122"/>
                <a:gd name="T103" fmla="*/ 215 h 761"/>
                <a:gd name="T104" fmla="*/ 39 w 1122"/>
                <a:gd name="T105" fmla="*/ 254 h 761"/>
                <a:gd name="T106" fmla="*/ 117 w 1122"/>
                <a:gd name="T107" fmla="*/ 244 h 761"/>
                <a:gd name="T108" fmla="*/ 156 w 1122"/>
                <a:gd name="T109" fmla="*/ 273 h 761"/>
                <a:gd name="T110" fmla="*/ 186 w 1122"/>
                <a:gd name="T111" fmla="*/ 332 h 76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122"/>
                <a:gd name="T169" fmla="*/ 0 h 761"/>
                <a:gd name="T170" fmla="*/ 1122 w 1122"/>
                <a:gd name="T171" fmla="*/ 761 h 761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122" h="761">
                  <a:moveTo>
                    <a:pt x="205" y="361"/>
                  </a:moveTo>
                  <a:lnTo>
                    <a:pt x="205" y="371"/>
                  </a:lnTo>
                  <a:lnTo>
                    <a:pt x="225" y="380"/>
                  </a:lnTo>
                  <a:lnTo>
                    <a:pt x="225" y="390"/>
                  </a:lnTo>
                  <a:lnTo>
                    <a:pt x="205" y="390"/>
                  </a:lnTo>
                  <a:lnTo>
                    <a:pt x="205" y="410"/>
                  </a:lnTo>
                  <a:lnTo>
                    <a:pt x="205" y="419"/>
                  </a:lnTo>
                  <a:lnTo>
                    <a:pt x="205" y="439"/>
                  </a:lnTo>
                  <a:lnTo>
                    <a:pt x="234" y="449"/>
                  </a:lnTo>
                  <a:lnTo>
                    <a:pt x="264" y="497"/>
                  </a:lnTo>
                  <a:lnTo>
                    <a:pt x="303" y="488"/>
                  </a:lnTo>
                  <a:lnTo>
                    <a:pt x="332" y="478"/>
                  </a:lnTo>
                  <a:lnTo>
                    <a:pt x="352" y="458"/>
                  </a:lnTo>
                  <a:lnTo>
                    <a:pt x="361" y="458"/>
                  </a:lnTo>
                  <a:lnTo>
                    <a:pt x="381" y="458"/>
                  </a:lnTo>
                  <a:lnTo>
                    <a:pt x="400" y="458"/>
                  </a:lnTo>
                  <a:lnTo>
                    <a:pt x="430" y="458"/>
                  </a:lnTo>
                  <a:lnTo>
                    <a:pt x="439" y="478"/>
                  </a:lnTo>
                  <a:lnTo>
                    <a:pt x="459" y="478"/>
                  </a:lnTo>
                  <a:lnTo>
                    <a:pt x="478" y="478"/>
                  </a:lnTo>
                  <a:lnTo>
                    <a:pt x="478" y="458"/>
                  </a:lnTo>
                  <a:lnTo>
                    <a:pt x="498" y="458"/>
                  </a:lnTo>
                  <a:lnTo>
                    <a:pt x="517" y="468"/>
                  </a:lnTo>
                  <a:lnTo>
                    <a:pt x="537" y="468"/>
                  </a:lnTo>
                  <a:lnTo>
                    <a:pt x="547" y="478"/>
                  </a:lnTo>
                  <a:lnTo>
                    <a:pt x="566" y="478"/>
                  </a:lnTo>
                  <a:lnTo>
                    <a:pt x="566" y="488"/>
                  </a:lnTo>
                  <a:lnTo>
                    <a:pt x="576" y="488"/>
                  </a:lnTo>
                  <a:lnTo>
                    <a:pt x="586" y="497"/>
                  </a:lnTo>
                  <a:lnTo>
                    <a:pt x="595" y="517"/>
                  </a:lnTo>
                  <a:lnTo>
                    <a:pt x="605" y="527"/>
                  </a:lnTo>
                  <a:lnTo>
                    <a:pt x="615" y="537"/>
                  </a:lnTo>
                  <a:lnTo>
                    <a:pt x="625" y="556"/>
                  </a:lnTo>
                  <a:lnTo>
                    <a:pt x="644" y="556"/>
                  </a:lnTo>
                  <a:lnTo>
                    <a:pt x="654" y="566"/>
                  </a:lnTo>
                  <a:lnTo>
                    <a:pt x="654" y="576"/>
                  </a:lnTo>
                  <a:lnTo>
                    <a:pt x="664" y="585"/>
                  </a:lnTo>
                  <a:lnTo>
                    <a:pt x="683" y="595"/>
                  </a:lnTo>
                  <a:lnTo>
                    <a:pt x="683" y="615"/>
                  </a:lnTo>
                  <a:lnTo>
                    <a:pt x="693" y="615"/>
                  </a:lnTo>
                  <a:lnTo>
                    <a:pt x="703" y="634"/>
                  </a:lnTo>
                  <a:lnTo>
                    <a:pt x="732" y="663"/>
                  </a:lnTo>
                  <a:lnTo>
                    <a:pt x="742" y="673"/>
                  </a:lnTo>
                  <a:lnTo>
                    <a:pt x="751" y="693"/>
                  </a:lnTo>
                  <a:lnTo>
                    <a:pt x="771" y="702"/>
                  </a:lnTo>
                  <a:lnTo>
                    <a:pt x="781" y="722"/>
                  </a:lnTo>
                  <a:lnTo>
                    <a:pt x="790" y="741"/>
                  </a:lnTo>
                  <a:lnTo>
                    <a:pt x="800" y="741"/>
                  </a:lnTo>
                  <a:lnTo>
                    <a:pt x="810" y="761"/>
                  </a:lnTo>
                  <a:lnTo>
                    <a:pt x="830" y="761"/>
                  </a:lnTo>
                  <a:lnTo>
                    <a:pt x="859" y="751"/>
                  </a:lnTo>
                  <a:lnTo>
                    <a:pt x="869" y="741"/>
                  </a:lnTo>
                  <a:lnTo>
                    <a:pt x="888" y="732"/>
                  </a:lnTo>
                  <a:lnTo>
                    <a:pt x="898" y="732"/>
                  </a:lnTo>
                  <a:lnTo>
                    <a:pt x="917" y="741"/>
                  </a:lnTo>
                  <a:lnTo>
                    <a:pt x="937" y="741"/>
                  </a:lnTo>
                  <a:lnTo>
                    <a:pt x="947" y="732"/>
                  </a:lnTo>
                  <a:lnTo>
                    <a:pt x="956" y="732"/>
                  </a:lnTo>
                  <a:lnTo>
                    <a:pt x="976" y="732"/>
                  </a:lnTo>
                  <a:lnTo>
                    <a:pt x="986" y="741"/>
                  </a:lnTo>
                  <a:lnTo>
                    <a:pt x="1005" y="751"/>
                  </a:lnTo>
                  <a:lnTo>
                    <a:pt x="1034" y="761"/>
                  </a:lnTo>
                  <a:lnTo>
                    <a:pt x="1054" y="751"/>
                  </a:lnTo>
                  <a:lnTo>
                    <a:pt x="1064" y="741"/>
                  </a:lnTo>
                  <a:lnTo>
                    <a:pt x="1064" y="722"/>
                  </a:lnTo>
                  <a:lnTo>
                    <a:pt x="1064" y="712"/>
                  </a:lnTo>
                  <a:lnTo>
                    <a:pt x="1073" y="693"/>
                  </a:lnTo>
                  <a:lnTo>
                    <a:pt x="1083" y="683"/>
                  </a:lnTo>
                  <a:lnTo>
                    <a:pt x="1083" y="673"/>
                  </a:lnTo>
                  <a:lnTo>
                    <a:pt x="1073" y="654"/>
                  </a:lnTo>
                  <a:lnTo>
                    <a:pt x="1064" y="644"/>
                  </a:lnTo>
                  <a:lnTo>
                    <a:pt x="1073" y="624"/>
                  </a:lnTo>
                  <a:lnTo>
                    <a:pt x="1064" y="615"/>
                  </a:lnTo>
                  <a:lnTo>
                    <a:pt x="1054" y="605"/>
                  </a:lnTo>
                  <a:lnTo>
                    <a:pt x="1054" y="595"/>
                  </a:lnTo>
                  <a:lnTo>
                    <a:pt x="1044" y="585"/>
                  </a:lnTo>
                  <a:lnTo>
                    <a:pt x="1025" y="576"/>
                  </a:lnTo>
                  <a:lnTo>
                    <a:pt x="1005" y="585"/>
                  </a:lnTo>
                  <a:lnTo>
                    <a:pt x="986" y="566"/>
                  </a:lnTo>
                  <a:lnTo>
                    <a:pt x="986" y="556"/>
                  </a:lnTo>
                  <a:lnTo>
                    <a:pt x="956" y="556"/>
                  </a:lnTo>
                  <a:lnTo>
                    <a:pt x="956" y="537"/>
                  </a:lnTo>
                  <a:lnTo>
                    <a:pt x="956" y="517"/>
                  </a:lnTo>
                  <a:lnTo>
                    <a:pt x="956" y="507"/>
                  </a:lnTo>
                  <a:lnTo>
                    <a:pt x="966" y="488"/>
                  </a:lnTo>
                  <a:lnTo>
                    <a:pt x="966" y="468"/>
                  </a:lnTo>
                  <a:lnTo>
                    <a:pt x="976" y="468"/>
                  </a:lnTo>
                  <a:lnTo>
                    <a:pt x="976" y="458"/>
                  </a:lnTo>
                  <a:lnTo>
                    <a:pt x="966" y="449"/>
                  </a:lnTo>
                  <a:lnTo>
                    <a:pt x="956" y="429"/>
                  </a:lnTo>
                  <a:lnTo>
                    <a:pt x="986" y="429"/>
                  </a:lnTo>
                  <a:lnTo>
                    <a:pt x="1005" y="410"/>
                  </a:lnTo>
                  <a:lnTo>
                    <a:pt x="1005" y="400"/>
                  </a:lnTo>
                  <a:lnTo>
                    <a:pt x="1005" y="380"/>
                  </a:lnTo>
                  <a:lnTo>
                    <a:pt x="1015" y="380"/>
                  </a:lnTo>
                  <a:lnTo>
                    <a:pt x="1015" y="361"/>
                  </a:lnTo>
                  <a:lnTo>
                    <a:pt x="1015" y="341"/>
                  </a:lnTo>
                  <a:lnTo>
                    <a:pt x="1025" y="341"/>
                  </a:lnTo>
                  <a:lnTo>
                    <a:pt x="1044" y="341"/>
                  </a:lnTo>
                  <a:lnTo>
                    <a:pt x="1064" y="322"/>
                  </a:lnTo>
                  <a:lnTo>
                    <a:pt x="1054" y="312"/>
                  </a:lnTo>
                  <a:lnTo>
                    <a:pt x="1044" y="302"/>
                  </a:lnTo>
                  <a:lnTo>
                    <a:pt x="1025" y="283"/>
                  </a:lnTo>
                  <a:lnTo>
                    <a:pt x="1025" y="273"/>
                  </a:lnTo>
                  <a:lnTo>
                    <a:pt x="1034" y="273"/>
                  </a:lnTo>
                  <a:lnTo>
                    <a:pt x="1044" y="283"/>
                  </a:lnTo>
                  <a:lnTo>
                    <a:pt x="1064" y="263"/>
                  </a:lnTo>
                  <a:lnTo>
                    <a:pt x="1093" y="263"/>
                  </a:lnTo>
                  <a:lnTo>
                    <a:pt x="1122" y="263"/>
                  </a:lnTo>
                  <a:lnTo>
                    <a:pt x="1122" y="244"/>
                  </a:lnTo>
                  <a:lnTo>
                    <a:pt x="1112" y="224"/>
                  </a:lnTo>
                  <a:lnTo>
                    <a:pt x="1103" y="224"/>
                  </a:lnTo>
                  <a:lnTo>
                    <a:pt x="1093" y="205"/>
                  </a:lnTo>
                  <a:lnTo>
                    <a:pt x="1093" y="185"/>
                  </a:lnTo>
                  <a:lnTo>
                    <a:pt x="1083" y="166"/>
                  </a:lnTo>
                  <a:lnTo>
                    <a:pt x="1064" y="146"/>
                  </a:lnTo>
                  <a:lnTo>
                    <a:pt x="1044" y="146"/>
                  </a:lnTo>
                  <a:lnTo>
                    <a:pt x="1034" y="176"/>
                  </a:lnTo>
                  <a:lnTo>
                    <a:pt x="1025" y="185"/>
                  </a:lnTo>
                  <a:lnTo>
                    <a:pt x="1005" y="185"/>
                  </a:lnTo>
                  <a:lnTo>
                    <a:pt x="976" y="195"/>
                  </a:lnTo>
                  <a:lnTo>
                    <a:pt x="976" y="215"/>
                  </a:lnTo>
                  <a:lnTo>
                    <a:pt x="966" y="224"/>
                  </a:lnTo>
                  <a:lnTo>
                    <a:pt x="966" y="234"/>
                  </a:lnTo>
                  <a:lnTo>
                    <a:pt x="947" y="244"/>
                  </a:lnTo>
                  <a:lnTo>
                    <a:pt x="927" y="254"/>
                  </a:lnTo>
                  <a:lnTo>
                    <a:pt x="927" y="273"/>
                  </a:lnTo>
                  <a:lnTo>
                    <a:pt x="908" y="273"/>
                  </a:lnTo>
                  <a:lnTo>
                    <a:pt x="908" y="263"/>
                  </a:lnTo>
                  <a:lnTo>
                    <a:pt x="898" y="263"/>
                  </a:lnTo>
                  <a:lnTo>
                    <a:pt x="878" y="283"/>
                  </a:lnTo>
                  <a:lnTo>
                    <a:pt x="859" y="263"/>
                  </a:lnTo>
                  <a:lnTo>
                    <a:pt x="849" y="234"/>
                  </a:lnTo>
                  <a:lnTo>
                    <a:pt x="849" y="215"/>
                  </a:lnTo>
                  <a:lnTo>
                    <a:pt x="820" y="224"/>
                  </a:lnTo>
                  <a:lnTo>
                    <a:pt x="810" y="234"/>
                  </a:lnTo>
                  <a:lnTo>
                    <a:pt x="790" y="234"/>
                  </a:lnTo>
                  <a:lnTo>
                    <a:pt x="781" y="224"/>
                  </a:lnTo>
                  <a:lnTo>
                    <a:pt x="790" y="195"/>
                  </a:lnTo>
                  <a:lnTo>
                    <a:pt x="800" y="176"/>
                  </a:lnTo>
                  <a:lnTo>
                    <a:pt x="800" y="166"/>
                  </a:lnTo>
                  <a:lnTo>
                    <a:pt x="800" y="156"/>
                  </a:lnTo>
                  <a:lnTo>
                    <a:pt x="800" y="127"/>
                  </a:lnTo>
                  <a:lnTo>
                    <a:pt x="810" y="117"/>
                  </a:lnTo>
                  <a:lnTo>
                    <a:pt x="820" y="88"/>
                  </a:lnTo>
                  <a:lnTo>
                    <a:pt x="830" y="68"/>
                  </a:lnTo>
                  <a:lnTo>
                    <a:pt x="849" y="58"/>
                  </a:lnTo>
                  <a:lnTo>
                    <a:pt x="839" y="49"/>
                  </a:lnTo>
                  <a:lnTo>
                    <a:pt x="839" y="39"/>
                  </a:lnTo>
                  <a:lnTo>
                    <a:pt x="849" y="39"/>
                  </a:lnTo>
                  <a:lnTo>
                    <a:pt x="839" y="29"/>
                  </a:lnTo>
                  <a:lnTo>
                    <a:pt x="849" y="29"/>
                  </a:lnTo>
                  <a:lnTo>
                    <a:pt x="859" y="19"/>
                  </a:lnTo>
                  <a:lnTo>
                    <a:pt x="830" y="10"/>
                  </a:lnTo>
                  <a:lnTo>
                    <a:pt x="810" y="0"/>
                  </a:lnTo>
                  <a:lnTo>
                    <a:pt x="800" y="10"/>
                  </a:lnTo>
                  <a:lnTo>
                    <a:pt x="771" y="19"/>
                  </a:lnTo>
                  <a:lnTo>
                    <a:pt x="712" y="39"/>
                  </a:lnTo>
                  <a:lnTo>
                    <a:pt x="664" y="58"/>
                  </a:lnTo>
                  <a:lnTo>
                    <a:pt x="634" y="68"/>
                  </a:lnTo>
                  <a:lnTo>
                    <a:pt x="595" y="88"/>
                  </a:lnTo>
                  <a:lnTo>
                    <a:pt x="605" y="107"/>
                  </a:lnTo>
                  <a:lnTo>
                    <a:pt x="605" y="117"/>
                  </a:lnTo>
                  <a:lnTo>
                    <a:pt x="595" y="127"/>
                  </a:lnTo>
                  <a:lnTo>
                    <a:pt x="556" y="127"/>
                  </a:lnTo>
                  <a:lnTo>
                    <a:pt x="537" y="136"/>
                  </a:lnTo>
                  <a:lnTo>
                    <a:pt x="527" y="127"/>
                  </a:lnTo>
                  <a:lnTo>
                    <a:pt x="517" y="127"/>
                  </a:lnTo>
                  <a:lnTo>
                    <a:pt x="517" y="146"/>
                  </a:lnTo>
                  <a:lnTo>
                    <a:pt x="498" y="146"/>
                  </a:lnTo>
                  <a:lnTo>
                    <a:pt x="488" y="146"/>
                  </a:lnTo>
                  <a:lnTo>
                    <a:pt x="478" y="156"/>
                  </a:lnTo>
                  <a:lnTo>
                    <a:pt x="459" y="156"/>
                  </a:lnTo>
                  <a:lnTo>
                    <a:pt x="449" y="166"/>
                  </a:lnTo>
                  <a:lnTo>
                    <a:pt x="430" y="176"/>
                  </a:lnTo>
                  <a:lnTo>
                    <a:pt x="420" y="166"/>
                  </a:lnTo>
                  <a:lnTo>
                    <a:pt x="410" y="156"/>
                  </a:lnTo>
                  <a:lnTo>
                    <a:pt x="400" y="166"/>
                  </a:lnTo>
                  <a:lnTo>
                    <a:pt x="391" y="166"/>
                  </a:lnTo>
                  <a:lnTo>
                    <a:pt x="361" y="166"/>
                  </a:lnTo>
                  <a:lnTo>
                    <a:pt x="332" y="176"/>
                  </a:lnTo>
                  <a:lnTo>
                    <a:pt x="313" y="185"/>
                  </a:lnTo>
                  <a:lnTo>
                    <a:pt x="303" y="176"/>
                  </a:lnTo>
                  <a:lnTo>
                    <a:pt x="283" y="156"/>
                  </a:lnTo>
                  <a:lnTo>
                    <a:pt x="264" y="146"/>
                  </a:lnTo>
                  <a:lnTo>
                    <a:pt x="244" y="146"/>
                  </a:lnTo>
                  <a:lnTo>
                    <a:pt x="225" y="146"/>
                  </a:lnTo>
                  <a:lnTo>
                    <a:pt x="205" y="146"/>
                  </a:lnTo>
                  <a:lnTo>
                    <a:pt x="186" y="146"/>
                  </a:lnTo>
                  <a:lnTo>
                    <a:pt x="186" y="166"/>
                  </a:lnTo>
                  <a:lnTo>
                    <a:pt x="166" y="166"/>
                  </a:lnTo>
                  <a:lnTo>
                    <a:pt x="147" y="146"/>
                  </a:lnTo>
                  <a:lnTo>
                    <a:pt x="137" y="136"/>
                  </a:lnTo>
                  <a:lnTo>
                    <a:pt x="117" y="146"/>
                  </a:lnTo>
                  <a:lnTo>
                    <a:pt x="98" y="146"/>
                  </a:lnTo>
                  <a:lnTo>
                    <a:pt x="88" y="127"/>
                  </a:lnTo>
                  <a:lnTo>
                    <a:pt x="69" y="136"/>
                  </a:lnTo>
                  <a:lnTo>
                    <a:pt x="49" y="136"/>
                  </a:lnTo>
                  <a:lnTo>
                    <a:pt x="20" y="146"/>
                  </a:lnTo>
                  <a:lnTo>
                    <a:pt x="10" y="156"/>
                  </a:lnTo>
                  <a:lnTo>
                    <a:pt x="0" y="176"/>
                  </a:lnTo>
                  <a:lnTo>
                    <a:pt x="20" y="205"/>
                  </a:lnTo>
                  <a:lnTo>
                    <a:pt x="49" y="215"/>
                  </a:lnTo>
                  <a:lnTo>
                    <a:pt x="59" y="224"/>
                  </a:lnTo>
                  <a:lnTo>
                    <a:pt x="39" y="234"/>
                  </a:lnTo>
                  <a:lnTo>
                    <a:pt x="30" y="244"/>
                  </a:lnTo>
                  <a:lnTo>
                    <a:pt x="39" y="254"/>
                  </a:lnTo>
                  <a:lnTo>
                    <a:pt x="49" y="263"/>
                  </a:lnTo>
                  <a:lnTo>
                    <a:pt x="78" y="244"/>
                  </a:lnTo>
                  <a:lnTo>
                    <a:pt x="98" y="234"/>
                  </a:lnTo>
                  <a:lnTo>
                    <a:pt x="117" y="244"/>
                  </a:lnTo>
                  <a:lnTo>
                    <a:pt x="127" y="273"/>
                  </a:lnTo>
                  <a:lnTo>
                    <a:pt x="127" y="283"/>
                  </a:lnTo>
                  <a:lnTo>
                    <a:pt x="147" y="293"/>
                  </a:lnTo>
                  <a:lnTo>
                    <a:pt x="156" y="273"/>
                  </a:lnTo>
                  <a:lnTo>
                    <a:pt x="176" y="283"/>
                  </a:lnTo>
                  <a:lnTo>
                    <a:pt x="176" y="302"/>
                  </a:lnTo>
                  <a:lnTo>
                    <a:pt x="186" y="312"/>
                  </a:lnTo>
                  <a:lnTo>
                    <a:pt x="186" y="332"/>
                  </a:lnTo>
                  <a:lnTo>
                    <a:pt x="186" y="351"/>
                  </a:lnTo>
                  <a:lnTo>
                    <a:pt x="186" y="361"/>
                  </a:lnTo>
                  <a:lnTo>
                    <a:pt x="205" y="361"/>
                  </a:lnTo>
                  <a:close/>
                </a:path>
              </a:pathLst>
            </a:custGeom>
            <a:solidFill>
              <a:srgbClr val="FEE95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8793" name="Freeform 308"/>
            <p:cNvSpPr>
              <a:spLocks noChangeAspect="1"/>
            </p:cNvSpPr>
            <p:nvPr/>
          </p:nvSpPr>
          <p:spPr bwMode="auto">
            <a:xfrm>
              <a:off x="6613" y="3093"/>
              <a:ext cx="1122" cy="761"/>
            </a:xfrm>
            <a:custGeom>
              <a:avLst/>
              <a:gdLst>
                <a:gd name="T0" fmla="*/ 225 w 1122"/>
                <a:gd name="T1" fmla="*/ 390 h 761"/>
                <a:gd name="T2" fmla="*/ 205 w 1122"/>
                <a:gd name="T3" fmla="*/ 439 h 761"/>
                <a:gd name="T4" fmla="*/ 332 w 1122"/>
                <a:gd name="T5" fmla="*/ 478 h 761"/>
                <a:gd name="T6" fmla="*/ 400 w 1122"/>
                <a:gd name="T7" fmla="*/ 458 h 761"/>
                <a:gd name="T8" fmla="*/ 478 w 1122"/>
                <a:gd name="T9" fmla="*/ 478 h 761"/>
                <a:gd name="T10" fmla="*/ 537 w 1122"/>
                <a:gd name="T11" fmla="*/ 468 h 761"/>
                <a:gd name="T12" fmla="*/ 576 w 1122"/>
                <a:gd name="T13" fmla="*/ 488 h 761"/>
                <a:gd name="T14" fmla="*/ 615 w 1122"/>
                <a:gd name="T15" fmla="*/ 537 h 761"/>
                <a:gd name="T16" fmla="*/ 654 w 1122"/>
                <a:gd name="T17" fmla="*/ 576 h 761"/>
                <a:gd name="T18" fmla="*/ 693 w 1122"/>
                <a:gd name="T19" fmla="*/ 615 h 761"/>
                <a:gd name="T20" fmla="*/ 751 w 1122"/>
                <a:gd name="T21" fmla="*/ 693 h 761"/>
                <a:gd name="T22" fmla="*/ 800 w 1122"/>
                <a:gd name="T23" fmla="*/ 741 h 761"/>
                <a:gd name="T24" fmla="*/ 869 w 1122"/>
                <a:gd name="T25" fmla="*/ 741 h 761"/>
                <a:gd name="T26" fmla="*/ 937 w 1122"/>
                <a:gd name="T27" fmla="*/ 741 h 761"/>
                <a:gd name="T28" fmla="*/ 986 w 1122"/>
                <a:gd name="T29" fmla="*/ 741 h 761"/>
                <a:gd name="T30" fmla="*/ 1064 w 1122"/>
                <a:gd name="T31" fmla="*/ 741 h 761"/>
                <a:gd name="T32" fmla="*/ 1083 w 1122"/>
                <a:gd name="T33" fmla="*/ 683 h 761"/>
                <a:gd name="T34" fmla="*/ 1073 w 1122"/>
                <a:gd name="T35" fmla="*/ 624 h 761"/>
                <a:gd name="T36" fmla="*/ 1044 w 1122"/>
                <a:gd name="T37" fmla="*/ 585 h 761"/>
                <a:gd name="T38" fmla="*/ 986 w 1122"/>
                <a:gd name="T39" fmla="*/ 556 h 761"/>
                <a:gd name="T40" fmla="*/ 956 w 1122"/>
                <a:gd name="T41" fmla="*/ 507 h 761"/>
                <a:gd name="T42" fmla="*/ 976 w 1122"/>
                <a:gd name="T43" fmla="*/ 458 h 761"/>
                <a:gd name="T44" fmla="*/ 1005 w 1122"/>
                <a:gd name="T45" fmla="*/ 410 h 761"/>
                <a:gd name="T46" fmla="*/ 1015 w 1122"/>
                <a:gd name="T47" fmla="*/ 380 h 761"/>
                <a:gd name="T48" fmla="*/ 1044 w 1122"/>
                <a:gd name="T49" fmla="*/ 341 h 761"/>
                <a:gd name="T50" fmla="*/ 1025 w 1122"/>
                <a:gd name="T51" fmla="*/ 283 h 761"/>
                <a:gd name="T52" fmla="*/ 1064 w 1122"/>
                <a:gd name="T53" fmla="*/ 263 h 761"/>
                <a:gd name="T54" fmla="*/ 1112 w 1122"/>
                <a:gd name="T55" fmla="*/ 224 h 761"/>
                <a:gd name="T56" fmla="*/ 1083 w 1122"/>
                <a:gd name="T57" fmla="*/ 166 h 761"/>
                <a:gd name="T58" fmla="*/ 1034 w 1122"/>
                <a:gd name="T59" fmla="*/ 176 h 761"/>
                <a:gd name="T60" fmla="*/ 976 w 1122"/>
                <a:gd name="T61" fmla="*/ 215 h 761"/>
                <a:gd name="T62" fmla="*/ 927 w 1122"/>
                <a:gd name="T63" fmla="*/ 254 h 761"/>
                <a:gd name="T64" fmla="*/ 898 w 1122"/>
                <a:gd name="T65" fmla="*/ 263 h 761"/>
                <a:gd name="T66" fmla="*/ 849 w 1122"/>
                <a:gd name="T67" fmla="*/ 215 h 761"/>
                <a:gd name="T68" fmla="*/ 781 w 1122"/>
                <a:gd name="T69" fmla="*/ 224 h 761"/>
                <a:gd name="T70" fmla="*/ 800 w 1122"/>
                <a:gd name="T71" fmla="*/ 156 h 761"/>
                <a:gd name="T72" fmla="*/ 830 w 1122"/>
                <a:gd name="T73" fmla="*/ 68 h 761"/>
                <a:gd name="T74" fmla="*/ 849 w 1122"/>
                <a:gd name="T75" fmla="*/ 39 h 761"/>
                <a:gd name="T76" fmla="*/ 849 w 1122"/>
                <a:gd name="T77" fmla="*/ 29 h 761"/>
                <a:gd name="T78" fmla="*/ 800 w 1122"/>
                <a:gd name="T79" fmla="*/ 10 h 761"/>
                <a:gd name="T80" fmla="*/ 634 w 1122"/>
                <a:gd name="T81" fmla="*/ 68 h 761"/>
                <a:gd name="T82" fmla="*/ 595 w 1122"/>
                <a:gd name="T83" fmla="*/ 127 h 761"/>
                <a:gd name="T84" fmla="*/ 517 w 1122"/>
                <a:gd name="T85" fmla="*/ 127 h 761"/>
                <a:gd name="T86" fmla="*/ 488 w 1122"/>
                <a:gd name="T87" fmla="*/ 146 h 761"/>
                <a:gd name="T88" fmla="*/ 430 w 1122"/>
                <a:gd name="T89" fmla="*/ 176 h 761"/>
                <a:gd name="T90" fmla="*/ 391 w 1122"/>
                <a:gd name="T91" fmla="*/ 166 h 761"/>
                <a:gd name="T92" fmla="*/ 303 w 1122"/>
                <a:gd name="T93" fmla="*/ 176 h 761"/>
                <a:gd name="T94" fmla="*/ 225 w 1122"/>
                <a:gd name="T95" fmla="*/ 146 h 761"/>
                <a:gd name="T96" fmla="*/ 166 w 1122"/>
                <a:gd name="T97" fmla="*/ 166 h 761"/>
                <a:gd name="T98" fmla="*/ 98 w 1122"/>
                <a:gd name="T99" fmla="*/ 146 h 761"/>
                <a:gd name="T100" fmla="*/ 20 w 1122"/>
                <a:gd name="T101" fmla="*/ 146 h 761"/>
                <a:gd name="T102" fmla="*/ 49 w 1122"/>
                <a:gd name="T103" fmla="*/ 215 h 761"/>
                <a:gd name="T104" fmla="*/ 39 w 1122"/>
                <a:gd name="T105" fmla="*/ 254 h 761"/>
                <a:gd name="T106" fmla="*/ 117 w 1122"/>
                <a:gd name="T107" fmla="*/ 244 h 761"/>
                <a:gd name="T108" fmla="*/ 156 w 1122"/>
                <a:gd name="T109" fmla="*/ 273 h 761"/>
                <a:gd name="T110" fmla="*/ 186 w 1122"/>
                <a:gd name="T111" fmla="*/ 332 h 76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122"/>
                <a:gd name="T169" fmla="*/ 0 h 761"/>
                <a:gd name="T170" fmla="*/ 1122 w 1122"/>
                <a:gd name="T171" fmla="*/ 761 h 761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122" h="761">
                  <a:moveTo>
                    <a:pt x="205" y="361"/>
                  </a:moveTo>
                  <a:lnTo>
                    <a:pt x="205" y="371"/>
                  </a:lnTo>
                  <a:lnTo>
                    <a:pt x="225" y="380"/>
                  </a:lnTo>
                  <a:lnTo>
                    <a:pt x="225" y="390"/>
                  </a:lnTo>
                  <a:lnTo>
                    <a:pt x="205" y="390"/>
                  </a:lnTo>
                  <a:lnTo>
                    <a:pt x="205" y="410"/>
                  </a:lnTo>
                  <a:lnTo>
                    <a:pt x="205" y="419"/>
                  </a:lnTo>
                  <a:lnTo>
                    <a:pt x="205" y="439"/>
                  </a:lnTo>
                  <a:lnTo>
                    <a:pt x="234" y="449"/>
                  </a:lnTo>
                  <a:lnTo>
                    <a:pt x="264" y="497"/>
                  </a:lnTo>
                  <a:lnTo>
                    <a:pt x="303" y="488"/>
                  </a:lnTo>
                  <a:lnTo>
                    <a:pt x="332" y="478"/>
                  </a:lnTo>
                  <a:lnTo>
                    <a:pt x="352" y="458"/>
                  </a:lnTo>
                  <a:lnTo>
                    <a:pt x="361" y="458"/>
                  </a:lnTo>
                  <a:lnTo>
                    <a:pt x="381" y="458"/>
                  </a:lnTo>
                  <a:lnTo>
                    <a:pt x="400" y="458"/>
                  </a:lnTo>
                  <a:lnTo>
                    <a:pt x="430" y="458"/>
                  </a:lnTo>
                  <a:lnTo>
                    <a:pt x="439" y="478"/>
                  </a:lnTo>
                  <a:lnTo>
                    <a:pt x="459" y="478"/>
                  </a:lnTo>
                  <a:lnTo>
                    <a:pt x="478" y="478"/>
                  </a:lnTo>
                  <a:lnTo>
                    <a:pt x="478" y="458"/>
                  </a:lnTo>
                  <a:lnTo>
                    <a:pt x="498" y="458"/>
                  </a:lnTo>
                  <a:lnTo>
                    <a:pt x="517" y="468"/>
                  </a:lnTo>
                  <a:lnTo>
                    <a:pt x="537" y="468"/>
                  </a:lnTo>
                  <a:lnTo>
                    <a:pt x="547" y="478"/>
                  </a:lnTo>
                  <a:lnTo>
                    <a:pt x="566" y="478"/>
                  </a:lnTo>
                  <a:lnTo>
                    <a:pt x="566" y="488"/>
                  </a:lnTo>
                  <a:lnTo>
                    <a:pt x="576" y="488"/>
                  </a:lnTo>
                  <a:lnTo>
                    <a:pt x="586" y="497"/>
                  </a:lnTo>
                  <a:lnTo>
                    <a:pt x="595" y="517"/>
                  </a:lnTo>
                  <a:lnTo>
                    <a:pt x="605" y="527"/>
                  </a:lnTo>
                  <a:lnTo>
                    <a:pt x="615" y="537"/>
                  </a:lnTo>
                  <a:lnTo>
                    <a:pt x="625" y="556"/>
                  </a:lnTo>
                  <a:lnTo>
                    <a:pt x="644" y="556"/>
                  </a:lnTo>
                  <a:lnTo>
                    <a:pt x="654" y="566"/>
                  </a:lnTo>
                  <a:lnTo>
                    <a:pt x="654" y="576"/>
                  </a:lnTo>
                  <a:lnTo>
                    <a:pt x="664" y="585"/>
                  </a:lnTo>
                  <a:lnTo>
                    <a:pt x="683" y="595"/>
                  </a:lnTo>
                  <a:lnTo>
                    <a:pt x="683" y="615"/>
                  </a:lnTo>
                  <a:lnTo>
                    <a:pt x="693" y="615"/>
                  </a:lnTo>
                  <a:lnTo>
                    <a:pt x="703" y="634"/>
                  </a:lnTo>
                  <a:lnTo>
                    <a:pt x="732" y="663"/>
                  </a:lnTo>
                  <a:lnTo>
                    <a:pt x="742" y="673"/>
                  </a:lnTo>
                  <a:lnTo>
                    <a:pt x="751" y="693"/>
                  </a:lnTo>
                  <a:lnTo>
                    <a:pt x="771" y="702"/>
                  </a:lnTo>
                  <a:lnTo>
                    <a:pt x="781" y="722"/>
                  </a:lnTo>
                  <a:lnTo>
                    <a:pt x="790" y="741"/>
                  </a:lnTo>
                  <a:lnTo>
                    <a:pt x="800" y="741"/>
                  </a:lnTo>
                  <a:lnTo>
                    <a:pt x="810" y="761"/>
                  </a:lnTo>
                  <a:lnTo>
                    <a:pt x="830" y="761"/>
                  </a:lnTo>
                  <a:lnTo>
                    <a:pt x="859" y="751"/>
                  </a:lnTo>
                  <a:lnTo>
                    <a:pt x="869" y="741"/>
                  </a:lnTo>
                  <a:lnTo>
                    <a:pt x="888" y="732"/>
                  </a:lnTo>
                  <a:lnTo>
                    <a:pt x="898" y="732"/>
                  </a:lnTo>
                  <a:lnTo>
                    <a:pt x="917" y="741"/>
                  </a:lnTo>
                  <a:lnTo>
                    <a:pt x="937" y="741"/>
                  </a:lnTo>
                  <a:lnTo>
                    <a:pt x="947" y="732"/>
                  </a:lnTo>
                  <a:lnTo>
                    <a:pt x="956" y="732"/>
                  </a:lnTo>
                  <a:lnTo>
                    <a:pt x="976" y="732"/>
                  </a:lnTo>
                  <a:lnTo>
                    <a:pt x="986" y="741"/>
                  </a:lnTo>
                  <a:lnTo>
                    <a:pt x="1005" y="751"/>
                  </a:lnTo>
                  <a:lnTo>
                    <a:pt x="1034" y="761"/>
                  </a:lnTo>
                  <a:lnTo>
                    <a:pt x="1054" y="751"/>
                  </a:lnTo>
                  <a:lnTo>
                    <a:pt x="1064" y="741"/>
                  </a:lnTo>
                  <a:lnTo>
                    <a:pt x="1064" y="722"/>
                  </a:lnTo>
                  <a:lnTo>
                    <a:pt x="1064" y="712"/>
                  </a:lnTo>
                  <a:lnTo>
                    <a:pt x="1073" y="693"/>
                  </a:lnTo>
                  <a:lnTo>
                    <a:pt x="1083" y="683"/>
                  </a:lnTo>
                  <a:lnTo>
                    <a:pt x="1083" y="673"/>
                  </a:lnTo>
                  <a:lnTo>
                    <a:pt x="1073" y="654"/>
                  </a:lnTo>
                  <a:lnTo>
                    <a:pt x="1064" y="644"/>
                  </a:lnTo>
                  <a:lnTo>
                    <a:pt x="1073" y="624"/>
                  </a:lnTo>
                  <a:lnTo>
                    <a:pt x="1064" y="615"/>
                  </a:lnTo>
                  <a:lnTo>
                    <a:pt x="1054" y="605"/>
                  </a:lnTo>
                  <a:lnTo>
                    <a:pt x="1054" y="595"/>
                  </a:lnTo>
                  <a:lnTo>
                    <a:pt x="1044" y="585"/>
                  </a:lnTo>
                  <a:lnTo>
                    <a:pt x="1025" y="576"/>
                  </a:lnTo>
                  <a:lnTo>
                    <a:pt x="1005" y="585"/>
                  </a:lnTo>
                  <a:lnTo>
                    <a:pt x="986" y="566"/>
                  </a:lnTo>
                  <a:lnTo>
                    <a:pt x="986" y="556"/>
                  </a:lnTo>
                  <a:lnTo>
                    <a:pt x="956" y="556"/>
                  </a:lnTo>
                  <a:lnTo>
                    <a:pt x="956" y="537"/>
                  </a:lnTo>
                  <a:lnTo>
                    <a:pt x="956" y="517"/>
                  </a:lnTo>
                  <a:lnTo>
                    <a:pt x="956" y="507"/>
                  </a:lnTo>
                  <a:lnTo>
                    <a:pt x="966" y="488"/>
                  </a:lnTo>
                  <a:lnTo>
                    <a:pt x="966" y="468"/>
                  </a:lnTo>
                  <a:lnTo>
                    <a:pt x="976" y="468"/>
                  </a:lnTo>
                  <a:lnTo>
                    <a:pt x="976" y="458"/>
                  </a:lnTo>
                  <a:lnTo>
                    <a:pt x="966" y="449"/>
                  </a:lnTo>
                  <a:lnTo>
                    <a:pt x="956" y="429"/>
                  </a:lnTo>
                  <a:lnTo>
                    <a:pt x="986" y="429"/>
                  </a:lnTo>
                  <a:lnTo>
                    <a:pt x="1005" y="410"/>
                  </a:lnTo>
                  <a:lnTo>
                    <a:pt x="1005" y="400"/>
                  </a:lnTo>
                  <a:lnTo>
                    <a:pt x="1005" y="380"/>
                  </a:lnTo>
                  <a:lnTo>
                    <a:pt x="1015" y="380"/>
                  </a:lnTo>
                  <a:lnTo>
                    <a:pt x="1015" y="361"/>
                  </a:lnTo>
                  <a:lnTo>
                    <a:pt x="1015" y="341"/>
                  </a:lnTo>
                  <a:lnTo>
                    <a:pt x="1025" y="341"/>
                  </a:lnTo>
                  <a:lnTo>
                    <a:pt x="1044" y="341"/>
                  </a:lnTo>
                  <a:lnTo>
                    <a:pt x="1064" y="322"/>
                  </a:lnTo>
                  <a:lnTo>
                    <a:pt x="1054" y="312"/>
                  </a:lnTo>
                  <a:lnTo>
                    <a:pt x="1044" y="302"/>
                  </a:lnTo>
                  <a:lnTo>
                    <a:pt x="1025" y="283"/>
                  </a:lnTo>
                  <a:lnTo>
                    <a:pt x="1025" y="273"/>
                  </a:lnTo>
                  <a:lnTo>
                    <a:pt x="1034" y="273"/>
                  </a:lnTo>
                  <a:lnTo>
                    <a:pt x="1044" y="283"/>
                  </a:lnTo>
                  <a:lnTo>
                    <a:pt x="1064" y="263"/>
                  </a:lnTo>
                  <a:lnTo>
                    <a:pt x="1093" y="263"/>
                  </a:lnTo>
                  <a:lnTo>
                    <a:pt x="1122" y="263"/>
                  </a:lnTo>
                  <a:lnTo>
                    <a:pt x="1122" y="244"/>
                  </a:lnTo>
                  <a:lnTo>
                    <a:pt x="1112" y="224"/>
                  </a:lnTo>
                  <a:lnTo>
                    <a:pt x="1103" y="224"/>
                  </a:lnTo>
                  <a:lnTo>
                    <a:pt x="1093" y="205"/>
                  </a:lnTo>
                  <a:lnTo>
                    <a:pt x="1093" y="185"/>
                  </a:lnTo>
                  <a:lnTo>
                    <a:pt x="1083" y="166"/>
                  </a:lnTo>
                  <a:lnTo>
                    <a:pt x="1064" y="146"/>
                  </a:lnTo>
                  <a:lnTo>
                    <a:pt x="1044" y="146"/>
                  </a:lnTo>
                  <a:lnTo>
                    <a:pt x="1034" y="176"/>
                  </a:lnTo>
                  <a:lnTo>
                    <a:pt x="1025" y="185"/>
                  </a:lnTo>
                  <a:lnTo>
                    <a:pt x="1005" y="185"/>
                  </a:lnTo>
                  <a:lnTo>
                    <a:pt x="976" y="195"/>
                  </a:lnTo>
                  <a:lnTo>
                    <a:pt x="976" y="215"/>
                  </a:lnTo>
                  <a:lnTo>
                    <a:pt x="966" y="224"/>
                  </a:lnTo>
                  <a:lnTo>
                    <a:pt x="966" y="234"/>
                  </a:lnTo>
                  <a:lnTo>
                    <a:pt x="947" y="244"/>
                  </a:lnTo>
                  <a:lnTo>
                    <a:pt x="927" y="254"/>
                  </a:lnTo>
                  <a:lnTo>
                    <a:pt x="927" y="273"/>
                  </a:lnTo>
                  <a:lnTo>
                    <a:pt x="908" y="273"/>
                  </a:lnTo>
                  <a:lnTo>
                    <a:pt x="908" y="263"/>
                  </a:lnTo>
                  <a:lnTo>
                    <a:pt x="898" y="263"/>
                  </a:lnTo>
                  <a:lnTo>
                    <a:pt x="878" y="283"/>
                  </a:lnTo>
                  <a:lnTo>
                    <a:pt x="859" y="263"/>
                  </a:lnTo>
                  <a:lnTo>
                    <a:pt x="849" y="234"/>
                  </a:lnTo>
                  <a:lnTo>
                    <a:pt x="849" y="215"/>
                  </a:lnTo>
                  <a:lnTo>
                    <a:pt x="820" y="224"/>
                  </a:lnTo>
                  <a:lnTo>
                    <a:pt x="810" y="234"/>
                  </a:lnTo>
                  <a:lnTo>
                    <a:pt x="790" y="234"/>
                  </a:lnTo>
                  <a:lnTo>
                    <a:pt x="781" y="224"/>
                  </a:lnTo>
                  <a:lnTo>
                    <a:pt x="790" y="195"/>
                  </a:lnTo>
                  <a:lnTo>
                    <a:pt x="800" y="176"/>
                  </a:lnTo>
                  <a:lnTo>
                    <a:pt x="800" y="166"/>
                  </a:lnTo>
                  <a:lnTo>
                    <a:pt x="800" y="156"/>
                  </a:lnTo>
                  <a:lnTo>
                    <a:pt x="800" y="127"/>
                  </a:lnTo>
                  <a:lnTo>
                    <a:pt x="810" y="117"/>
                  </a:lnTo>
                  <a:lnTo>
                    <a:pt x="820" y="88"/>
                  </a:lnTo>
                  <a:lnTo>
                    <a:pt x="830" y="68"/>
                  </a:lnTo>
                  <a:lnTo>
                    <a:pt x="849" y="58"/>
                  </a:lnTo>
                  <a:lnTo>
                    <a:pt x="839" y="49"/>
                  </a:lnTo>
                  <a:lnTo>
                    <a:pt x="839" y="39"/>
                  </a:lnTo>
                  <a:lnTo>
                    <a:pt x="849" y="39"/>
                  </a:lnTo>
                  <a:lnTo>
                    <a:pt x="839" y="29"/>
                  </a:lnTo>
                  <a:lnTo>
                    <a:pt x="849" y="29"/>
                  </a:lnTo>
                  <a:lnTo>
                    <a:pt x="859" y="19"/>
                  </a:lnTo>
                  <a:lnTo>
                    <a:pt x="830" y="10"/>
                  </a:lnTo>
                  <a:lnTo>
                    <a:pt x="810" y="0"/>
                  </a:lnTo>
                  <a:lnTo>
                    <a:pt x="800" y="10"/>
                  </a:lnTo>
                  <a:lnTo>
                    <a:pt x="771" y="19"/>
                  </a:lnTo>
                  <a:lnTo>
                    <a:pt x="712" y="39"/>
                  </a:lnTo>
                  <a:lnTo>
                    <a:pt x="664" y="58"/>
                  </a:lnTo>
                  <a:lnTo>
                    <a:pt x="634" y="68"/>
                  </a:lnTo>
                  <a:lnTo>
                    <a:pt x="595" y="88"/>
                  </a:lnTo>
                  <a:lnTo>
                    <a:pt x="605" y="107"/>
                  </a:lnTo>
                  <a:lnTo>
                    <a:pt x="605" y="117"/>
                  </a:lnTo>
                  <a:lnTo>
                    <a:pt x="595" y="127"/>
                  </a:lnTo>
                  <a:lnTo>
                    <a:pt x="556" y="127"/>
                  </a:lnTo>
                  <a:lnTo>
                    <a:pt x="537" y="136"/>
                  </a:lnTo>
                  <a:lnTo>
                    <a:pt x="527" y="127"/>
                  </a:lnTo>
                  <a:lnTo>
                    <a:pt x="517" y="127"/>
                  </a:lnTo>
                  <a:lnTo>
                    <a:pt x="517" y="146"/>
                  </a:lnTo>
                  <a:lnTo>
                    <a:pt x="498" y="146"/>
                  </a:lnTo>
                  <a:lnTo>
                    <a:pt x="488" y="146"/>
                  </a:lnTo>
                  <a:lnTo>
                    <a:pt x="478" y="156"/>
                  </a:lnTo>
                  <a:lnTo>
                    <a:pt x="459" y="156"/>
                  </a:lnTo>
                  <a:lnTo>
                    <a:pt x="449" y="166"/>
                  </a:lnTo>
                  <a:lnTo>
                    <a:pt x="430" y="176"/>
                  </a:lnTo>
                  <a:lnTo>
                    <a:pt x="420" y="166"/>
                  </a:lnTo>
                  <a:lnTo>
                    <a:pt x="410" y="156"/>
                  </a:lnTo>
                  <a:lnTo>
                    <a:pt x="400" y="166"/>
                  </a:lnTo>
                  <a:lnTo>
                    <a:pt x="391" y="166"/>
                  </a:lnTo>
                  <a:lnTo>
                    <a:pt x="361" y="166"/>
                  </a:lnTo>
                  <a:lnTo>
                    <a:pt x="332" y="176"/>
                  </a:lnTo>
                  <a:lnTo>
                    <a:pt x="313" y="185"/>
                  </a:lnTo>
                  <a:lnTo>
                    <a:pt x="303" y="176"/>
                  </a:lnTo>
                  <a:lnTo>
                    <a:pt x="283" y="156"/>
                  </a:lnTo>
                  <a:lnTo>
                    <a:pt x="264" y="146"/>
                  </a:lnTo>
                  <a:lnTo>
                    <a:pt x="244" y="146"/>
                  </a:lnTo>
                  <a:lnTo>
                    <a:pt x="225" y="146"/>
                  </a:lnTo>
                  <a:lnTo>
                    <a:pt x="205" y="146"/>
                  </a:lnTo>
                  <a:lnTo>
                    <a:pt x="186" y="146"/>
                  </a:lnTo>
                  <a:lnTo>
                    <a:pt x="186" y="166"/>
                  </a:lnTo>
                  <a:lnTo>
                    <a:pt x="166" y="166"/>
                  </a:lnTo>
                  <a:lnTo>
                    <a:pt x="147" y="146"/>
                  </a:lnTo>
                  <a:lnTo>
                    <a:pt x="137" y="136"/>
                  </a:lnTo>
                  <a:lnTo>
                    <a:pt x="117" y="146"/>
                  </a:lnTo>
                  <a:lnTo>
                    <a:pt x="98" y="146"/>
                  </a:lnTo>
                  <a:lnTo>
                    <a:pt x="88" y="127"/>
                  </a:lnTo>
                  <a:lnTo>
                    <a:pt x="69" y="136"/>
                  </a:lnTo>
                  <a:lnTo>
                    <a:pt x="49" y="136"/>
                  </a:lnTo>
                  <a:lnTo>
                    <a:pt x="20" y="146"/>
                  </a:lnTo>
                  <a:lnTo>
                    <a:pt x="10" y="156"/>
                  </a:lnTo>
                  <a:lnTo>
                    <a:pt x="0" y="176"/>
                  </a:lnTo>
                  <a:lnTo>
                    <a:pt x="20" y="205"/>
                  </a:lnTo>
                  <a:lnTo>
                    <a:pt x="49" y="215"/>
                  </a:lnTo>
                  <a:lnTo>
                    <a:pt x="59" y="224"/>
                  </a:lnTo>
                  <a:lnTo>
                    <a:pt x="39" y="234"/>
                  </a:lnTo>
                  <a:lnTo>
                    <a:pt x="30" y="244"/>
                  </a:lnTo>
                  <a:lnTo>
                    <a:pt x="39" y="254"/>
                  </a:lnTo>
                  <a:lnTo>
                    <a:pt x="49" y="263"/>
                  </a:lnTo>
                  <a:lnTo>
                    <a:pt x="78" y="244"/>
                  </a:lnTo>
                  <a:lnTo>
                    <a:pt x="98" y="234"/>
                  </a:lnTo>
                  <a:lnTo>
                    <a:pt x="117" y="244"/>
                  </a:lnTo>
                  <a:lnTo>
                    <a:pt x="127" y="273"/>
                  </a:lnTo>
                  <a:lnTo>
                    <a:pt x="127" y="283"/>
                  </a:lnTo>
                  <a:lnTo>
                    <a:pt x="147" y="293"/>
                  </a:lnTo>
                  <a:lnTo>
                    <a:pt x="156" y="273"/>
                  </a:lnTo>
                  <a:lnTo>
                    <a:pt x="176" y="283"/>
                  </a:lnTo>
                  <a:lnTo>
                    <a:pt x="176" y="302"/>
                  </a:lnTo>
                  <a:lnTo>
                    <a:pt x="186" y="312"/>
                  </a:lnTo>
                  <a:lnTo>
                    <a:pt x="186" y="332"/>
                  </a:lnTo>
                  <a:lnTo>
                    <a:pt x="186" y="351"/>
                  </a:lnTo>
                  <a:lnTo>
                    <a:pt x="186" y="361"/>
                  </a:lnTo>
                </a:path>
              </a:pathLst>
            </a:custGeom>
            <a:noFill/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18518" name="Freeform 306"/>
          <p:cNvSpPr>
            <a:spLocks noChangeAspect="1"/>
          </p:cNvSpPr>
          <p:nvPr>
            <p:custDataLst>
              <p:tags r:id="rId84"/>
            </p:custDataLst>
          </p:nvPr>
        </p:nvSpPr>
        <p:spPr bwMode="auto">
          <a:xfrm>
            <a:off x="6489700" y="4130675"/>
            <a:ext cx="741363" cy="1169988"/>
          </a:xfrm>
          <a:custGeom>
            <a:avLst/>
            <a:gdLst>
              <a:gd name="T0" fmla="*/ 279344 w 1112"/>
              <a:gd name="T1" fmla="*/ 1018380 h 1883"/>
              <a:gd name="T2" fmla="*/ 318679 w 1112"/>
              <a:gd name="T3" fmla="*/ 1060631 h 1883"/>
              <a:gd name="T4" fmla="*/ 376682 w 1112"/>
              <a:gd name="T5" fmla="*/ 1042612 h 1883"/>
              <a:gd name="T6" fmla="*/ 454685 w 1112"/>
              <a:gd name="T7" fmla="*/ 1048825 h 1883"/>
              <a:gd name="T8" fmla="*/ 506687 w 1112"/>
              <a:gd name="T9" fmla="*/ 1042612 h 1883"/>
              <a:gd name="T10" fmla="*/ 526688 w 1112"/>
              <a:gd name="T11" fmla="*/ 1091077 h 1883"/>
              <a:gd name="T12" fmla="*/ 533355 w 1112"/>
              <a:gd name="T13" fmla="*/ 1163774 h 1883"/>
              <a:gd name="T14" fmla="*/ 559356 w 1112"/>
              <a:gd name="T15" fmla="*/ 1121522 h 1883"/>
              <a:gd name="T16" fmla="*/ 611358 w 1112"/>
              <a:gd name="T17" fmla="*/ 1115309 h 1883"/>
              <a:gd name="T18" fmla="*/ 643359 w 1112"/>
              <a:gd name="T19" fmla="*/ 1066844 h 1883"/>
              <a:gd name="T20" fmla="*/ 650026 w 1112"/>
              <a:gd name="T21" fmla="*/ 1018380 h 1883"/>
              <a:gd name="T22" fmla="*/ 669360 w 1112"/>
              <a:gd name="T23" fmla="*/ 963702 h 1883"/>
              <a:gd name="T24" fmla="*/ 715362 w 1112"/>
              <a:gd name="T25" fmla="*/ 987934 h 1883"/>
              <a:gd name="T26" fmla="*/ 734696 w 1112"/>
              <a:gd name="T27" fmla="*/ 994147 h 1883"/>
              <a:gd name="T28" fmla="*/ 728029 w 1112"/>
              <a:gd name="T29" fmla="*/ 872986 h 1883"/>
              <a:gd name="T30" fmla="*/ 702028 w 1112"/>
              <a:gd name="T31" fmla="*/ 818308 h 1883"/>
              <a:gd name="T32" fmla="*/ 656693 w 1112"/>
              <a:gd name="T33" fmla="*/ 763629 h 1883"/>
              <a:gd name="T34" fmla="*/ 637359 w 1112"/>
              <a:gd name="T35" fmla="*/ 702738 h 1883"/>
              <a:gd name="T36" fmla="*/ 617358 w 1112"/>
              <a:gd name="T37" fmla="*/ 660487 h 1883"/>
              <a:gd name="T38" fmla="*/ 585357 w 1112"/>
              <a:gd name="T39" fmla="*/ 618235 h 1883"/>
              <a:gd name="T40" fmla="*/ 533355 w 1112"/>
              <a:gd name="T41" fmla="*/ 594003 h 1883"/>
              <a:gd name="T42" fmla="*/ 454685 w 1112"/>
              <a:gd name="T43" fmla="*/ 594003 h 1883"/>
              <a:gd name="T44" fmla="*/ 448685 w 1112"/>
              <a:gd name="T45" fmla="*/ 630041 h 1883"/>
              <a:gd name="T46" fmla="*/ 435351 w 1112"/>
              <a:gd name="T47" fmla="*/ 624449 h 1883"/>
              <a:gd name="T48" fmla="*/ 402683 w 1112"/>
              <a:gd name="T49" fmla="*/ 678506 h 1883"/>
              <a:gd name="T50" fmla="*/ 383349 w 1112"/>
              <a:gd name="T51" fmla="*/ 642468 h 1883"/>
              <a:gd name="T52" fmla="*/ 370682 w 1112"/>
              <a:gd name="T53" fmla="*/ 642468 h 1883"/>
              <a:gd name="T54" fmla="*/ 364015 w 1112"/>
              <a:gd name="T55" fmla="*/ 660487 h 1883"/>
              <a:gd name="T56" fmla="*/ 324680 w 1112"/>
              <a:gd name="T57" fmla="*/ 636254 h 1883"/>
              <a:gd name="T58" fmla="*/ 266677 w 1112"/>
              <a:gd name="T59" fmla="*/ 642468 h 1883"/>
              <a:gd name="T60" fmla="*/ 286011 w 1112"/>
              <a:gd name="T61" fmla="*/ 575984 h 1883"/>
              <a:gd name="T62" fmla="*/ 312012 w 1112"/>
              <a:gd name="T63" fmla="*/ 527519 h 1883"/>
              <a:gd name="T64" fmla="*/ 318679 w 1112"/>
              <a:gd name="T65" fmla="*/ 466628 h 1883"/>
              <a:gd name="T66" fmla="*/ 324680 w 1112"/>
              <a:gd name="T67" fmla="*/ 393931 h 1883"/>
              <a:gd name="T68" fmla="*/ 331347 w 1112"/>
              <a:gd name="T69" fmla="*/ 327447 h 1883"/>
              <a:gd name="T70" fmla="*/ 344680 w 1112"/>
              <a:gd name="T71" fmla="*/ 236110 h 1883"/>
              <a:gd name="T72" fmla="*/ 422684 w 1112"/>
              <a:gd name="T73" fmla="*/ 163413 h 1883"/>
              <a:gd name="T74" fmla="*/ 468019 w 1112"/>
              <a:gd name="T75" fmla="*/ 151607 h 1883"/>
              <a:gd name="T76" fmla="*/ 454685 w 1112"/>
              <a:gd name="T77" fmla="*/ 90716 h 1883"/>
              <a:gd name="T78" fmla="*/ 390016 w 1112"/>
              <a:gd name="T79" fmla="*/ 108735 h 1883"/>
              <a:gd name="T80" fmla="*/ 376682 w 1112"/>
              <a:gd name="T81" fmla="*/ 48465 h 1883"/>
              <a:gd name="T82" fmla="*/ 266677 w 1112"/>
              <a:gd name="T83" fmla="*/ 29824 h 1883"/>
              <a:gd name="T84" fmla="*/ 240676 w 1112"/>
              <a:gd name="T85" fmla="*/ 54057 h 1883"/>
              <a:gd name="T86" fmla="*/ 168673 w 1112"/>
              <a:gd name="T87" fmla="*/ 78910 h 1883"/>
              <a:gd name="T88" fmla="*/ 136672 w 1112"/>
              <a:gd name="T89" fmla="*/ 121162 h 1883"/>
              <a:gd name="T90" fmla="*/ 123338 w 1112"/>
              <a:gd name="T91" fmla="*/ 224304 h 1883"/>
              <a:gd name="T92" fmla="*/ 162673 w 1112"/>
              <a:gd name="T93" fmla="*/ 321234 h 1883"/>
              <a:gd name="T94" fmla="*/ 97337 w 1112"/>
              <a:gd name="T95" fmla="*/ 369699 h 1883"/>
              <a:gd name="T96" fmla="*/ 32001 w 1112"/>
              <a:gd name="T97" fmla="*/ 400144 h 1883"/>
              <a:gd name="T98" fmla="*/ 12667 w 1112"/>
              <a:gd name="T99" fmla="*/ 478433 h 1883"/>
              <a:gd name="T100" fmla="*/ 19334 w 1112"/>
              <a:gd name="T101" fmla="*/ 515093 h 1883"/>
              <a:gd name="T102" fmla="*/ 58002 w 1112"/>
              <a:gd name="T103" fmla="*/ 587790 h 1883"/>
              <a:gd name="T104" fmla="*/ 58002 w 1112"/>
              <a:gd name="T105" fmla="*/ 666700 h 1883"/>
              <a:gd name="T106" fmla="*/ 149339 w 1112"/>
              <a:gd name="T107" fmla="*/ 666700 h 1883"/>
              <a:gd name="T108" fmla="*/ 123338 w 1112"/>
              <a:gd name="T109" fmla="*/ 715165 h 1883"/>
              <a:gd name="T110" fmla="*/ 123338 w 1112"/>
              <a:gd name="T111" fmla="*/ 787862 h 1883"/>
              <a:gd name="T112" fmla="*/ 188674 w 1112"/>
              <a:gd name="T113" fmla="*/ 812094 h 1883"/>
              <a:gd name="T114" fmla="*/ 253343 w 1112"/>
              <a:gd name="T115" fmla="*/ 757416 h 1883"/>
              <a:gd name="T116" fmla="*/ 312012 w 1112"/>
              <a:gd name="T117" fmla="*/ 769843 h 1883"/>
              <a:gd name="T118" fmla="*/ 266677 w 1112"/>
              <a:gd name="T119" fmla="*/ 812094 h 1883"/>
              <a:gd name="T120" fmla="*/ 260010 w 1112"/>
              <a:gd name="T121" fmla="*/ 866772 h 1883"/>
              <a:gd name="T122" fmla="*/ 227342 w 1112"/>
              <a:gd name="T123" fmla="*/ 921450 h 1883"/>
              <a:gd name="T124" fmla="*/ 220675 w 1112"/>
              <a:gd name="T125" fmla="*/ 987934 h 1883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1112"/>
              <a:gd name="T190" fmla="*/ 0 h 1883"/>
              <a:gd name="T191" fmla="*/ 1112 w 1112"/>
              <a:gd name="T192" fmla="*/ 1883 h 1883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1112" h="1883">
                <a:moveTo>
                  <a:pt x="331" y="1590"/>
                </a:moveTo>
                <a:lnTo>
                  <a:pt x="361" y="1590"/>
                </a:lnTo>
                <a:lnTo>
                  <a:pt x="361" y="1600"/>
                </a:lnTo>
                <a:lnTo>
                  <a:pt x="380" y="1619"/>
                </a:lnTo>
                <a:lnTo>
                  <a:pt x="400" y="1610"/>
                </a:lnTo>
                <a:lnTo>
                  <a:pt x="419" y="1619"/>
                </a:lnTo>
                <a:lnTo>
                  <a:pt x="419" y="1629"/>
                </a:lnTo>
                <a:lnTo>
                  <a:pt x="419" y="1639"/>
                </a:lnTo>
                <a:lnTo>
                  <a:pt x="439" y="1649"/>
                </a:lnTo>
                <a:lnTo>
                  <a:pt x="448" y="1658"/>
                </a:lnTo>
                <a:lnTo>
                  <a:pt x="439" y="1678"/>
                </a:lnTo>
                <a:lnTo>
                  <a:pt x="448" y="1688"/>
                </a:lnTo>
                <a:lnTo>
                  <a:pt x="458" y="1707"/>
                </a:lnTo>
                <a:lnTo>
                  <a:pt x="458" y="1727"/>
                </a:lnTo>
                <a:lnTo>
                  <a:pt x="478" y="1717"/>
                </a:lnTo>
                <a:lnTo>
                  <a:pt x="478" y="1707"/>
                </a:lnTo>
                <a:lnTo>
                  <a:pt x="507" y="1697"/>
                </a:lnTo>
                <a:lnTo>
                  <a:pt x="507" y="1678"/>
                </a:lnTo>
                <a:lnTo>
                  <a:pt x="526" y="1678"/>
                </a:lnTo>
                <a:lnTo>
                  <a:pt x="536" y="1678"/>
                </a:lnTo>
                <a:lnTo>
                  <a:pt x="536" y="1697"/>
                </a:lnTo>
                <a:lnTo>
                  <a:pt x="546" y="1678"/>
                </a:lnTo>
                <a:lnTo>
                  <a:pt x="565" y="1678"/>
                </a:lnTo>
                <a:lnTo>
                  <a:pt x="575" y="1668"/>
                </a:lnTo>
                <a:lnTo>
                  <a:pt x="595" y="1678"/>
                </a:lnTo>
                <a:lnTo>
                  <a:pt x="604" y="1678"/>
                </a:lnTo>
                <a:lnTo>
                  <a:pt x="614" y="1678"/>
                </a:lnTo>
                <a:lnTo>
                  <a:pt x="624" y="1688"/>
                </a:lnTo>
                <a:lnTo>
                  <a:pt x="643" y="1678"/>
                </a:lnTo>
                <a:lnTo>
                  <a:pt x="673" y="1688"/>
                </a:lnTo>
                <a:lnTo>
                  <a:pt x="682" y="1688"/>
                </a:lnTo>
                <a:lnTo>
                  <a:pt x="702" y="1678"/>
                </a:lnTo>
                <a:lnTo>
                  <a:pt x="702" y="1668"/>
                </a:lnTo>
                <a:lnTo>
                  <a:pt x="712" y="1668"/>
                </a:lnTo>
                <a:lnTo>
                  <a:pt x="721" y="1668"/>
                </a:lnTo>
                <a:lnTo>
                  <a:pt x="741" y="1658"/>
                </a:lnTo>
                <a:lnTo>
                  <a:pt x="751" y="1658"/>
                </a:lnTo>
                <a:lnTo>
                  <a:pt x="760" y="1668"/>
                </a:lnTo>
                <a:lnTo>
                  <a:pt x="760" y="1678"/>
                </a:lnTo>
                <a:lnTo>
                  <a:pt x="741" y="1678"/>
                </a:lnTo>
                <a:lnTo>
                  <a:pt x="731" y="1688"/>
                </a:lnTo>
                <a:lnTo>
                  <a:pt x="731" y="1697"/>
                </a:lnTo>
                <a:lnTo>
                  <a:pt x="760" y="1697"/>
                </a:lnTo>
                <a:lnTo>
                  <a:pt x="770" y="1727"/>
                </a:lnTo>
                <a:lnTo>
                  <a:pt x="780" y="1736"/>
                </a:lnTo>
                <a:lnTo>
                  <a:pt x="790" y="1746"/>
                </a:lnTo>
                <a:lnTo>
                  <a:pt x="790" y="1756"/>
                </a:lnTo>
                <a:lnTo>
                  <a:pt x="790" y="1775"/>
                </a:lnTo>
                <a:lnTo>
                  <a:pt x="790" y="1795"/>
                </a:lnTo>
                <a:lnTo>
                  <a:pt x="780" y="1805"/>
                </a:lnTo>
                <a:lnTo>
                  <a:pt x="780" y="1814"/>
                </a:lnTo>
                <a:lnTo>
                  <a:pt x="790" y="1834"/>
                </a:lnTo>
                <a:lnTo>
                  <a:pt x="790" y="1853"/>
                </a:lnTo>
                <a:lnTo>
                  <a:pt x="800" y="1873"/>
                </a:lnTo>
                <a:lnTo>
                  <a:pt x="800" y="1883"/>
                </a:lnTo>
                <a:lnTo>
                  <a:pt x="809" y="1863"/>
                </a:lnTo>
                <a:lnTo>
                  <a:pt x="829" y="1863"/>
                </a:lnTo>
                <a:lnTo>
                  <a:pt x="819" y="1844"/>
                </a:lnTo>
                <a:lnTo>
                  <a:pt x="829" y="1834"/>
                </a:lnTo>
                <a:lnTo>
                  <a:pt x="819" y="1814"/>
                </a:lnTo>
                <a:lnTo>
                  <a:pt x="829" y="1805"/>
                </a:lnTo>
                <a:lnTo>
                  <a:pt x="839" y="1805"/>
                </a:lnTo>
                <a:lnTo>
                  <a:pt x="848" y="1795"/>
                </a:lnTo>
                <a:lnTo>
                  <a:pt x="858" y="1795"/>
                </a:lnTo>
                <a:lnTo>
                  <a:pt x="868" y="1805"/>
                </a:lnTo>
                <a:lnTo>
                  <a:pt x="878" y="1805"/>
                </a:lnTo>
                <a:lnTo>
                  <a:pt x="887" y="1805"/>
                </a:lnTo>
                <a:lnTo>
                  <a:pt x="887" y="1795"/>
                </a:lnTo>
                <a:lnTo>
                  <a:pt x="897" y="1795"/>
                </a:lnTo>
                <a:lnTo>
                  <a:pt x="917" y="1795"/>
                </a:lnTo>
                <a:lnTo>
                  <a:pt x="926" y="1785"/>
                </a:lnTo>
                <a:lnTo>
                  <a:pt x="946" y="1785"/>
                </a:lnTo>
                <a:lnTo>
                  <a:pt x="956" y="1775"/>
                </a:lnTo>
                <a:lnTo>
                  <a:pt x="975" y="1775"/>
                </a:lnTo>
                <a:lnTo>
                  <a:pt x="985" y="1756"/>
                </a:lnTo>
                <a:lnTo>
                  <a:pt x="985" y="1746"/>
                </a:lnTo>
                <a:lnTo>
                  <a:pt x="965" y="1727"/>
                </a:lnTo>
                <a:lnTo>
                  <a:pt x="965" y="1717"/>
                </a:lnTo>
                <a:lnTo>
                  <a:pt x="985" y="1697"/>
                </a:lnTo>
                <a:lnTo>
                  <a:pt x="1014" y="1688"/>
                </a:lnTo>
                <a:lnTo>
                  <a:pt x="1024" y="1668"/>
                </a:lnTo>
                <a:lnTo>
                  <a:pt x="1024" y="1649"/>
                </a:lnTo>
                <a:lnTo>
                  <a:pt x="1014" y="1629"/>
                </a:lnTo>
                <a:lnTo>
                  <a:pt x="995" y="1629"/>
                </a:lnTo>
                <a:lnTo>
                  <a:pt x="975" y="1639"/>
                </a:lnTo>
                <a:lnTo>
                  <a:pt x="975" y="1619"/>
                </a:lnTo>
                <a:lnTo>
                  <a:pt x="956" y="1619"/>
                </a:lnTo>
                <a:lnTo>
                  <a:pt x="946" y="1600"/>
                </a:lnTo>
                <a:lnTo>
                  <a:pt x="956" y="1590"/>
                </a:lnTo>
                <a:lnTo>
                  <a:pt x="975" y="1561"/>
                </a:lnTo>
                <a:lnTo>
                  <a:pt x="985" y="1541"/>
                </a:lnTo>
                <a:lnTo>
                  <a:pt x="1004" y="1551"/>
                </a:lnTo>
                <a:lnTo>
                  <a:pt x="1024" y="1561"/>
                </a:lnTo>
                <a:lnTo>
                  <a:pt x="1034" y="1551"/>
                </a:lnTo>
                <a:lnTo>
                  <a:pt x="1024" y="1571"/>
                </a:lnTo>
                <a:lnTo>
                  <a:pt x="1024" y="1580"/>
                </a:lnTo>
                <a:lnTo>
                  <a:pt x="1043" y="1580"/>
                </a:lnTo>
                <a:lnTo>
                  <a:pt x="1063" y="1590"/>
                </a:lnTo>
                <a:lnTo>
                  <a:pt x="1073" y="1590"/>
                </a:lnTo>
                <a:lnTo>
                  <a:pt x="1053" y="1610"/>
                </a:lnTo>
                <a:lnTo>
                  <a:pt x="1073" y="1629"/>
                </a:lnTo>
                <a:lnTo>
                  <a:pt x="1082" y="1619"/>
                </a:lnTo>
                <a:lnTo>
                  <a:pt x="1092" y="1619"/>
                </a:lnTo>
                <a:lnTo>
                  <a:pt x="1112" y="1629"/>
                </a:lnTo>
                <a:lnTo>
                  <a:pt x="1112" y="1619"/>
                </a:lnTo>
                <a:lnTo>
                  <a:pt x="1102" y="1600"/>
                </a:lnTo>
                <a:lnTo>
                  <a:pt x="1102" y="1571"/>
                </a:lnTo>
                <a:lnTo>
                  <a:pt x="1102" y="1551"/>
                </a:lnTo>
                <a:lnTo>
                  <a:pt x="1112" y="1502"/>
                </a:lnTo>
                <a:lnTo>
                  <a:pt x="1112" y="1473"/>
                </a:lnTo>
                <a:lnTo>
                  <a:pt x="1112" y="1453"/>
                </a:lnTo>
                <a:lnTo>
                  <a:pt x="1102" y="1453"/>
                </a:lnTo>
                <a:lnTo>
                  <a:pt x="1102" y="1424"/>
                </a:lnTo>
                <a:lnTo>
                  <a:pt x="1092" y="1405"/>
                </a:lnTo>
                <a:lnTo>
                  <a:pt x="1082" y="1405"/>
                </a:lnTo>
                <a:lnTo>
                  <a:pt x="1082" y="1395"/>
                </a:lnTo>
                <a:lnTo>
                  <a:pt x="1073" y="1385"/>
                </a:lnTo>
                <a:lnTo>
                  <a:pt x="1082" y="1375"/>
                </a:lnTo>
                <a:lnTo>
                  <a:pt x="1073" y="1366"/>
                </a:lnTo>
                <a:lnTo>
                  <a:pt x="1063" y="1346"/>
                </a:lnTo>
                <a:lnTo>
                  <a:pt x="1053" y="1336"/>
                </a:lnTo>
                <a:lnTo>
                  <a:pt x="1053" y="1317"/>
                </a:lnTo>
                <a:lnTo>
                  <a:pt x="1034" y="1317"/>
                </a:lnTo>
                <a:lnTo>
                  <a:pt x="1034" y="1288"/>
                </a:lnTo>
                <a:lnTo>
                  <a:pt x="1024" y="1297"/>
                </a:lnTo>
                <a:lnTo>
                  <a:pt x="1014" y="1288"/>
                </a:lnTo>
                <a:lnTo>
                  <a:pt x="1014" y="1278"/>
                </a:lnTo>
                <a:lnTo>
                  <a:pt x="995" y="1258"/>
                </a:lnTo>
                <a:lnTo>
                  <a:pt x="995" y="1249"/>
                </a:lnTo>
                <a:lnTo>
                  <a:pt x="985" y="1229"/>
                </a:lnTo>
                <a:lnTo>
                  <a:pt x="985" y="1200"/>
                </a:lnTo>
                <a:lnTo>
                  <a:pt x="975" y="1190"/>
                </a:lnTo>
                <a:lnTo>
                  <a:pt x="965" y="1180"/>
                </a:lnTo>
                <a:lnTo>
                  <a:pt x="965" y="1170"/>
                </a:lnTo>
                <a:lnTo>
                  <a:pt x="965" y="1161"/>
                </a:lnTo>
                <a:lnTo>
                  <a:pt x="956" y="1151"/>
                </a:lnTo>
                <a:lnTo>
                  <a:pt x="956" y="1131"/>
                </a:lnTo>
                <a:lnTo>
                  <a:pt x="956" y="1122"/>
                </a:lnTo>
                <a:lnTo>
                  <a:pt x="956" y="1112"/>
                </a:lnTo>
                <a:lnTo>
                  <a:pt x="956" y="1092"/>
                </a:lnTo>
                <a:lnTo>
                  <a:pt x="965" y="1092"/>
                </a:lnTo>
                <a:lnTo>
                  <a:pt x="956" y="1083"/>
                </a:lnTo>
                <a:lnTo>
                  <a:pt x="946" y="1073"/>
                </a:lnTo>
                <a:lnTo>
                  <a:pt x="946" y="1063"/>
                </a:lnTo>
                <a:lnTo>
                  <a:pt x="926" y="1063"/>
                </a:lnTo>
                <a:lnTo>
                  <a:pt x="907" y="1053"/>
                </a:lnTo>
                <a:lnTo>
                  <a:pt x="907" y="1034"/>
                </a:lnTo>
                <a:lnTo>
                  <a:pt x="897" y="1024"/>
                </a:lnTo>
                <a:lnTo>
                  <a:pt x="887" y="1014"/>
                </a:lnTo>
                <a:lnTo>
                  <a:pt x="878" y="1005"/>
                </a:lnTo>
                <a:lnTo>
                  <a:pt x="868" y="1005"/>
                </a:lnTo>
                <a:lnTo>
                  <a:pt x="848" y="1005"/>
                </a:lnTo>
                <a:lnTo>
                  <a:pt x="878" y="995"/>
                </a:lnTo>
                <a:lnTo>
                  <a:pt x="878" y="975"/>
                </a:lnTo>
                <a:lnTo>
                  <a:pt x="868" y="966"/>
                </a:lnTo>
                <a:lnTo>
                  <a:pt x="848" y="966"/>
                </a:lnTo>
                <a:lnTo>
                  <a:pt x="829" y="966"/>
                </a:lnTo>
                <a:lnTo>
                  <a:pt x="829" y="956"/>
                </a:lnTo>
                <a:lnTo>
                  <a:pt x="800" y="956"/>
                </a:lnTo>
                <a:lnTo>
                  <a:pt x="780" y="956"/>
                </a:lnTo>
                <a:lnTo>
                  <a:pt x="770" y="956"/>
                </a:lnTo>
                <a:lnTo>
                  <a:pt x="751" y="936"/>
                </a:lnTo>
                <a:lnTo>
                  <a:pt x="741" y="936"/>
                </a:lnTo>
                <a:lnTo>
                  <a:pt x="721" y="936"/>
                </a:lnTo>
                <a:lnTo>
                  <a:pt x="712" y="936"/>
                </a:lnTo>
                <a:lnTo>
                  <a:pt x="702" y="927"/>
                </a:lnTo>
                <a:lnTo>
                  <a:pt x="682" y="956"/>
                </a:lnTo>
                <a:lnTo>
                  <a:pt x="673" y="966"/>
                </a:lnTo>
                <a:lnTo>
                  <a:pt x="643" y="966"/>
                </a:lnTo>
                <a:lnTo>
                  <a:pt x="653" y="975"/>
                </a:lnTo>
                <a:lnTo>
                  <a:pt x="653" y="985"/>
                </a:lnTo>
                <a:lnTo>
                  <a:pt x="663" y="995"/>
                </a:lnTo>
                <a:lnTo>
                  <a:pt x="673" y="1005"/>
                </a:lnTo>
                <a:lnTo>
                  <a:pt x="673" y="1014"/>
                </a:lnTo>
                <a:lnTo>
                  <a:pt x="682" y="1024"/>
                </a:lnTo>
                <a:lnTo>
                  <a:pt x="682" y="1034"/>
                </a:lnTo>
                <a:lnTo>
                  <a:pt x="682" y="1053"/>
                </a:lnTo>
                <a:lnTo>
                  <a:pt x="673" y="1053"/>
                </a:lnTo>
                <a:lnTo>
                  <a:pt x="663" y="1044"/>
                </a:lnTo>
                <a:lnTo>
                  <a:pt x="663" y="1024"/>
                </a:lnTo>
                <a:lnTo>
                  <a:pt x="663" y="1014"/>
                </a:lnTo>
                <a:lnTo>
                  <a:pt x="653" y="1005"/>
                </a:lnTo>
                <a:lnTo>
                  <a:pt x="643" y="1005"/>
                </a:lnTo>
                <a:lnTo>
                  <a:pt x="643" y="1024"/>
                </a:lnTo>
                <a:lnTo>
                  <a:pt x="653" y="1034"/>
                </a:lnTo>
                <a:lnTo>
                  <a:pt x="643" y="1044"/>
                </a:lnTo>
                <a:lnTo>
                  <a:pt x="643" y="1063"/>
                </a:lnTo>
                <a:lnTo>
                  <a:pt x="634" y="1073"/>
                </a:lnTo>
                <a:lnTo>
                  <a:pt x="624" y="1083"/>
                </a:lnTo>
                <a:lnTo>
                  <a:pt x="604" y="1092"/>
                </a:lnTo>
                <a:lnTo>
                  <a:pt x="604" y="1073"/>
                </a:lnTo>
                <a:lnTo>
                  <a:pt x="614" y="1073"/>
                </a:lnTo>
                <a:lnTo>
                  <a:pt x="614" y="1044"/>
                </a:lnTo>
                <a:lnTo>
                  <a:pt x="624" y="1034"/>
                </a:lnTo>
                <a:lnTo>
                  <a:pt x="604" y="1034"/>
                </a:lnTo>
                <a:lnTo>
                  <a:pt x="595" y="1034"/>
                </a:lnTo>
                <a:lnTo>
                  <a:pt x="575" y="1034"/>
                </a:lnTo>
                <a:lnTo>
                  <a:pt x="585" y="1024"/>
                </a:lnTo>
                <a:lnTo>
                  <a:pt x="585" y="1014"/>
                </a:lnTo>
                <a:lnTo>
                  <a:pt x="585" y="1005"/>
                </a:lnTo>
                <a:lnTo>
                  <a:pt x="575" y="1014"/>
                </a:lnTo>
                <a:lnTo>
                  <a:pt x="565" y="1024"/>
                </a:lnTo>
                <a:lnTo>
                  <a:pt x="556" y="1034"/>
                </a:lnTo>
                <a:lnTo>
                  <a:pt x="575" y="1053"/>
                </a:lnTo>
                <a:lnTo>
                  <a:pt x="575" y="1063"/>
                </a:lnTo>
                <a:lnTo>
                  <a:pt x="575" y="1073"/>
                </a:lnTo>
                <a:lnTo>
                  <a:pt x="565" y="1073"/>
                </a:lnTo>
                <a:lnTo>
                  <a:pt x="565" y="1083"/>
                </a:lnTo>
                <a:lnTo>
                  <a:pt x="556" y="1083"/>
                </a:lnTo>
                <a:lnTo>
                  <a:pt x="546" y="1073"/>
                </a:lnTo>
                <a:lnTo>
                  <a:pt x="546" y="1063"/>
                </a:lnTo>
                <a:lnTo>
                  <a:pt x="546" y="1053"/>
                </a:lnTo>
                <a:lnTo>
                  <a:pt x="536" y="1044"/>
                </a:lnTo>
                <a:lnTo>
                  <a:pt x="536" y="1034"/>
                </a:lnTo>
                <a:lnTo>
                  <a:pt x="526" y="1014"/>
                </a:lnTo>
                <a:lnTo>
                  <a:pt x="517" y="1005"/>
                </a:lnTo>
                <a:lnTo>
                  <a:pt x="507" y="1005"/>
                </a:lnTo>
                <a:lnTo>
                  <a:pt x="497" y="1005"/>
                </a:lnTo>
                <a:lnTo>
                  <a:pt x="487" y="1024"/>
                </a:lnTo>
                <a:lnTo>
                  <a:pt x="478" y="1024"/>
                </a:lnTo>
                <a:lnTo>
                  <a:pt x="458" y="1044"/>
                </a:lnTo>
                <a:lnTo>
                  <a:pt x="439" y="1044"/>
                </a:lnTo>
                <a:lnTo>
                  <a:pt x="429" y="1044"/>
                </a:lnTo>
                <a:lnTo>
                  <a:pt x="419" y="1044"/>
                </a:lnTo>
                <a:lnTo>
                  <a:pt x="409" y="1034"/>
                </a:lnTo>
                <a:lnTo>
                  <a:pt x="400" y="1034"/>
                </a:lnTo>
                <a:lnTo>
                  <a:pt x="400" y="1014"/>
                </a:lnTo>
                <a:lnTo>
                  <a:pt x="409" y="1005"/>
                </a:lnTo>
                <a:lnTo>
                  <a:pt x="419" y="995"/>
                </a:lnTo>
                <a:lnTo>
                  <a:pt x="429" y="985"/>
                </a:lnTo>
                <a:lnTo>
                  <a:pt x="429" y="975"/>
                </a:lnTo>
                <a:lnTo>
                  <a:pt x="439" y="956"/>
                </a:lnTo>
                <a:lnTo>
                  <a:pt x="429" y="936"/>
                </a:lnTo>
                <a:lnTo>
                  <a:pt x="429" y="927"/>
                </a:lnTo>
                <a:lnTo>
                  <a:pt x="439" y="917"/>
                </a:lnTo>
                <a:lnTo>
                  <a:pt x="439" y="907"/>
                </a:lnTo>
                <a:lnTo>
                  <a:pt x="448" y="907"/>
                </a:lnTo>
                <a:lnTo>
                  <a:pt x="448" y="897"/>
                </a:lnTo>
                <a:lnTo>
                  <a:pt x="448" y="888"/>
                </a:lnTo>
                <a:lnTo>
                  <a:pt x="458" y="868"/>
                </a:lnTo>
                <a:lnTo>
                  <a:pt x="458" y="858"/>
                </a:lnTo>
                <a:lnTo>
                  <a:pt x="468" y="849"/>
                </a:lnTo>
                <a:lnTo>
                  <a:pt x="468" y="839"/>
                </a:lnTo>
                <a:lnTo>
                  <a:pt x="478" y="819"/>
                </a:lnTo>
                <a:lnTo>
                  <a:pt x="478" y="809"/>
                </a:lnTo>
                <a:lnTo>
                  <a:pt x="468" y="800"/>
                </a:lnTo>
                <a:lnTo>
                  <a:pt x="478" y="780"/>
                </a:lnTo>
                <a:lnTo>
                  <a:pt x="478" y="770"/>
                </a:lnTo>
                <a:lnTo>
                  <a:pt x="468" y="770"/>
                </a:lnTo>
                <a:lnTo>
                  <a:pt x="478" y="751"/>
                </a:lnTo>
                <a:lnTo>
                  <a:pt x="478" y="741"/>
                </a:lnTo>
                <a:lnTo>
                  <a:pt x="468" y="712"/>
                </a:lnTo>
                <a:lnTo>
                  <a:pt x="478" y="702"/>
                </a:lnTo>
                <a:lnTo>
                  <a:pt x="478" y="692"/>
                </a:lnTo>
                <a:lnTo>
                  <a:pt x="478" y="683"/>
                </a:lnTo>
                <a:lnTo>
                  <a:pt x="478" y="673"/>
                </a:lnTo>
                <a:lnTo>
                  <a:pt x="487" y="653"/>
                </a:lnTo>
                <a:lnTo>
                  <a:pt x="487" y="634"/>
                </a:lnTo>
                <a:lnTo>
                  <a:pt x="497" y="634"/>
                </a:lnTo>
                <a:lnTo>
                  <a:pt x="497" y="614"/>
                </a:lnTo>
                <a:lnTo>
                  <a:pt x="497" y="595"/>
                </a:lnTo>
                <a:lnTo>
                  <a:pt x="507" y="585"/>
                </a:lnTo>
                <a:lnTo>
                  <a:pt x="517" y="566"/>
                </a:lnTo>
                <a:lnTo>
                  <a:pt x="507" y="556"/>
                </a:lnTo>
                <a:lnTo>
                  <a:pt x="497" y="546"/>
                </a:lnTo>
                <a:lnTo>
                  <a:pt x="497" y="527"/>
                </a:lnTo>
                <a:lnTo>
                  <a:pt x="497" y="497"/>
                </a:lnTo>
                <a:lnTo>
                  <a:pt x="507" y="488"/>
                </a:lnTo>
                <a:lnTo>
                  <a:pt x="517" y="458"/>
                </a:lnTo>
                <a:lnTo>
                  <a:pt x="517" y="448"/>
                </a:lnTo>
                <a:lnTo>
                  <a:pt x="517" y="439"/>
                </a:lnTo>
                <a:lnTo>
                  <a:pt x="507" y="419"/>
                </a:lnTo>
                <a:lnTo>
                  <a:pt x="507" y="400"/>
                </a:lnTo>
                <a:lnTo>
                  <a:pt x="517" y="380"/>
                </a:lnTo>
                <a:lnTo>
                  <a:pt x="526" y="361"/>
                </a:lnTo>
                <a:lnTo>
                  <a:pt x="536" y="331"/>
                </a:lnTo>
                <a:lnTo>
                  <a:pt x="556" y="331"/>
                </a:lnTo>
                <a:lnTo>
                  <a:pt x="565" y="322"/>
                </a:lnTo>
                <a:lnTo>
                  <a:pt x="575" y="302"/>
                </a:lnTo>
                <a:lnTo>
                  <a:pt x="595" y="292"/>
                </a:lnTo>
                <a:lnTo>
                  <a:pt x="614" y="283"/>
                </a:lnTo>
                <a:lnTo>
                  <a:pt x="634" y="263"/>
                </a:lnTo>
                <a:lnTo>
                  <a:pt x="643" y="253"/>
                </a:lnTo>
                <a:lnTo>
                  <a:pt x="653" y="244"/>
                </a:lnTo>
                <a:lnTo>
                  <a:pt x="663" y="244"/>
                </a:lnTo>
                <a:lnTo>
                  <a:pt x="673" y="253"/>
                </a:lnTo>
                <a:lnTo>
                  <a:pt x="682" y="253"/>
                </a:lnTo>
                <a:lnTo>
                  <a:pt x="692" y="263"/>
                </a:lnTo>
                <a:lnTo>
                  <a:pt x="692" y="244"/>
                </a:lnTo>
                <a:lnTo>
                  <a:pt x="702" y="244"/>
                </a:lnTo>
                <a:lnTo>
                  <a:pt x="682" y="224"/>
                </a:lnTo>
                <a:lnTo>
                  <a:pt x="682" y="214"/>
                </a:lnTo>
                <a:lnTo>
                  <a:pt x="692" y="214"/>
                </a:lnTo>
                <a:lnTo>
                  <a:pt x="702" y="205"/>
                </a:lnTo>
                <a:lnTo>
                  <a:pt x="702" y="195"/>
                </a:lnTo>
                <a:lnTo>
                  <a:pt x="692" y="175"/>
                </a:lnTo>
                <a:lnTo>
                  <a:pt x="682" y="166"/>
                </a:lnTo>
                <a:lnTo>
                  <a:pt x="682" y="146"/>
                </a:lnTo>
                <a:lnTo>
                  <a:pt x="663" y="156"/>
                </a:lnTo>
                <a:lnTo>
                  <a:pt x="643" y="156"/>
                </a:lnTo>
                <a:lnTo>
                  <a:pt x="634" y="156"/>
                </a:lnTo>
                <a:lnTo>
                  <a:pt x="634" y="146"/>
                </a:lnTo>
                <a:lnTo>
                  <a:pt x="614" y="146"/>
                </a:lnTo>
                <a:lnTo>
                  <a:pt x="614" y="166"/>
                </a:lnTo>
                <a:lnTo>
                  <a:pt x="604" y="166"/>
                </a:lnTo>
                <a:lnTo>
                  <a:pt x="585" y="175"/>
                </a:lnTo>
                <a:lnTo>
                  <a:pt x="575" y="175"/>
                </a:lnTo>
                <a:lnTo>
                  <a:pt x="575" y="156"/>
                </a:lnTo>
                <a:lnTo>
                  <a:pt x="565" y="156"/>
                </a:lnTo>
                <a:lnTo>
                  <a:pt x="565" y="146"/>
                </a:lnTo>
                <a:lnTo>
                  <a:pt x="565" y="117"/>
                </a:lnTo>
                <a:lnTo>
                  <a:pt x="575" y="107"/>
                </a:lnTo>
                <a:lnTo>
                  <a:pt x="575" y="87"/>
                </a:lnTo>
                <a:lnTo>
                  <a:pt x="565" y="78"/>
                </a:lnTo>
                <a:lnTo>
                  <a:pt x="575" y="58"/>
                </a:lnTo>
                <a:lnTo>
                  <a:pt x="546" y="39"/>
                </a:lnTo>
                <a:lnTo>
                  <a:pt x="517" y="9"/>
                </a:lnTo>
                <a:lnTo>
                  <a:pt x="458" y="0"/>
                </a:lnTo>
                <a:lnTo>
                  <a:pt x="448" y="9"/>
                </a:lnTo>
                <a:lnTo>
                  <a:pt x="419" y="19"/>
                </a:lnTo>
                <a:lnTo>
                  <a:pt x="409" y="29"/>
                </a:lnTo>
                <a:lnTo>
                  <a:pt x="400" y="48"/>
                </a:lnTo>
                <a:lnTo>
                  <a:pt x="400" y="58"/>
                </a:lnTo>
                <a:lnTo>
                  <a:pt x="400" y="78"/>
                </a:lnTo>
                <a:lnTo>
                  <a:pt x="390" y="78"/>
                </a:lnTo>
                <a:lnTo>
                  <a:pt x="380" y="68"/>
                </a:lnTo>
                <a:lnTo>
                  <a:pt x="380" y="58"/>
                </a:lnTo>
                <a:lnTo>
                  <a:pt x="370" y="68"/>
                </a:lnTo>
                <a:lnTo>
                  <a:pt x="370" y="78"/>
                </a:lnTo>
                <a:lnTo>
                  <a:pt x="361" y="87"/>
                </a:lnTo>
                <a:lnTo>
                  <a:pt x="351" y="68"/>
                </a:lnTo>
                <a:lnTo>
                  <a:pt x="331" y="87"/>
                </a:lnTo>
                <a:lnTo>
                  <a:pt x="341" y="107"/>
                </a:lnTo>
                <a:lnTo>
                  <a:pt x="331" y="117"/>
                </a:lnTo>
                <a:lnTo>
                  <a:pt x="312" y="127"/>
                </a:lnTo>
                <a:lnTo>
                  <a:pt x="292" y="117"/>
                </a:lnTo>
                <a:lnTo>
                  <a:pt x="273" y="127"/>
                </a:lnTo>
                <a:lnTo>
                  <a:pt x="253" y="127"/>
                </a:lnTo>
                <a:lnTo>
                  <a:pt x="234" y="117"/>
                </a:lnTo>
                <a:lnTo>
                  <a:pt x="224" y="136"/>
                </a:lnTo>
                <a:lnTo>
                  <a:pt x="214" y="127"/>
                </a:lnTo>
                <a:lnTo>
                  <a:pt x="205" y="117"/>
                </a:lnTo>
                <a:lnTo>
                  <a:pt x="195" y="127"/>
                </a:lnTo>
                <a:lnTo>
                  <a:pt x="205" y="136"/>
                </a:lnTo>
                <a:lnTo>
                  <a:pt x="195" y="156"/>
                </a:lnTo>
                <a:lnTo>
                  <a:pt x="205" y="195"/>
                </a:lnTo>
                <a:lnTo>
                  <a:pt x="214" y="205"/>
                </a:lnTo>
                <a:lnTo>
                  <a:pt x="214" y="234"/>
                </a:lnTo>
                <a:lnTo>
                  <a:pt x="205" y="253"/>
                </a:lnTo>
                <a:lnTo>
                  <a:pt x="195" y="273"/>
                </a:lnTo>
                <a:lnTo>
                  <a:pt x="195" y="292"/>
                </a:lnTo>
                <a:lnTo>
                  <a:pt x="185" y="302"/>
                </a:lnTo>
                <a:lnTo>
                  <a:pt x="185" y="331"/>
                </a:lnTo>
                <a:lnTo>
                  <a:pt x="185" y="361"/>
                </a:lnTo>
                <a:lnTo>
                  <a:pt x="214" y="380"/>
                </a:lnTo>
                <a:lnTo>
                  <a:pt x="224" y="419"/>
                </a:lnTo>
                <a:lnTo>
                  <a:pt x="234" y="439"/>
                </a:lnTo>
                <a:lnTo>
                  <a:pt x="253" y="439"/>
                </a:lnTo>
                <a:lnTo>
                  <a:pt x="253" y="458"/>
                </a:lnTo>
                <a:lnTo>
                  <a:pt x="253" y="478"/>
                </a:lnTo>
                <a:lnTo>
                  <a:pt x="244" y="478"/>
                </a:lnTo>
                <a:lnTo>
                  <a:pt x="244" y="517"/>
                </a:lnTo>
                <a:lnTo>
                  <a:pt x="234" y="527"/>
                </a:lnTo>
                <a:lnTo>
                  <a:pt x="214" y="546"/>
                </a:lnTo>
                <a:lnTo>
                  <a:pt x="195" y="546"/>
                </a:lnTo>
                <a:lnTo>
                  <a:pt x="185" y="556"/>
                </a:lnTo>
                <a:lnTo>
                  <a:pt x="165" y="556"/>
                </a:lnTo>
                <a:lnTo>
                  <a:pt x="156" y="556"/>
                </a:lnTo>
                <a:lnTo>
                  <a:pt x="146" y="575"/>
                </a:lnTo>
                <a:lnTo>
                  <a:pt x="146" y="595"/>
                </a:lnTo>
                <a:lnTo>
                  <a:pt x="146" y="614"/>
                </a:lnTo>
                <a:lnTo>
                  <a:pt x="136" y="614"/>
                </a:lnTo>
                <a:lnTo>
                  <a:pt x="117" y="624"/>
                </a:lnTo>
                <a:lnTo>
                  <a:pt x="107" y="624"/>
                </a:lnTo>
                <a:lnTo>
                  <a:pt x="97" y="644"/>
                </a:lnTo>
                <a:lnTo>
                  <a:pt x="78" y="634"/>
                </a:lnTo>
                <a:lnTo>
                  <a:pt x="68" y="644"/>
                </a:lnTo>
                <a:lnTo>
                  <a:pt x="48" y="644"/>
                </a:lnTo>
                <a:lnTo>
                  <a:pt x="29" y="653"/>
                </a:lnTo>
                <a:lnTo>
                  <a:pt x="29" y="683"/>
                </a:lnTo>
                <a:lnTo>
                  <a:pt x="29" y="702"/>
                </a:lnTo>
                <a:lnTo>
                  <a:pt x="19" y="712"/>
                </a:lnTo>
                <a:lnTo>
                  <a:pt x="29" y="761"/>
                </a:lnTo>
                <a:lnTo>
                  <a:pt x="19" y="761"/>
                </a:lnTo>
                <a:lnTo>
                  <a:pt x="19" y="770"/>
                </a:lnTo>
                <a:lnTo>
                  <a:pt x="29" y="780"/>
                </a:lnTo>
                <a:lnTo>
                  <a:pt x="29" y="790"/>
                </a:lnTo>
                <a:lnTo>
                  <a:pt x="29" y="800"/>
                </a:lnTo>
                <a:lnTo>
                  <a:pt x="29" y="809"/>
                </a:lnTo>
                <a:lnTo>
                  <a:pt x="9" y="809"/>
                </a:lnTo>
                <a:lnTo>
                  <a:pt x="0" y="809"/>
                </a:lnTo>
                <a:lnTo>
                  <a:pt x="9" y="819"/>
                </a:lnTo>
                <a:lnTo>
                  <a:pt x="29" y="829"/>
                </a:lnTo>
                <a:lnTo>
                  <a:pt x="39" y="839"/>
                </a:lnTo>
                <a:lnTo>
                  <a:pt x="58" y="849"/>
                </a:lnTo>
                <a:lnTo>
                  <a:pt x="48" y="868"/>
                </a:lnTo>
                <a:lnTo>
                  <a:pt x="39" y="897"/>
                </a:lnTo>
                <a:lnTo>
                  <a:pt x="39" y="917"/>
                </a:lnTo>
                <a:lnTo>
                  <a:pt x="58" y="917"/>
                </a:lnTo>
                <a:lnTo>
                  <a:pt x="78" y="936"/>
                </a:lnTo>
                <a:lnTo>
                  <a:pt x="87" y="946"/>
                </a:lnTo>
                <a:lnTo>
                  <a:pt x="87" y="956"/>
                </a:lnTo>
                <a:lnTo>
                  <a:pt x="87" y="975"/>
                </a:lnTo>
                <a:lnTo>
                  <a:pt x="78" y="985"/>
                </a:lnTo>
                <a:lnTo>
                  <a:pt x="78" y="1005"/>
                </a:lnTo>
                <a:lnTo>
                  <a:pt x="78" y="1014"/>
                </a:lnTo>
                <a:lnTo>
                  <a:pt x="68" y="1034"/>
                </a:lnTo>
                <a:lnTo>
                  <a:pt x="68" y="1053"/>
                </a:lnTo>
                <a:lnTo>
                  <a:pt x="87" y="1073"/>
                </a:lnTo>
                <a:lnTo>
                  <a:pt x="146" y="1053"/>
                </a:lnTo>
                <a:lnTo>
                  <a:pt x="175" y="1044"/>
                </a:lnTo>
                <a:lnTo>
                  <a:pt x="185" y="1034"/>
                </a:lnTo>
                <a:lnTo>
                  <a:pt x="205" y="1044"/>
                </a:lnTo>
                <a:lnTo>
                  <a:pt x="234" y="1053"/>
                </a:lnTo>
                <a:lnTo>
                  <a:pt x="234" y="1063"/>
                </a:lnTo>
                <a:lnTo>
                  <a:pt x="214" y="1063"/>
                </a:lnTo>
                <a:lnTo>
                  <a:pt x="224" y="1073"/>
                </a:lnTo>
                <a:lnTo>
                  <a:pt x="214" y="1073"/>
                </a:lnTo>
                <a:lnTo>
                  <a:pt x="214" y="1083"/>
                </a:lnTo>
                <a:lnTo>
                  <a:pt x="224" y="1092"/>
                </a:lnTo>
                <a:lnTo>
                  <a:pt x="205" y="1102"/>
                </a:lnTo>
                <a:lnTo>
                  <a:pt x="195" y="1122"/>
                </a:lnTo>
                <a:lnTo>
                  <a:pt x="185" y="1151"/>
                </a:lnTo>
                <a:lnTo>
                  <a:pt x="175" y="1170"/>
                </a:lnTo>
                <a:lnTo>
                  <a:pt x="175" y="1190"/>
                </a:lnTo>
                <a:lnTo>
                  <a:pt x="175" y="1200"/>
                </a:lnTo>
                <a:lnTo>
                  <a:pt x="175" y="1210"/>
                </a:lnTo>
                <a:lnTo>
                  <a:pt x="165" y="1229"/>
                </a:lnTo>
                <a:lnTo>
                  <a:pt x="156" y="1258"/>
                </a:lnTo>
                <a:lnTo>
                  <a:pt x="165" y="1268"/>
                </a:lnTo>
                <a:lnTo>
                  <a:pt x="185" y="1268"/>
                </a:lnTo>
                <a:lnTo>
                  <a:pt x="195" y="1258"/>
                </a:lnTo>
                <a:lnTo>
                  <a:pt x="224" y="1249"/>
                </a:lnTo>
                <a:lnTo>
                  <a:pt x="234" y="1268"/>
                </a:lnTo>
                <a:lnTo>
                  <a:pt x="234" y="1297"/>
                </a:lnTo>
                <a:lnTo>
                  <a:pt x="253" y="1317"/>
                </a:lnTo>
                <a:lnTo>
                  <a:pt x="273" y="1307"/>
                </a:lnTo>
                <a:lnTo>
                  <a:pt x="283" y="1297"/>
                </a:lnTo>
                <a:lnTo>
                  <a:pt x="283" y="1307"/>
                </a:lnTo>
                <a:lnTo>
                  <a:pt x="302" y="1307"/>
                </a:lnTo>
                <a:lnTo>
                  <a:pt x="302" y="1288"/>
                </a:lnTo>
                <a:lnTo>
                  <a:pt x="322" y="1278"/>
                </a:lnTo>
                <a:lnTo>
                  <a:pt x="341" y="1268"/>
                </a:lnTo>
                <a:lnTo>
                  <a:pt x="341" y="1258"/>
                </a:lnTo>
                <a:lnTo>
                  <a:pt x="351" y="1249"/>
                </a:lnTo>
                <a:lnTo>
                  <a:pt x="351" y="1229"/>
                </a:lnTo>
                <a:lnTo>
                  <a:pt x="380" y="1219"/>
                </a:lnTo>
                <a:lnTo>
                  <a:pt x="400" y="1219"/>
                </a:lnTo>
                <a:lnTo>
                  <a:pt x="409" y="1210"/>
                </a:lnTo>
                <a:lnTo>
                  <a:pt x="419" y="1180"/>
                </a:lnTo>
                <a:lnTo>
                  <a:pt x="439" y="1190"/>
                </a:lnTo>
                <a:lnTo>
                  <a:pt x="458" y="1200"/>
                </a:lnTo>
                <a:lnTo>
                  <a:pt x="468" y="1219"/>
                </a:lnTo>
                <a:lnTo>
                  <a:pt x="468" y="1239"/>
                </a:lnTo>
                <a:lnTo>
                  <a:pt x="478" y="1258"/>
                </a:lnTo>
                <a:lnTo>
                  <a:pt x="487" y="1258"/>
                </a:lnTo>
                <a:lnTo>
                  <a:pt x="497" y="1278"/>
                </a:lnTo>
                <a:lnTo>
                  <a:pt x="497" y="1297"/>
                </a:lnTo>
                <a:lnTo>
                  <a:pt x="439" y="1307"/>
                </a:lnTo>
                <a:lnTo>
                  <a:pt x="419" y="1317"/>
                </a:lnTo>
                <a:lnTo>
                  <a:pt x="409" y="1307"/>
                </a:lnTo>
                <a:lnTo>
                  <a:pt x="400" y="1307"/>
                </a:lnTo>
                <a:lnTo>
                  <a:pt x="400" y="1317"/>
                </a:lnTo>
                <a:lnTo>
                  <a:pt x="419" y="1336"/>
                </a:lnTo>
                <a:lnTo>
                  <a:pt x="429" y="1346"/>
                </a:lnTo>
                <a:lnTo>
                  <a:pt x="439" y="1366"/>
                </a:lnTo>
                <a:lnTo>
                  <a:pt x="419" y="1375"/>
                </a:lnTo>
                <a:lnTo>
                  <a:pt x="400" y="1385"/>
                </a:lnTo>
                <a:lnTo>
                  <a:pt x="390" y="1385"/>
                </a:lnTo>
                <a:lnTo>
                  <a:pt x="390" y="1395"/>
                </a:lnTo>
                <a:lnTo>
                  <a:pt x="390" y="1414"/>
                </a:lnTo>
                <a:lnTo>
                  <a:pt x="380" y="1414"/>
                </a:lnTo>
                <a:lnTo>
                  <a:pt x="380" y="1434"/>
                </a:lnTo>
                <a:lnTo>
                  <a:pt x="380" y="1444"/>
                </a:lnTo>
                <a:lnTo>
                  <a:pt x="361" y="1463"/>
                </a:lnTo>
                <a:lnTo>
                  <a:pt x="331" y="1463"/>
                </a:lnTo>
                <a:lnTo>
                  <a:pt x="341" y="1483"/>
                </a:lnTo>
                <a:lnTo>
                  <a:pt x="351" y="1492"/>
                </a:lnTo>
                <a:lnTo>
                  <a:pt x="351" y="1502"/>
                </a:lnTo>
                <a:lnTo>
                  <a:pt x="341" y="1502"/>
                </a:lnTo>
                <a:lnTo>
                  <a:pt x="341" y="1522"/>
                </a:lnTo>
                <a:lnTo>
                  <a:pt x="331" y="1541"/>
                </a:lnTo>
                <a:lnTo>
                  <a:pt x="331" y="1551"/>
                </a:lnTo>
                <a:lnTo>
                  <a:pt x="331" y="1571"/>
                </a:lnTo>
                <a:lnTo>
                  <a:pt x="331" y="1590"/>
                </a:lnTo>
                <a:close/>
              </a:path>
            </a:pathLst>
          </a:custGeom>
          <a:solidFill>
            <a:srgbClr val="CCECFF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grpSp>
        <p:nvGrpSpPr>
          <p:cNvPr id="18519" name="Group 303"/>
          <p:cNvGrpSpPr>
            <a:grpSpLocks noChangeAspect="1"/>
          </p:cNvGrpSpPr>
          <p:nvPr>
            <p:custDataLst>
              <p:tags r:id="rId85"/>
            </p:custDataLst>
          </p:nvPr>
        </p:nvGrpSpPr>
        <p:grpSpPr bwMode="auto">
          <a:xfrm>
            <a:off x="6489700" y="4130675"/>
            <a:ext cx="741363" cy="1169988"/>
            <a:chOff x="7238" y="2059"/>
            <a:chExt cx="1112" cy="1883"/>
          </a:xfrm>
        </p:grpSpPr>
        <p:sp>
          <p:nvSpPr>
            <p:cNvPr id="18790" name="Freeform 305"/>
            <p:cNvSpPr>
              <a:spLocks noChangeAspect="1"/>
            </p:cNvSpPr>
            <p:nvPr/>
          </p:nvSpPr>
          <p:spPr bwMode="auto">
            <a:xfrm>
              <a:off x="7238" y="2059"/>
              <a:ext cx="1112" cy="1883"/>
            </a:xfrm>
            <a:custGeom>
              <a:avLst/>
              <a:gdLst>
                <a:gd name="T0" fmla="*/ 419 w 1112"/>
                <a:gd name="T1" fmla="*/ 1639 h 1883"/>
                <a:gd name="T2" fmla="*/ 478 w 1112"/>
                <a:gd name="T3" fmla="*/ 1707 h 1883"/>
                <a:gd name="T4" fmla="*/ 565 w 1112"/>
                <a:gd name="T5" fmla="*/ 1678 h 1883"/>
                <a:gd name="T6" fmla="*/ 682 w 1112"/>
                <a:gd name="T7" fmla="*/ 1688 h 1883"/>
                <a:gd name="T8" fmla="*/ 760 w 1112"/>
                <a:gd name="T9" fmla="*/ 1688 h 1883"/>
                <a:gd name="T10" fmla="*/ 790 w 1112"/>
                <a:gd name="T11" fmla="*/ 1756 h 1883"/>
                <a:gd name="T12" fmla="*/ 800 w 1112"/>
                <a:gd name="T13" fmla="*/ 1873 h 1883"/>
                <a:gd name="T14" fmla="*/ 839 w 1112"/>
                <a:gd name="T15" fmla="*/ 1805 h 1883"/>
                <a:gd name="T16" fmla="*/ 917 w 1112"/>
                <a:gd name="T17" fmla="*/ 1795 h 1883"/>
                <a:gd name="T18" fmla="*/ 965 w 1112"/>
                <a:gd name="T19" fmla="*/ 1717 h 1883"/>
                <a:gd name="T20" fmla="*/ 975 w 1112"/>
                <a:gd name="T21" fmla="*/ 1639 h 1883"/>
                <a:gd name="T22" fmla="*/ 1004 w 1112"/>
                <a:gd name="T23" fmla="*/ 1551 h 1883"/>
                <a:gd name="T24" fmla="*/ 1073 w 1112"/>
                <a:gd name="T25" fmla="*/ 1590 h 1883"/>
                <a:gd name="T26" fmla="*/ 1102 w 1112"/>
                <a:gd name="T27" fmla="*/ 1600 h 1883"/>
                <a:gd name="T28" fmla="*/ 1092 w 1112"/>
                <a:gd name="T29" fmla="*/ 1405 h 1883"/>
                <a:gd name="T30" fmla="*/ 1053 w 1112"/>
                <a:gd name="T31" fmla="*/ 1327 h 1883"/>
                <a:gd name="T32" fmla="*/ 975 w 1112"/>
                <a:gd name="T33" fmla="*/ 1229 h 1883"/>
                <a:gd name="T34" fmla="*/ 956 w 1112"/>
                <a:gd name="T35" fmla="*/ 1131 h 1883"/>
                <a:gd name="T36" fmla="*/ 926 w 1112"/>
                <a:gd name="T37" fmla="*/ 1063 h 1883"/>
                <a:gd name="T38" fmla="*/ 878 w 1112"/>
                <a:gd name="T39" fmla="*/ 995 h 1883"/>
                <a:gd name="T40" fmla="*/ 800 w 1112"/>
                <a:gd name="T41" fmla="*/ 956 h 1883"/>
                <a:gd name="T42" fmla="*/ 682 w 1112"/>
                <a:gd name="T43" fmla="*/ 956 h 1883"/>
                <a:gd name="T44" fmla="*/ 673 w 1112"/>
                <a:gd name="T45" fmla="*/ 1014 h 1883"/>
                <a:gd name="T46" fmla="*/ 653 w 1112"/>
                <a:gd name="T47" fmla="*/ 1005 h 1883"/>
                <a:gd name="T48" fmla="*/ 604 w 1112"/>
                <a:gd name="T49" fmla="*/ 1092 h 1883"/>
                <a:gd name="T50" fmla="*/ 575 w 1112"/>
                <a:gd name="T51" fmla="*/ 1034 h 1883"/>
                <a:gd name="T52" fmla="*/ 556 w 1112"/>
                <a:gd name="T53" fmla="*/ 1034 h 1883"/>
                <a:gd name="T54" fmla="*/ 546 w 1112"/>
                <a:gd name="T55" fmla="*/ 1063 h 1883"/>
                <a:gd name="T56" fmla="*/ 487 w 1112"/>
                <a:gd name="T57" fmla="*/ 1024 h 1883"/>
                <a:gd name="T58" fmla="*/ 400 w 1112"/>
                <a:gd name="T59" fmla="*/ 1034 h 1883"/>
                <a:gd name="T60" fmla="*/ 429 w 1112"/>
                <a:gd name="T61" fmla="*/ 927 h 1883"/>
                <a:gd name="T62" fmla="*/ 468 w 1112"/>
                <a:gd name="T63" fmla="*/ 849 h 1883"/>
                <a:gd name="T64" fmla="*/ 478 w 1112"/>
                <a:gd name="T65" fmla="*/ 751 h 1883"/>
                <a:gd name="T66" fmla="*/ 487 w 1112"/>
                <a:gd name="T67" fmla="*/ 634 h 1883"/>
                <a:gd name="T68" fmla="*/ 497 w 1112"/>
                <a:gd name="T69" fmla="*/ 527 h 1883"/>
                <a:gd name="T70" fmla="*/ 517 w 1112"/>
                <a:gd name="T71" fmla="*/ 380 h 1883"/>
                <a:gd name="T72" fmla="*/ 624 w 1112"/>
                <a:gd name="T73" fmla="*/ 263 h 1883"/>
                <a:gd name="T74" fmla="*/ 702 w 1112"/>
                <a:gd name="T75" fmla="*/ 244 h 1883"/>
                <a:gd name="T76" fmla="*/ 673 w 1112"/>
                <a:gd name="T77" fmla="*/ 156 h 1883"/>
                <a:gd name="T78" fmla="*/ 585 w 1112"/>
                <a:gd name="T79" fmla="*/ 175 h 1883"/>
                <a:gd name="T80" fmla="*/ 565 w 1112"/>
                <a:gd name="T81" fmla="*/ 78 h 1883"/>
                <a:gd name="T82" fmla="*/ 400 w 1112"/>
                <a:gd name="T83" fmla="*/ 48 h 1883"/>
                <a:gd name="T84" fmla="*/ 361 w 1112"/>
                <a:gd name="T85" fmla="*/ 87 h 1883"/>
                <a:gd name="T86" fmla="*/ 253 w 1112"/>
                <a:gd name="T87" fmla="*/ 127 h 1883"/>
                <a:gd name="T88" fmla="*/ 205 w 1112"/>
                <a:gd name="T89" fmla="*/ 195 h 1883"/>
                <a:gd name="T90" fmla="*/ 185 w 1112"/>
                <a:gd name="T91" fmla="*/ 361 h 1883"/>
                <a:gd name="T92" fmla="*/ 244 w 1112"/>
                <a:gd name="T93" fmla="*/ 517 h 1883"/>
                <a:gd name="T94" fmla="*/ 146 w 1112"/>
                <a:gd name="T95" fmla="*/ 595 h 1883"/>
                <a:gd name="T96" fmla="*/ 48 w 1112"/>
                <a:gd name="T97" fmla="*/ 653 h 1883"/>
                <a:gd name="T98" fmla="*/ 19 w 1112"/>
                <a:gd name="T99" fmla="*/ 770 h 1883"/>
                <a:gd name="T100" fmla="*/ 29 w 1112"/>
                <a:gd name="T101" fmla="*/ 829 h 1883"/>
                <a:gd name="T102" fmla="*/ 87 w 1112"/>
                <a:gd name="T103" fmla="*/ 946 h 1883"/>
                <a:gd name="T104" fmla="*/ 87 w 1112"/>
                <a:gd name="T105" fmla="*/ 1073 h 1883"/>
                <a:gd name="T106" fmla="*/ 224 w 1112"/>
                <a:gd name="T107" fmla="*/ 1073 h 1883"/>
                <a:gd name="T108" fmla="*/ 185 w 1112"/>
                <a:gd name="T109" fmla="*/ 1151 h 1883"/>
                <a:gd name="T110" fmla="*/ 185 w 1112"/>
                <a:gd name="T111" fmla="*/ 1268 h 1883"/>
                <a:gd name="T112" fmla="*/ 283 w 1112"/>
                <a:gd name="T113" fmla="*/ 1307 h 1883"/>
                <a:gd name="T114" fmla="*/ 380 w 1112"/>
                <a:gd name="T115" fmla="*/ 1219 h 1883"/>
                <a:gd name="T116" fmla="*/ 468 w 1112"/>
                <a:gd name="T117" fmla="*/ 1239 h 1883"/>
                <a:gd name="T118" fmla="*/ 400 w 1112"/>
                <a:gd name="T119" fmla="*/ 1307 h 1883"/>
                <a:gd name="T120" fmla="*/ 390 w 1112"/>
                <a:gd name="T121" fmla="*/ 1405 h 1883"/>
                <a:gd name="T122" fmla="*/ 341 w 1112"/>
                <a:gd name="T123" fmla="*/ 1483 h 1883"/>
                <a:gd name="T124" fmla="*/ 331 w 1112"/>
                <a:gd name="T125" fmla="*/ 1590 h 1883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12"/>
                <a:gd name="T190" fmla="*/ 0 h 1883"/>
                <a:gd name="T191" fmla="*/ 1112 w 1112"/>
                <a:gd name="T192" fmla="*/ 1883 h 1883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12" h="1883">
                  <a:moveTo>
                    <a:pt x="331" y="1590"/>
                  </a:moveTo>
                  <a:lnTo>
                    <a:pt x="361" y="1590"/>
                  </a:lnTo>
                  <a:lnTo>
                    <a:pt x="361" y="1600"/>
                  </a:lnTo>
                  <a:lnTo>
                    <a:pt x="370" y="1619"/>
                  </a:lnTo>
                  <a:lnTo>
                    <a:pt x="400" y="1610"/>
                  </a:lnTo>
                  <a:lnTo>
                    <a:pt x="419" y="1619"/>
                  </a:lnTo>
                  <a:lnTo>
                    <a:pt x="419" y="1629"/>
                  </a:lnTo>
                  <a:lnTo>
                    <a:pt x="419" y="1639"/>
                  </a:lnTo>
                  <a:lnTo>
                    <a:pt x="439" y="1649"/>
                  </a:lnTo>
                  <a:lnTo>
                    <a:pt x="448" y="1658"/>
                  </a:lnTo>
                  <a:lnTo>
                    <a:pt x="439" y="1678"/>
                  </a:lnTo>
                  <a:lnTo>
                    <a:pt x="448" y="1688"/>
                  </a:lnTo>
                  <a:lnTo>
                    <a:pt x="458" y="1707"/>
                  </a:lnTo>
                  <a:lnTo>
                    <a:pt x="458" y="1727"/>
                  </a:lnTo>
                  <a:lnTo>
                    <a:pt x="478" y="1717"/>
                  </a:lnTo>
                  <a:lnTo>
                    <a:pt x="478" y="1707"/>
                  </a:lnTo>
                  <a:lnTo>
                    <a:pt x="507" y="1697"/>
                  </a:lnTo>
                  <a:lnTo>
                    <a:pt x="507" y="1678"/>
                  </a:lnTo>
                  <a:lnTo>
                    <a:pt x="526" y="1678"/>
                  </a:lnTo>
                  <a:lnTo>
                    <a:pt x="526" y="1688"/>
                  </a:lnTo>
                  <a:lnTo>
                    <a:pt x="536" y="1697"/>
                  </a:lnTo>
                  <a:lnTo>
                    <a:pt x="546" y="1678"/>
                  </a:lnTo>
                  <a:lnTo>
                    <a:pt x="565" y="1678"/>
                  </a:lnTo>
                  <a:lnTo>
                    <a:pt x="575" y="1668"/>
                  </a:lnTo>
                  <a:lnTo>
                    <a:pt x="595" y="1678"/>
                  </a:lnTo>
                  <a:lnTo>
                    <a:pt x="604" y="1678"/>
                  </a:lnTo>
                  <a:lnTo>
                    <a:pt x="614" y="1688"/>
                  </a:lnTo>
                  <a:lnTo>
                    <a:pt x="624" y="1688"/>
                  </a:lnTo>
                  <a:lnTo>
                    <a:pt x="643" y="1688"/>
                  </a:lnTo>
                  <a:lnTo>
                    <a:pt x="673" y="1688"/>
                  </a:lnTo>
                  <a:lnTo>
                    <a:pt x="682" y="1688"/>
                  </a:lnTo>
                  <a:lnTo>
                    <a:pt x="702" y="1678"/>
                  </a:lnTo>
                  <a:lnTo>
                    <a:pt x="702" y="1668"/>
                  </a:lnTo>
                  <a:lnTo>
                    <a:pt x="712" y="1668"/>
                  </a:lnTo>
                  <a:lnTo>
                    <a:pt x="721" y="1668"/>
                  </a:lnTo>
                  <a:lnTo>
                    <a:pt x="741" y="1658"/>
                  </a:lnTo>
                  <a:lnTo>
                    <a:pt x="751" y="1658"/>
                  </a:lnTo>
                  <a:lnTo>
                    <a:pt x="760" y="1668"/>
                  </a:lnTo>
                  <a:lnTo>
                    <a:pt x="760" y="1688"/>
                  </a:lnTo>
                  <a:lnTo>
                    <a:pt x="741" y="1688"/>
                  </a:lnTo>
                  <a:lnTo>
                    <a:pt x="731" y="1688"/>
                  </a:lnTo>
                  <a:lnTo>
                    <a:pt x="731" y="1697"/>
                  </a:lnTo>
                  <a:lnTo>
                    <a:pt x="760" y="1697"/>
                  </a:lnTo>
                  <a:lnTo>
                    <a:pt x="770" y="1727"/>
                  </a:lnTo>
                  <a:lnTo>
                    <a:pt x="780" y="1736"/>
                  </a:lnTo>
                  <a:lnTo>
                    <a:pt x="790" y="1746"/>
                  </a:lnTo>
                  <a:lnTo>
                    <a:pt x="790" y="1756"/>
                  </a:lnTo>
                  <a:lnTo>
                    <a:pt x="790" y="1775"/>
                  </a:lnTo>
                  <a:lnTo>
                    <a:pt x="790" y="1795"/>
                  </a:lnTo>
                  <a:lnTo>
                    <a:pt x="780" y="1805"/>
                  </a:lnTo>
                  <a:lnTo>
                    <a:pt x="780" y="1824"/>
                  </a:lnTo>
                  <a:lnTo>
                    <a:pt x="790" y="1834"/>
                  </a:lnTo>
                  <a:lnTo>
                    <a:pt x="790" y="1853"/>
                  </a:lnTo>
                  <a:lnTo>
                    <a:pt x="800" y="1873"/>
                  </a:lnTo>
                  <a:lnTo>
                    <a:pt x="800" y="1883"/>
                  </a:lnTo>
                  <a:lnTo>
                    <a:pt x="809" y="1863"/>
                  </a:lnTo>
                  <a:lnTo>
                    <a:pt x="829" y="1863"/>
                  </a:lnTo>
                  <a:lnTo>
                    <a:pt x="819" y="1844"/>
                  </a:lnTo>
                  <a:lnTo>
                    <a:pt x="829" y="1834"/>
                  </a:lnTo>
                  <a:lnTo>
                    <a:pt x="819" y="1814"/>
                  </a:lnTo>
                  <a:lnTo>
                    <a:pt x="829" y="1805"/>
                  </a:lnTo>
                  <a:lnTo>
                    <a:pt x="839" y="1805"/>
                  </a:lnTo>
                  <a:lnTo>
                    <a:pt x="848" y="1795"/>
                  </a:lnTo>
                  <a:lnTo>
                    <a:pt x="858" y="1795"/>
                  </a:lnTo>
                  <a:lnTo>
                    <a:pt x="868" y="1805"/>
                  </a:lnTo>
                  <a:lnTo>
                    <a:pt x="878" y="1805"/>
                  </a:lnTo>
                  <a:lnTo>
                    <a:pt x="887" y="1805"/>
                  </a:lnTo>
                  <a:lnTo>
                    <a:pt x="887" y="1795"/>
                  </a:lnTo>
                  <a:lnTo>
                    <a:pt x="897" y="1795"/>
                  </a:lnTo>
                  <a:lnTo>
                    <a:pt x="917" y="1795"/>
                  </a:lnTo>
                  <a:lnTo>
                    <a:pt x="926" y="1785"/>
                  </a:lnTo>
                  <a:lnTo>
                    <a:pt x="946" y="1785"/>
                  </a:lnTo>
                  <a:lnTo>
                    <a:pt x="956" y="1775"/>
                  </a:lnTo>
                  <a:lnTo>
                    <a:pt x="975" y="1775"/>
                  </a:lnTo>
                  <a:lnTo>
                    <a:pt x="975" y="1756"/>
                  </a:lnTo>
                  <a:lnTo>
                    <a:pt x="975" y="1746"/>
                  </a:lnTo>
                  <a:lnTo>
                    <a:pt x="965" y="1727"/>
                  </a:lnTo>
                  <a:lnTo>
                    <a:pt x="965" y="1717"/>
                  </a:lnTo>
                  <a:lnTo>
                    <a:pt x="975" y="1697"/>
                  </a:lnTo>
                  <a:lnTo>
                    <a:pt x="1014" y="1688"/>
                  </a:lnTo>
                  <a:lnTo>
                    <a:pt x="1024" y="1668"/>
                  </a:lnTo>
                  <a:lnTo>
                    <a:pt x="1024" y="1649"/>
                  </a:lnTo>
                  <a:lnTo>
                    <a:pt x="1014" y="1629"/>
                  </a:lnTo>
                  <a:lnTo>
                    <a:pt x="995" y="1629"/>
                  </a:lnTo>
                  <a:lnTo>
                    <a:pt x="975" y="1639"/>
                  </a:lnTo>
                  <a:lnTo>
                    <a:pt x="975" y="1619"/>
                  </a:lnTo>
                  <a:lnTo>
                    <a:pt x="956" y="1619"/>
                  </a:lnTo>
                  <a:lnTo>
                    <a:pt x="946" y="1600"/>
                  </a:lnTo>
                  <a:lnTo>
                    <a:pt x="956" y="1590"/>
                  </a:lnTo>
                  <a:lnTo>
                    <a:pt x="975" y="1561"/>
                  </a:lnTo>
                  <a:lnTo>
                    <a:pt x="975" y="1541"/>
                  </a:lnTo>
                  <a:lnTo>
                    <a:pt x="985" y="1541"/>
                  </a:lnTo>
                  <a:lnTo>
                    <a:pt x="1004" y="1551"/>
                  </a:lnTo>
                  <a:lnTo>
                    <a:pt x="1024" y="1561"/>
                  </a:lnTo>
                  <a:lnTo>
                    <a:pt x="1034" y="1551"/>
                  </a:lnTo>
                  <a:lnTo>
                    <a:pt x="1034" y="1571"/>
                  </a:lnTo>
                  <a:lnTo>
                    <a:pt x="1034" y="1580"/>
                  </a:lnTo>
                  <a:lnTo>
                    <a:pt x="1043" y="1580"/>
                  </a:lnTo>
                  <a:lnTo>
                    <a:pt x="1063" y="1590"/>
                  </a:lnTo>
                  <a:lnTo>
                    <a:pt x="1073" y="1590"/>
                  </a:lnTo>
                  <a:lnTo>
                    <a:pt x="1053" y="1610"/>
                  </a:lnTo>
                  <a:lnTo>
                    <a:pt x="1073" y="1629"/>
                  </a:lnTo>
                  <a:lnTo>
                    <a:pt x="1082" y="1619"/>
                  </a:lnTo>
                  <a:lnTo>
                    <a:pt x="1092" y="1619"/>
                  </a:lnTo>
                  <a:lnTo>
                    <a:pt x="1112" y="1629"/>
                  </a:lnTo>
                  <a:lnTo>
                    <a:pt x="1112" y="1619"/>
                  </a:lnTo>
                  <a:lnTo>
                    <a:pt x="1102" y="1600"/>
                  </a:lnTo>
                  <a:lnTo>
                    <a:pt x="1102" y="1571"/>
                  </a:lnTo>
                  <a:lnTo>
                    <a:pt x="1102" y="1551"/>
                  </a:lnTo>
                  <a:lnTo>
                    <a:pt x="1112" y="1502"/>
                  </a:lnTo>
                  <a:lnTo>
                    <a:pt x="1112" y="1473"/>
                  </a:lnTo>
                  <a:lnTo>
                    <a:pt x="1112" y="1453"/>
                  </a:lnTo>
                  <a:lnTo>
                    <a:pt x="1102" y="1453"/>
                  </a:lnTo>
                  <a:lnTo>
                    <a:pt x="1102" y="1424"/>
                  </a:lnTo>
                  <a:lnTo>
                    <a:pt x="1092" y="1405"/>
                  </a:lnTo>
                  <a:lnTo>
                    <a:pt x="1082" y="1405"/>
                  </a:lnTo>
                  <a:lnTo>
                    <a:pt x="1082" y="1395"/>
                  </a:lnTo>
                  <a:lnTo>
                    <a:pt x="1073" y="1385"/>
                  </a:lnTo>
                  <a:lnTo>
                    <a:pt x="1082" y="1375"/>
                  </a:lnTo>
                  <a:lnTo>
                    <a:pt x="1073" y="1366"/>
                  </a:lnTo>
                  <a:lnTo>
                    <a:pt x="1063" y="1346"/>
                  </a:lnTo>
                  <a:lnTo>
                    <a:pt x="1053" y="1336"/>
                  </a:lnTo>
                  <a:lnTo>
                    <a:pt x="1053" y="1327"/>
                  </a:lnTo>
                  <a:lnTo>
                    <a:pt x="1034" y="1317"/>
                  </a:lnTo>
                  <a:lnTo>
                    <a:pt x="1034" y="1288"/>
                  </a:lnTo>
                  <a:lnTo>
                    <a:pt x="1024" y="1297"/>
                  </a:lnTo>
                  <a:lnTo>
                    <a:pt x="1014" y="1288"/>
                  </a:lnTo>
                  <a:lnTo>
                    <a:pt x="1014" y="1278"/>
                  </a:lnTo>
                  <a:lnTo>
                    <a:pt x="995" y="1258"/>
                  </a:lnTo>
                  <a:lnTo>
                    <a:pt x="995" y="1249"/>
                  </a:lnTo>
                  <a:lnTo>
                    <a:pt x="975" y="1229"/>
                  </a:lnTo>
                  <a:lnTo>
                    <a:pt x="975" y="1210"/>
                  </a:lnTo>
                  <a:lnTo>
                    <a:pt x="975" y="1190"/>
                  </a:lnTo>
                  <a:lnTo>
                    <a:pt x="965" y="1180"/>
                  </a:lnTo>
                  <a:lnTo>
                    <a:pt x="965" y="1170"/>
                  </a:lnTo>
                  <a:lnTo>
                    <a:pt x="965" y="1161"/>
                  </a:lnTo>
                  <a:lnTo>
                    <a:pt x="956" y="1151"/>
                  </a:lnTo>
                  <a:lnTo>
                    <a:pt x="956" y="1131"/>
                  </a:lnTo>
                  <a:lnTo>
                    <a:pt x="956" y="1112"/>
                  </a:lnTo>
                  <a:lnTo>
                    <a:pt x="956" y="1092"/>
                  </a:lnTo>
                  <a:lnTo>
                    <a:pt x="965" y="1092"/>
                  </a:lnTo>
                  <a:lnTo>
                    <a:pt x="956" y="1083"/>
                  </a:lnTo>
                  <a:lnTo>
                    <a:pt x="946" y="1073"/>
                  </a:lnTo>
                  <a:lnTo>
                    <a:pt x="946" y="1063"/>
                  </a:lnTo>
                  <a:lnTo>
                    <a:pt x="926" y="1063"/>
                  </a:lnTo>
                  <a:lnTo>
                    <a:pt x="907" y="1053"/>
                  </a:lnTo>
                  <a:lnTo>
                    <a:pt x="907" y="1034"/>
                  </a:lnTo>
                  <a:lnTo>
                    <a:pt x="897" y="1024"/>
                  </a:lnTo>
                  <a:lnTo>
                    <a:pt x="887" y="1014"/>
                  </a:lnTo>
                  <a:lnTo>
                    <a:pt x="878" y="1005"/>
                  </a:lnTo>
                  <a:lnTo>
                    <a:pt x="868" y="1005"/>
                  </a:lnTo>
                  <a:lnTo>
                    <a:pt x="848" y="1005"/>
                  </a:lnTo>
                  <a:lnTo>
                    <a:pt x="878" y="995"/>
                  </a:lnTo>
                  <a:lnTo>
                    <a:pt x="878" y="975"/>
                  </a:lnTo>
                  <a:lnTo>
                    <a:pt x="868" y="966"/>
                  </a:lnTo>
                  <a:lnTo>
                    <a:pt x="848" y="966"/>
                  </a:lnTo>
                  <a:lnTo>
                    <a:pt x="829" y="966"/>
                  </a:lnTo>
                  <a:lnTo>
                    <a:pt x="829" y="956"/>
                  </a:lnTo>
                  <a:lnTo>
                    <a:pt x="800" y="956"/>
                  </a:lnTo>
                  <a:lnTo>
                    <a:pt x="780" y="956"/>
                  </a:lnTo>
                  <a:lnTo>
                    <a:pt x="770" y="956"/>
                  </a:lnTo>
                  <a:lnTo>
                    <a:pt x="751" y="936"/>
                  </a:lnTo>
                  <a:lnTo>
                    <a:pt x="741" y="936"/>
                  </a:lnTo>
                  <a:lnTo>
                    <a:pt x="721" y="936"/>
                  </a:lnTo>
                  <a:lnTo>
                    <a:pt x="712" y="936"/>
                  </a:lnTo>
                  <a:lnTo>
                    <a:pt x="702" y="927"/>
                  </a:lnTo>
                  <a:lnTo>
                    <a:pt x="682" y="956"/>
                  </a:lnTo>
                  <a:lnTo>
                    <a:pt x="673" y="966"/>
                  </a:lnTo>
                  <a:lnTo>
                    <a:pt x="643" y="966"/>
                  </a:lnTo>
                  <a:lnTo>
                    <a:pt x="653" y="975"/>
                  </a:lnTo>
                  <a:lnTo>
                    <a:pt x="653" y="985"/>
                  </a:lnTo>
                  <a:lnTo>
                    <a:pt x="663" y="995"/>
                  </a:lnTo>
                  <a:lnTo>
                    <a:pt x="673" y="1005"/>
                  </a:lnTo>
                  <a:lnTo>
                    <a:pt x="673" y="1014"/>
                  </a:lnTo>
                  <a:lnTo>
                    <a:pt x="673" y="1024"/>
                  </a:lnTo>
                  <a:lnTo>
                    <a:pt x="682" y="1034"/>
                  </a:lnTo>
                  <a:lnTo>
                    <a:pt x="673" y="1053"/>
                  </a:lnTo>
                  <a:lnTo>
                    <a:pt x="663" y="1044"/>
                  </a:lnTo>
                  <a:lnTo>
                    <a:pt x="663" y="1024"/>
                  </a:lnTo>
                  <a:lnTo>
                    <a:pt x="663" y="1014"/>
                  </a:lnTo>
                  <a:lnTo>
                    <a:pt x="653" y="1005"/>
                  </a:lnTo>
                  <a:lnTo>
                    <a:pt x="643" y="1005"/>
                  </a:lnTo>
                  <a:lnTo>
                    <a:pt x="643" y="1024"/>
                  </a:lnTo>
                  <a:lnTo>
                    <a:pt x="653" y="1034"/>
                  </a:lnTo>
                  <a:lnTo>
                    <a:pt x="643" y="1044"/>
                  </a:lnTo>
                  <a:lnTo>
                    <a:pt x="643" y="1063"/>
                  </a:lnTo>
                  <a:lnTo>
                    <a:pt x="634" y="1073"/>
                  </a:lnTo>
                  <a:lnTo>
                    <a:pt x="624" y="1083"/>
                  </a:lnTo>
                  <a:lnTo>
                    <a:pt x="604" y="1092"/>
                  </a:lnTo>
                  <a:lnTo>
                    <a:pt x="604" y="1073"/>
                  </a:lnTo>
                  <a:lnTo>
                    <a:pt x="614" y="1073"/>
                  </a:lnTo>
                  <a:lnTo>
                    <a:pt x="614" y="1044"/>
                  </a:lnTo>
                  <a:lnTo>
                    <a:pt x="624" y="1034"/>
                  </a:lnTo>
                  <a:lnTo>
                    <a:pt x="604" y="1034"/>
                  </a:lnTo>
                  <a:lnTo>
                    <a:pt x="595" y="1034"/>
                  </a:lnTo>
                  <a:lnTo>
                    <a:pt x="575" y="1034"/>
                  </a:lnTo>
                  <a:lnTo>
                    <a:pt x="585" y="1024"/>
                  </a:lnTo>
                  <a:lnTo>
                    <a:pt x="585" y="1014"/>
                  </a:lnTo>
                  <a:lnTo>
                    <a:pt x="585" y="1005"/>
                  </a:lnTo>
                  <a:lnTo>
                    <a:pt x="575" y="1014"/>
                  </a:lnTo>
                  <a:lnTo>
                    <a:pt x="565" y="1024"/>
                  </a:lnTo>
                  <a:lnTo>
                    <a:pt x="556" y="1034"/>
                  </a:lnTo>
                  <a:lnTo>
                    <a:pt x="575" y="1053"/>
                  </a:lnTo>
                  <a:lnTo>
                    <a:pt x="575" y="1063"/>
                  </a:lnTo>
                  <a:lnTo>
                    <a:pt x="575" y="1073"/>
                  </a:lnTo>
                  <a:lnTo>
                    <a:pt x="565" y="1073"/>
                  </a:lnTo>
                  <a:lnTo>
                    <a:pt x="565" y="1083"/>
                  </a:lnTo>
                  <a:lnTo>
                    <a:pt x="556" y="1083"/>
                  </a:lnTo>
                  <a:lnTo>
                    <a:pt x="546" y="1073"/>
                  </a:lnTo>
                  <a:lnTo>
                    <a:pt x="546" y="1063"/>
                  </a:lnTo>
                  <a:lnTo>
                    <a:pt x="546" y="1053"/>
                  </a:lnTo>
                  <a:lnTo>
                    <a:pt x="536" y="1044"/>
                  </a:lnTo>
                  <a:lnTo>
                    <a:pt x="526" y="1034"/>
                  </a:lnTo>
                  <a:lnTo>
                    <a:pt x="526" y="1014"/>
                  </a:lnTo>
                  <a:lnTo>
                    <a:pt x="517" y="1005"/>
                  </a:lnTo>
                  <a:lnTo>
                    <a:pt x="507" y="1005"/>
                  </a:lnTo>
                  <a:lnTo>
                    <a:pt x="497" y="1005"/>
                  </a:lnTo>
                  <a:lnTo>
                    <a:pt x="487" y="1024"/>
                  </a:lnTo>
                  <a:lnTo>
                    <a:pt x="478" y="1024"/>
                  </a:lnTo>
                  <a:lnTo>
                    <a:pt x="458" y="1044"/>
                  </a:lnTo>
                  <a:lnTo>
                    <a:pt x="439" y="1044"/>
                  </a:lnTo>
                  <a:lnTo>
                    <a:pt x="429" y="1044"/>
                  </a:lnTo>
                  <a:lnTo>
                    <a:pt x="419" y="1044"/>
                  </a:lnTo>
                  <a:lnTo>
                    <a:pt x="409" y="1034"/>
                  </a:lnTo>
                  <a:lnTo>
                    <a:pt x="400" y="1034"/>
                  </a:lnTo>
                  <a:lnTo>
                    <a:pt x="400" y="1014"/>
                  </a:lnTo>
                  <a:lnTo>
                    <a:pt x="409" y="1005"/>
                  </a:lnTo>
                  <a:lnTo>
                    <a:pt x="419" y="995"/>
                  </a:lnTo>
                  <a:lnTo>
                    <a:pt x="429" y="985"/>
                  </a:lnTo>
                  <a:lnTo>
                    <a:pt x="429" y="975"/>
                  </a:lnTo>
                  <a:lnTo>
                    <a:pt x="439" y="956"/>
                  </a:lnTo>
                  <a:lnTo>
                    <a:pt x="429" y="936"/>
                  </a:lnTo>
                  <a:lnTo>
                    <a:pt x="429" y="927"/>
                  </a:lnTo>
                  <a:lnTo>
                    <a:pt x="439" y="917"/>
                  </a:lnTo>
                  <a:lnTo>
                    <a:pt x="439" y="907"/>
                  </a:lnTo>
                  <a:lnTo>
                    <a:pt x="448" y="907"/>
                  </a:lnTo>
                  <a:lnTo>
                    <a:pt x="448" y="897"/>
                  </a:lnTo>
                  <a:lnTo>
                    <a:pt x="448" y="888"/>
                  </a:lnTo>
                  <a:lnTo>
                    <a:pt x="458" y="868"/>
                  </a:lnTo>
                  <a:lnTo>
                    <a:pt x="458" y="858"/>
                  </a:lnTo>
                  <a:lnTo>
                    <a:pt x="468" y="849"/>
                  </a:lnTo>
                  <a:lnTo>
                    <a:pt x="468" y="839"/>
                  </a:lnTo>
                  <a:lnTo>
                    <a:pt x="478" y="829"/>
                  </a:lnTo>
                  <a:lnTo>
                    <a:pt x="478" y="809"/>
                  </a:lnTo>
                  <a:lnTo>
                    <a:pt x="468" y="800"/>
                  </a:lnTo>
                  <a:lnTo>
                    <a:pt x="478" y="790"/>
                  </a:lnTo>
                  <a:lnTo>
                    <a:pt x="478" y="770"/>
                  </a:lnTo>
                  <a:lnTo>
                    <a:pt x="468" y="770"/>
                  </a:lnTo>
                  <a:lnTo>
                    <a:pt x="478" y="751"/>
                  </a:lnTo>
                  <a:lnTo>
                    <a:pt x="478" y="741"/>
                  </a:lnTo>
                  <a:lnTo>
                    <a:pt x="468" y="712"/>
                  </a:lnTo>
                  <a:lnTo>
                    <a:pt x="478" y="702"/>
                  </a:lnTo>
                  <a:lnTo>
                    <a:pt x="478" y="692"/>
                  </a:lnTo>
                  <a:lnTo>
                    <a:pt x="478" y="683"/>
                  </a:lnTo>
                  <a:lnTo>
                    <a:pt x="478" y="673"/>
                  </a:lnTo>
                  <a:lnTo>
                    <a:pt x="487" y="653"/>
                  </a:lnTo>
                  <a:lnTo>
                    <a:pt x="487" y="634"/>
                  </a:lnTo>
                  <a:lnTo>
                    <a:pt x="497" y="634"/>
                  </a:lnTo>
                  <a:lnTo>
                    <a:pt x="497" y="614"/>
                  </a:lnTo>
                  <a:lnTo>
                    <a:pt x="497" y="595"/>
                  </a:lnTo>
                  <a:lnTo>
                    <a:pt x="507" y="585"/>
                  </a:lnTo>
                  <a:lnTo>
                    <a:pt x="517" y="566"/>
                  </a:lnTo>
                  <a:lnTo>
                    <a:pt x="507" y="556"/>
                  </a:lnTo>
                  <a:lnTo>
                    <a:pt x="497" y="546"/>
                  </a:lnTo>
                  <a:lnTo>
                    <a:pt x="497" y="527"/>
                  </a:lnTo>
                  <a:lnTo>
                    <a:pt x="497" y="497"/>
                  </a:lnTo>
                  <a:lnTo>
                    <a:pt x="507" y="488"/>
                  </a:lnTo>
                  <a:lnTo>
                    <a:pt x="517" y="458"/>
                  </a:lnTo>
                  <a:lnTo>
                    <a:pt x="517" y="448"/>
                  </a:lnTo>
                  <a:lnTo>
                    <a:pt x="517" y="439"/>
                  </a:lnTo>
                  <a:lnTo>
                    <a:pt x="507" y="419"/>
                  </a:lnTo>
                  <a:lnTo>
                    <a:pt x="507" y="400"/>
                  </a:lnTo>
                  <a:lnTo>
                    <a:pt x="517" y="380"/>
                  </a:lnTo>
                  <a:lnTo>
                    <a:pt x="526" y="361"/>
                  </a:lnTo>
                  <a:lnTo>
                    <a:pt x="536" y="331"/>
                  </a:lnTo>
                  <a:lnTo>
                    <a:pt x="556" y="331"/>
                  </a:lnTo>
                  <a:lnTo>
                    <a:pt x="565" y="322"/>
                  </a:lnTo>
                  <a:lnTo>
                    <a:pt x="575" y="302"/>
                  </a:lnTo>
                  <a:lnTo>
                    <a:pt x="595" y="292"/>
                  </a:lnTo>
                  <a:lnTo>
                    <a:pt x="614" y="283"/>
                  </a:lnTo>
                  <a:lnTo>
                    <a:pt x="624" y="263"/>
                  </a:lnTo>
                  <a:lnTo>
                    <a:pt x="643" y="253"/>
                  </a:lnTo>
                  <a:lnTo>
                    <a:pt x="653" y="244"/>
                  </a:lnTo>
                  <a:lnTo>
                    <a:pt x="663" y="244"/>
                  </a:lnTo>
                  <a:lnTo>
                    <a:pt x="673" y="253"/>
                  </a:lnTo>
                  <a:lnTo>
                    <a:pt x="692" y="263"/>
                  </a:lnTo>
                  <a:lnTo>
                    <a:pt x="692" y="244"/>
                  </a:lnTo>
                  <a:lnTo>
                    <a:pt x="702" y="244"/>
                  </a:lnTo>
                  <a:lnTo>
                    <a:pt x="682" y="234"/>
                  </a:lnTo>
                  <a:lnTo>
                    <a:pt x="682" y="214"/>
                  </a:lnTo>
                  <a:lnTo>
                    <a:pt x="692" y="214"/>
                  </a:lnTo>
                  <a:lnTo>
                    <a:pt x="702" y="205"/>
                  </a:lnTo>
                  <a:lnTo>
                    <a:pt x="702" y="195"/>
                  </a:lnTo>
                  <a:lnTo>
                    <a:pt x="692" y="175"/>
                  </a:lnTo>
                  <a:lnTo>
                    <a:pt x="682" y="166"/>
                  </a:lnTo>
                  <a:lnTo>
                    <a:pt x="673" y="156"/>
                  </a:lnTo>
                  <a:lnTo>
                    <a:pt x="663" y="156"/>
                  </a:lnTo>
                  <a:lnTo>
                    <a:pt x="643" y="156"/>
                  </a:lnTo>
                  <a:lnTo>
                    <a:pt x="634" y="156"/>
                  </a:lnTo>
                  <a:lnTo>
                    <a:pt x="624" y="146"/>
                  </a:lnTo>
                  <a:lnTo>
                    <a:pt x="614" y="156"/>
                  </a:lnTo>
                  <a:lnTo>
                    <a:pt x="614" y="166"/>
                  </a:lnTo>
                  <a:lnTo>
                    <a:pt x="604" y="166"/>
                  </a:lnTo>
                  <a:lnTo>
                    <a:pt x="585" y="175"/>
                  </a:lnTo>
                  <a:lnTo>
                    <a:pt x="575" y="175"/>
                  </a:lnTo>
                  <a:lnTo>
                    <a:pt x="575" y="156"/>
                  </a:lnTo>
                  <a:lnTo>
                    <a:pt x="565" y="156"/>
                  </a:lnTo>
                  <a:lnTo>
                    <a:pt x="565" y="146"/>
                  </a:lnTo>
                  <a:lnTo>
                    <a:pt x="565" y="117"/>
                  </a:lnTo>
                  <a:lnTo>
                    <a:pt x="575" y="107"/>
                  </a:lnTo>
                  <a:lnTo>
                    <a:pt x="575" y="97"/>
                  </a:lnTo>
                  <a:lnTo>
                    <a:pt x="565" y="78"/>
                  </a:lnTo>
                  <a:lnTo>
                    <a:pt x="575" y="58"/>
                  </a:lnTo>
                  <a:lnTo>
                    <a:pt x="546" y="39"/>
                  </a:lnTo>
                  <a:lnTo>
                    <a:pt x="517" y="19"/>
                  </a:lnTo>
                  <a:lnTo>
                    <a:pt x="458" y="0"/>
                  </a:lnTo>
                  <a:lnTo>
                    <a:pt x="448" y="19"/>
                  </a:lnTo>
                  <a:lnTo>
                    <a:pt x="419" y="19"/>
                  </a:lnTo>
                  <a:lnTo>
                    <a:pt x="409" y="29"/>
                  </a:lnTo>
                  <a:lnTo>
                    <a:pt x="400" y="48"/>
                  </a:lnTo>
                  <a:lnTo>
                    <a:pt x="400" y="58"/>
                  </a:lnTo>
                  <a:lnTo>
                    <a:pt x="400" y="78"/>
                  </a:lnTo>
                  <a:lnTo>
                    <a:pt x="390" y="78"/>
                  </a:lnTo>
                  <a:lnTo>
                    <a:pt x="380" y="78"/>
                  </a:lnTo>
                  <a:lnTo>
                    <a:pt x="370" y="58"/>
                  </a:lnTo>
                  <a:lnTo>
                    <a:pt x="370" y="68"/>
                  </a:lnTo>
                  <a:lnTo>
                    <a:pt x="370" y="78"/>
                  </a:lnTo>
                  <a:lnTo>
                    <a:pt x="361" y="87"/>
                  </a:lnTo>
                  <a:lnTo>
                    <a:pt x="351" y="78"/>
                  </a:lnTo>
                  <a:lnTo>
                    <a:pt x="322" y="87"/>
                  </a:lnTo>
                  <a:lnTo>
                    <a:pt x="341" y="107"/>
                  </a:lnTo>
                  <a:lnTo>
                    <a:pt x="322" y="117"/>
                  </a:lnTo>
                  <a:lnTo>
                    <a:pt x="312" y="127"/>
                  </a:lnTo>
                  <a:lnTo>
                    <a:pt x="292" y="117"/>
                  </a:lnTo>
                  <a:lnTo>
                    <a:pt x="273" y="127"/>
                  </a:lnTo>
                  <a:lnTo>
                    <a:pt x="253" y="127"/>
                  </a:lnTo>
                  <a:lnTo>
                    <a:pt x="234" y="117"/>
                  </a:lnTo>
                  <a:lnTo>
                    <a:pt x="224" y="136"/>
                  </a:lnTo>
                  <a:lnTo>
                    <a:pt x="214" y="127"/>
                  </a:lnTo>
                  <a:lnTo>
                    <a:pt x="205" y="117"/>
                  </a:lnTo>
                  <a:lnTo>
                    <a:pt x="195" y="127"/>
                  </a:lnTo>
                  <a:lnTo>
                    <a:pt x="205" y="136"/>
                  </a:lnTo>
                  <a:lnTo>
                    <a:pt x="195" y="156"/>
                  </a:lnTo>
                  <a:lnTo>
                    <a:pt x="205" y="195"/>
                  </a:lnTo>
                  <a:lnTo>
                    <a:pt x="214" y="205"/>
                  </a:lnTo>
                  <a:lnTo>
                    <a:pt x="214" y="234"/>
                  </a:lnTo>
                  <a:lnTo>
                    <a:pt x="205" y="253"/>
                  </a:lnTo>
                  <a:lnTo>
                    <a:pt x="195" y="273"/>
                  </a:lnTo>
                  <a:lnTo>
                    <a:pt x="195" y="292"/>
                  </a:lnTo>
                  <a:lnTo>
                    <a:pt x="185" y="302"/>
                  </a:lnTo>
                  <a:lnTo>
                    <a:pt x="185" y="331"/>
                  </a:lnTo>
                  <a:lnTo>
                    <a:pt x="185" y="361"/>
                  </a:lnTo>
                  <a:lnTo>
                    <a:pt x="214" y="380"/>
                  </a:lnTo>
                  <a:lnTo>
                    <a:pt x="224" y="419"/>
                  </a:lnTo>
                  <a:lnTo>
                    <a:pt x="234" y="439"/>
                  </a:lnTo>
                  <a:lnTo>
                    <a:pt x="253" y="439"/>
                  </a:lnTo>
                  <a:lnTo>
                    <a:pt x="253" y="458"/>
                  </a:lnTo>
                  <a:lnTo>
                    <a:pt x="253" y="478"/>
                  </a:lnTo>
                  <a:lnTo>
                    <a:pt x="244" y="478"/>
                  </a:lnTo>
                  <a:lnTo>
                    <a:pt x="244" y="517"/>
                  </a:lnTo>
                  <a:lnTo>
                    <a:pt x="234" y="527"/>
                  </a:lnTo>
                  <a:lnTo>
                    <a:pt x="214" y="546"/>
                  </a:lnTo>
                  <a:lnTo>
                    <a:pt x="195" y="546"/>
                  </a:lnTo>
                  <a:lnTo>
                    <a:pt x="185" y="556"/>
                  </a:lnTo>
                  <a:lnTo>
                    <a:pt x="165" y="556"/>
                  </a:lnTo>
                  <a:lnTo>
                    <a:pt x="156" y="556"/>
                  </a:lnTo>
                  <a:lnTo>
                    <a:pt x="146" y="575"/>
                  </a:lnTo>
                  <a:lnTo>
                    <a:pt x="146" y="595"/>
                  </a:lnTo>
                  <a:lnTo>
                    <a:pt x="146" y="614"/>
                  </a:lnTo>
                  <a:lnTo>
                    <a:pt x="136" y="614"/>
                  </a:lnTo>
                  <a:lnTo>
                    <a:pt x="117" y="624"/>
                  </a:lnTo>
                  <a:lnTo>
                    <a:pt x="107" y="624"/>
                  </a:lnTo>
                  <a:lnTo>
                    <a:pt x="97" y="644"/>
                  </a:lnTo>
                  <a:lnTo>
                    <a:pt x="78" y="634"/>
                  </a:lnTo>
                  <a:lnTo>
                    <a:pt x="68" y="653"/>
                  </a:lnTo>
                  <a:lnTo>
                    <a:pt x="48" y="653"/>
                  </a:lnTo>
                  <a:lnTo>
                    <a:pt x="29" y="653"/>
                  </a:lnTo>
                  <a:lnTo>
                    <a:pt x="19" y="683"/>
                  </a:lnTo>
                  <a:lnTo>
                    <a:pt x="29" y="702"/>
                  </a:lnTo>
                  <a:lnTo>
                    <a:pt x="29" y="712"/>
                  </a:lnTo>
                  <a:lnTo>
                    <a:pt x="19" y="712"/>
                  </a:lnTo>
                  <a:lnTo>
                    <a:pt x="29" y="761"/>
                  </a:lnTo>
                  <a:lnTo>
                    <a:pt x="19" y="770"/>
                  </a:lnTo>
                  <a:lnTo>
                    <a:pt x="29" y="790"/>
                  </a:lnTo>
                  <a:lnTo>
                    <a:pt x="29" y="800"/>
                  </a:lnTo>
                  <a:lnTo>
                    <a:pt x="29" y="809"/>
                  </a:lnTo>
                  <a:lnTo>
                    <a:pt x="9" y="809"/>
                  </a:lnTo>
                  <a:lnTo>
                    <a:pt x="0" y="809"/>
                  </a:lnTo>
                  <a:lnTo>
                    <a:pt x="9" y="819"/>
                  </a:lnTo>
                  <a:lnTo>
                    <a:pt x="29" y="829"/>
                  </a:lnTo>
                  <a:lnTo>
                    <a:pt x="39" y="849"/>
                  </a:lnTo>
                  <a:lnTo>
                    <a:pt x="58" y="849"/>
                  </a:lnTo>
                  <a:lnTo>
                    <a:pt x="48" y="868"/>
                  </a:lnTo>
                  <a:lnTo>
                    <a:pt x="39" y="897"/>
                  </a:lnTo>
                  <a:lnTo>
                    <a:pt x="39" y="917"/>
                  </a:lnTo>
                  <a:lnTo>
                    <a:pt x="58" y="917"/>
                  </a:lnTo>
                  <a:lnTo>
                    <a:pt x="78" y="936"/>
                  </a:lnTo>
                  <a:lnTo>
                    <a:pt x="87" y="946"/>
                  </a:lnTo>
                  <a:lnTo>
                    <a:pt x="87" y="956"/>
                  </a:lnTo>
                  <a:lnTo>
                    <a:pt x="78" y="975"/>
                  </a:lnTo>
                  <a:lnTo>
                    <a:pt x="68" y="985"/>
                  </a:lnTo>
                  <a:lnTo>
                    <a:pt x="68" y="1005"/>
                  </a:lnTo>
                  <a:lnTo>
                    <a:pt x="78" y="1014"/>
                  </a:lnTo>
                  <a:lnTo>
                    <a:pt x="68" y="1034"/>
                  </a:lnTo>
                  <a:lnTo>
                    <a:pt x="68" y="1053"/>
                  </a:lnTo>
                  <a:lnTo>
                    <a:pt x="87" y="1073"/>
                  </a:lnTo>
                  <a:lnTo>
                    <a:pt x="146" y="1053"/>
                  </a:lnTo>
                  <a:lnTo>
                    <a:pt x="165" y="1044"/>
                  </a:lnTo>
                  <a:lnTo>
                    <a:pt x="185" y="1034"/>
                  </a:lnTo>
                  <a:lnTo>
                    <a:pt x="205" y="1044"/>
                  </a:lnTo>
                  <a:lnTo>
                    <a:pt x="234" y="1053"/>
                  </a:lnTo>
                  <a:lnTo>
                    <a:pt x="224" y="1063"/>
                  </a:lnTo>
                  <a:lnTo>
                    <a:pt x="214" y="1063"/>
                  </a:lnTo>
                  <a:lnTo>
                    <a:pt x="224" y="1073"/>
                  </a:lnTo>
                  <a:lnTo>
                    <a:pt x="214" y="1073"/>
                  </a:lnTo>
                  <a:lnTo>
                    <a:pt x="214" y="1083"/>
                  </a:lnTo>
                  <a:lnTo>
                    <a:pt x="224" y="1092"/>
                  </a:lnTo>
                  <a:lnTo>
                    <a:pt x="205" y="1102"/>
                  </a:lnTo>
                  <a:lnTo>
                    <a:pt x="195" y="1122"/>
                  </a:lnTo>
                  <a:lnTo>
                    <a:pt x="185" y="1151"/>
                  </a:lnTo>
                  <a:lnTo>
                    <a:pt x="175" y="1170"/>
                  </a:lnTo>
                  <a:lnTo>
                    <a:pt x="165" y="1190"/>
                  </a:lnTo>
                  <a:lnTo>
                    <a:pt x="175" y="1210"/>
                  </a:lnTo>
                  <a:lnTo>
                    <a:pt x="165" y="1229"/>
                  </a:lnTo>
                  <a:lnTo>
                    <a:pt x="156" y="1258"/>
                  </a:lnTo>
                  <a:lnTo>
                    <a:pt x="165" y="1268"/>
                  </a:lnTo>
                  <a:lnTo>
                    <a:pt x="185" y="1268"/>
                  </a:lnTo>
                  <a:lnTo>
                    <a:pt x="195" y="1258"/>
                  </a:lnTo>
                  <a:lnTo>
                    <a:pt x="224" y="1249"/>
                  </a:lnTo>
                  <a:lnTo>
                    <a:pt x="224" y="1268"/>
                  </a:lnTo>
                  <a:lnTo>
                    <a:pt x="234" y="1297"/>
                  </a:lnTo>
                  <a:lnTo>
                    <a:pt x="253" y="1317"/>
                  </a:lnTo>
                  <a:lnTo>
                    <a:pt x="273" y="1307"/>
                  </a:lnTo>
                  <a:lnTo>
                    <a:pt x="283" y="1297"/>
                  </a:lnTo>
                  <a:lnTo>
                    <a:pt x="283" y="1307"/>
                  </a:lnTo>
                  <a:lnTo>
                    <a:pt x="302" y="1307"/>
                  </a:lnTo>
                  <a:lnTo>
                    <a:pt x="302" y="1288"/>
                  </a:lnTo>
                  <a:lnTo>
                    <a:pt x="322" y="1288"/>
                  </a:lnTo>
                  <a:lnTo>
                    <a:pt x="341" y="1268"/>
                  </a:lnTo>
                  <a:lnTo>
                    <a:pt x="341" y="1258"/>
                  </a:lnTo>
                  <a:lnTo>
                    <a:pt x="351" y="1249"/>
                  </a:lnTo>
                  <a:lnTo>
                    <a:pt x="351" y="1229"/>
                  </a:lnTo>
                  <a:lnTo>
                    <a:pt x="380" y="1219"/>
                  </a:lnTo>
                  <a:lnTo>
                    <a:pt x="400" y="1219"/>
                  </a:lnTo>
                  <a:lnTo>
                    <a:pt x="409" y="1210"/>
                  </a:lnTo>
                  <a:lnTo>
                    <a:pt x="419" y="1180"/>
                  </a:lnTo>
                  <a:lnTo>
                    <a:pt x="439" y="1190"/>
                  </a:lnTo>
                  <a:lnTo>
                    <a:pt x="458" y="1200"/>
                  </a:lnTo>
                  <a:lnTo>
                    <a:pt x="458" y="1210"/>
                  </a:lnTo>
                  <a:lnTo>
                    <a:pt x="468" y="1219"/>
                  </a:lnTo>
                  <a:lnTo>
                    <a:pt x="468" y="1239"/>
                  </a:lnTo>
                  <a:lnTo>
                    <a:pt x="478" y="1258"/>
                  </a:lnTo>
                  <a:lnTo>
                    <a:pt x="487" y="1258"/>
                  </a:lnTo>
                  <a:lnTo>
                    <a:pt x="497" y="1278"/>
                  </a:lnTo>
                  <a:lnTo>
                    <a:pt x="497" y="1297"/>
                  </a:lnTo>
                  <a:lnTo>
                    <a:pt x="439" y="1307"/>
                  </a:lnTo>
                  <a:lnTo>
                    <a:pt x="419" y="1317"/>
                  </a:lnTo>
                  <a:lnTo>
                    <a:pt x="409" y="1307"/>
                  </a:lnTo>
                  <a:lnTo>
                    <a:pt x="400" y="1307"/>
                  </a:lnTo>
                  <a:lnTo>
                    <a:pt x="400" y="1317"/>
                  </a:lnTo>
                  <a:lnTo>
                    <a:pt x="419" y="1346"/>
                  </a:lnTo>
                  <a:lnTo>
                    <a:pt x="429" y="1346"/>
                  </a:lnTo>
                  <a:lnTo>
                    <a:pt x="439" y="1366"/>
                  </a:lnTo>
                  <a:lnTo>
                    <a:pt x="419" y="1375"/>
                  </a:lnTo>
                  <a:lnTo>
                    <a:pt x="400" y="1385"/>
                  </a:lnTo>
                  <a:lnTo>
                    <a:pt x="390" y="1385"/>
                  </a:lnTo>
                  <a:lnTo>
                    <a:pt x="390" y="1405"/>
                  </a:lnTo>
                  <a:lnTo>
                    <a:pt x="390" y="1414"/>
                  </a:lnTo>
                  <a:lnTo>
                    <a:pt x="380" y="1414"/>
                  </a:lnTo>
                  <a:lnTo>
                    <a:pt x="380" y="1434"/>
                  </a:lnTo>
                  <a:lnTo>
                    <a:pt x="370" y="1444"/>
                  </a:lnTo>
                  <a:lnTo>
                    <a:pt x="361" y="1463"/>
                  </a:lnTo>
                  <a:lnTo>
                    <a:pt x="331" y="1463"/>
                  </a:lnTo>
                  <a:lnTo>
                    <a:pt x="341" y="1483"/>
                  </a:lnTo>
                  <a:lnTo>
                    <a:pt x="351" y="1492"/>
                  </a:lnTo>
                  <a:lnTo>
                    <a:pt x="351" y="1502"/>
                  </a:lnTo>
                  <a:lnTo>
                    <a:pt x="341" y="1502"/>
                  </a:lnTo>
                  <a:lnTo>
                    <a:pt x="341" y="1522"/>
                  </a:lnTo>
                  <a:lnTo>
                    <a:pt x="331" y="1541"/>
                  </a:lnTo>
                  <a:lnTo>
                    <a:pt x="322" y="1551"/>
                  </a:lnTo>
                  <a:lnTo>
                    <a:pt x="331" y="1571"/>
                  </a:lnTo>
                  <a:lnTo>
                    <a:pt x="331" y="1590"/>
                  </a:lnTo>
                  <a:close/>
                </a:path>
              </a:pathLst>
            </a:custGeom>
            <a:solidFill>
              <a:srgbClr val="FEE95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8791" name="Freeform 304"/>
            <p:cNvSpPr>
              <a:spLocks noChangeAspect="1"/>
            </p:cNvSpPr>
            <p:nvPr/>
          </p:nvSpPr>
          <p:spPr bwMode="auto">
            <a:xfrm>
              <a:off x="7238" y="2059"/>
              <a:ext cx="1112" cy="1883"/>
            </a:xfrm>
            <a:custGeom>
              <a:avLst/>
              <a:gdLst>
                <a:gd name="T0" fmla="*/ 419 w 1112"/>
                <a:gd name="T1" fmla="*/ 1639 h 1883"/>
                <a:gd name="T2" fmla="*/ 478 w 1112"/>
                <a:gd name="T3" fmla="*/ 1707 h 1883"/>
                <a:gd name="T4" fmla="*/ 565 w 1112"/>
                <a:gd name="T5" fmla="*/ 1678 h 1883"/>
                <a:gd name="T6" fmla="*/ 682 w 1112"/>
                <a:gd name="T7" fmla="*/ 1688 h 1883"/>
                <a:gd name="T8" fmla="*/ 760 w 1112"/>
                <a:gd name="T9" fmla="*/ 1688 h 1883"/>
                <a:gd name="T10" fmla="*/ 790 w 1112"/>
                <a:gd name="T11" fmla="*/ 1756 h 1883"/>
                <a:gd name="T12" fmla="*/ 800 w 1112"/>
                <a:gd name="T13" fmla="*/ 1873 h 1883"/>
                <a:gd name="T14" fmla="*/ 839 w 1112"/>
                <a:gd name="T15" fmla="*/ 1805 h 1883"/>
                <a:gd name="T16" fmla="*/ 917 w 1112"/>
                <a:gd name="T17" fmla="*/ 1795 h 1883"/>
                <a:gd name="T18" fmla="*/ 965 w 1112"/>
                <a:gd name="T19" fmla="*/ 1717 h 1883"/>
                <a:gd name="T20" fmla="*/ 975 w 1112"/>
                <a:gd name="T21" fmla="*/ 1639 h 1883"/>
                <a:gd name="T22" fmla="*/ 1004 w 1112"/>
                <a:gd name="T23" fmla="*/ 1551 h 1883"/>
                <a:gd name="T24" fmla="*/ 1073 w 1112"/>
                <a:gd name="T25" fmla="*/ 1590 h 1883"/>
                <a:gd name="T26" fmla="*/ 1102 w 1112"/>
                <a:gd name="T27" fmla="*/ 1600 h 1883"/>
                <a:gd name="T28" fmla="*/ 1092 w 1112"/>
                <a:gd name="T29" fmla="*/ 1405 h 1883"/>
                <a:gd name="T30" fmla="*/ 1053 w 1112"/>
                <a:gd name="T31" fmla="*/ 1327 h 1883"/>
                <a:gd name="T32" fmla="*/ 975 w 1112"/>
                <a:gd name="T33" fmla="*/ 1229 h 1883"/>
                <a:gd name="T34" fmla="*/ 956 w 1112"/>
                <a:gd name="T35" fmla="*/ 1131 h 1883"/>
                <a:gd name="T36" fmla="*/ 926 w 1112"/>
                <a:gd name="T37" fmla="*/ 1063 h 1883"/>
                <a:gd name="T38" fmla="*/ 878 w 1112"/>
                <a:gd name="T39" fmla="*/ 995 h 1883"/>
                <a:gd name="T40" fmla="*/ 800 w 1112"/>
                <a:gd name="T41" fmla="*/ 956 h 1883"/>
                <a:gd name="T42" fmla="*/ 682 w 1112"/>
                <a:gd name="T43" fmla="*/ 956 h 1883"/>
                <a:gd name="T44" fmla="*/ 673 w 1112"/>
                <a:gd name="T45" fmla="*/ 1014 h 1883"/>
                <a:gd name="T46" fmla="*/ 653 w 1112"/>
                <a:gd name="T47" fmla="*/ 1005 h 1883"/>
                <a:gd name="T48" fmla="*/ 604 w 1112"/>
                <a:gd name="T49" fmla="*/ 1092 h 1883"/>
                <a:gd name="T50" fmla="*/ 575 w 1112"/>
                <a:gd name="T51" fmla="*/ 1034 h 1883"/>
                <a:gd name="T52" fmla="*/ 556 w 1112"/>
                <a:gd name="T53" fmla="*/ 1034 h 1883"/>
                <a:gd name="T54" fmla="*/ 546 w 1112"/>
                <a:gd name="T55" fmla="*/ 1063 h 1883"/>
                <a:gd name="T56" fmla="*/ 487 w 1112"/>
                <a:gd name="T57" fmla="*/ 1024 h 1883"/>
                <a:gd name="T58" fmla="*/ 400 w 1112"/>
                <a:gd name="T59" fmla="*/ 1034 h 1883"/>
                <a:gd name="T60" fmla="*/ 429 w 1112"/>
                <a:gd name="T61" fmla="*/ 927 h 1883"/>
                <a:gd name="T62" fmla="*/ 468 w 1112"/>
                <a:gd name="T63" fmla="*/ 849 h 1883"/>
                <a:gd name="T64" fmla="*/ 478 w 1112"/>
                <a:gd name="T65" fmla="*/ 751 h 1883"/>
                <a:gd name="T66" fmla="*/ 487 w 1112"/>
                <a:gd name="T67" fmla="*/ 634 h 1883"/>
                <a:gd name="T68" fmla="*/ 497 w 1112"/>
                <a:gd name="T69" fmla="*/ 527 h 1883"/>
                <a:gd name="T70" fmla="*/ 517 w 1112"/>
                <a:gd name="T71" fmla="*/ 380 h 1883"/>
                <a:gd name="T72" fmla="*/ 624 w 1112"/>
                <a:gd name="T73" fmla="*/ 263 h 1883"/>
                <a:gd name="T74" fmla="*/ 702 w 1112"/>
                <a:gd name="T75" fmla="*/ 244 h 1883"/>
                <a:gd name="T76" fmla="*/ 673 w 1112"/>
                <a:gd name="T77" fmla="*/ 156 h 1883"/>
                <a:gd name="T78" fmla="*/ 585 w 1112"/>
                <a:gd name="T79" fmla="*/ 175 h 1883"/>
                <a:gd name="T80" fmla="*/ 565 w 1112"/>
                <a:gd name="T81" fmla="*/ 78 h 1883"/>
                <a:gd name="T82" fmla="*/ 400 w 1112"/>
                <a:gd name="T83" fmla="*/ 48 h 1883"/>
                <a:gd name="T84" fmla="*/ 361 w 1112"/>
                <a:gd name="T85" fmla="*/ 87 h 1883"/>
                <a:gd name="T86" fmla="*/ 253 w 1112"/>
                <a:gd name="T87" fmla="*/ 127 h 1883"/>
                <a:gd name="T88" fmla="*/ 205 w 1112"/>
                <a:gd name="T89" fmla="*/ 195 h 1883"/>
                <a:gd name="T90" fmla="*/ 185 w 1112"/>
                <a:gd name="T91" fmla="*/ 361 h 1883"/>
                <a:gd name="T92" fmla="*/ 244 w 1112"/>
                <a:gd name="T93" fmla="*/ 517 h 1883"/>
                <a:gd name="T94" fmla="*/ 146 w 1112"/>
                <a:gd name="T95" fmla="*/ 595 h 1883"/>
                <a:gd name="T96" fmla="*/ 48 w 1112"/>
                <a:gd name="T97" fmla="*/ 653 h 1883"/>
                <a:gd name="T98" fmla="*/ 19 w 1112"/>
                <a:gd name="T99" fmla="*/ 770 h 1883"/>
                <a:gd name="T100" fmla="*/ 29 w 1112"/>
                <a:gd name="T101" fmla="*/ 829 h 1883"/>
                <a:gd name="T102" fmla="*/ 87 w 1112"/>
                <a:gd name="T103" fmla="*/ 946 h 1883"/>
                <a:gd name="T104" fmla="*/ 87 w 1112"/>
                <a:gd name="T105" fmla="*/ 1073 h 1883"/>
                <a:gd name="T106" fmla="*/ 224 w 1112"/>
                <a:gd name="T107" fmla="*/ 1073 h 1883"/>
                <a:gd name="T108" fmla="*/ 185 w 1112"/>
                <a:gd name="T109" fmla="*/ 1151 h 1883"/>
                <a:gd name="T110" fmla="*/ 185 w 1112"/>
                <a:gd name="T111" fmla="*/ 1268 h 1883"/>
                <a:gd name="T112" fmla="*/ 283 w 1112"/>
                <a:gd name="T113" fmla="*/ 1307 h 1883"/>
                <a:gd name="T114" fmla="*/ 380 w 1112"/>
                <a:gd name="T115" fmla="*/ 1219 h 1883"/>
                <a:gd name="T116" fmla="*/ 468 w 1112"/>
                <a:gd name="T117" fmla="*/ 1239 h 1883"/>
                <a:gd name="T118" fmla="*/ 400 w 1112"/>
                <a:gd name="T119" fmla="*/ 1307 h 1883"/>
                <a:gd name="T120" fmla="*/ 390 w 1112"/>
                <a:gd name="T121" fmla="*/ 1405 h 1883"/>
                <a:gd name="T122" fmla="*/ 341 w 1112"/>
                <a:gd name="T123" fmla="*/ 1483 h 1883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12"/>
                <a:gd name="T187" fmla="*/ 0 h 1883"/>
                <a:gd name="T188" fmla="*/ 1112 w 1112"/>
                <a:gd name="T189" fmla="*/ 1883 h 1883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12" h="1883">
                  <a:moveTo>
                    <a:pt x="331" y="1590"/>
                  </a:moveTo>
                  <a:lnTo>
                    <a:pt x="361" y="1590"/>
                  </a:lnTo>
                  <a:lnTo>
                    <a:pt x="361" y="1600"/>
                  </a:lnTo>
                  <a:lnTo>
                    <a:pt x="370" y="1619"/>
                  </a:lnTo>
                  <a:lnTo>
                    <a:pt x="400" y="1610"/>
                  </a:lnTo>
                  <a:lnTo>
                    <a:pt x="419" y="1619"/>
                  </a:lnTo>
                  <a:lnTo>
                    <a:pt x="419" y="1629"/>
                  </a:lnTo>
                  <a:lnTo>
                    <a:pt x="419" y="1639"/>
                  </a:lnTo>
                  <a:lnTo>
                    <a:pt x="439" y="1649"/>
                  </a:lnTo>
                  <a:lnTo>
                    <a:pt x="448" y="1658"/>
                  </a:lnTo>
                  <a:lnTo>
                    <a:pt x="439" y="1678"/>
                  </a:lnTo>
                  <a:lnTo>
                    <a:pt x="448" y="1688"/>
                  </a:lnTo>
                  <a:lnTo>
                    <a:pt x="458" y="1707"/>
                  </a:lnTo>
                  <a:lnTo>
                    <a:pt x="458" y="1727"/>
                  </a:lnTo>
                  <a:lnTo>
                    <a:pt x="478" y="1717"/>
                  </a:lnTo>
                  <a:lnTo>
                    <a:pt x="478" y="1707"/>
                  </a:lnTo>
                  <a:lnTo>
                    <a:pt x="507" y="1697"/>
                  </a:lnTo>
                  <a:lnTo>
                    <a:pt x="507" y="1678"/>
                  </a:lnTo>
                  <a:lnTo>
                    <a:pt x="526" y="1678"/>
                  </a:lnTo>
                  <a:lnTo>
                    <a:pt x="526" y="1688"/>
                  </a:lnTo>
                  <a:lnTo>
                    <a:pt x="536" y="1697"/>
                  </a:lnTo>
                  <a:lnTo>
                    <a:pt x="546" y="1678"/>
                  </a:lnTo>
                  <a:lnTo>
                    <a:pt x="565" y="1678"/>
                  </a:lnTo>
                  <a:lnTo>
                    <a:pt x="575" y="1668"/>
                  </a:lnTo>
                  <a:lnTo>
                    <a:pt x="595" y="1678"/>
                  </a:lnTo>
                  <a:lnTo>
                    <a:pt x="604" y="1678"/>
                  </a:lnTo>
                  <a:lnTo>
                    <a:pt x="614" y="1688"/>
                  </a:lnTo>
                  <a:lnTo>
                    <a:pt x="624" y="1688"/>
                  </a:lnTo>
                  <a:lnTo>
                    <a:pt x="643" y="1688"/>
                  </a:lnTo>
                  <a:lnTo>
                    <a:pt x="673" y="1688"/>
                  </a:lnTo>
                  <a:lnTo>
                    <a:pt x="682" y="1688"/>
                  </a:lnTo>
                  <a:lnTo>
                    <a:pt x="702" y="1678"/>
                  </a:lnTo>
                  <a:lnTo>
                    <a:pt x="702" y="1668"/>
                  </a:lnTo>
                  <a:lnTo>
                    <a:pt x="712" y="1668"/>
                  </a:lnTo>
                  <a:lnTo>
                    <a:pt x="721" y="1668"/>
                  </a:lnTo>
                  <a:lnTo>
                    <a:pt x="741" y="1658"/>
                  </a:lnTo>
                  <a:lnTo>
                    <a:pt x="751" y="1658"/>
                  </a:lnTo>
                  <a:lnTo>
                    <a:pt x="760" y="1668"/>
                  </a:lnTo>
                  <a:lnTo>
                    <a:pt x="760" y="1688"/>
                  </a:lnTo>
                  <a:lnTo>
                    <a:pt x="741" y="1688"/>
                  </a:lnTo>
                  <a:lnTo>
                    <a:pt x="731" y="1688"/>
                  </a:lnTo>
                  <a:lnTo>
                    <a:pt x="731" y="1697"/>
                  </a:lnTo>
                  <a:lnTo>
                    <a:pt x="760" y="1697"/>
                  </a:lnTo>
                  <a:lnTo>
                    <a:pt x="770" y="1727"/>
                  </a:lnTo>
                  <a:lnTo>
                    <a:pt x="780" y="1736"/>
                  </a:lnTo>
                  <a:lnTo>
                    <a:pt x="790" y="1746"/>
                  </a:lnTo>
                  <a:lnTo>
                    <a:pt x="790" y="1756"/>
                  </a:lnTo>
                  <a:lnTo>
                    <a:pt x="790" y="1775"/>
                  </a:lnTo>
                  <a:lnTo>
                    <a:pt x="790" y="1795"/>
                  </a:lnTo>
                  <a:lnTo>
                    <a:pt x="780" y="1805"/>
                  </a:lnTo>
                  <a:lnTo>
                    <a:pt x="780" y="1824"/>
                  </a:lnTo>
                  <a:lnTo>
                    <a:pt x="790" y="1834"/>
                  </a:lnTo>
                  <a:lnTo>
                    <a:pt x="790" y="1853"/>
                  </a:lnTo>
                  <a:lnTo>
                    <a:pt x="800" y="1873"/>
                  </a:lnTo>
                  <a:lnTo>
                    <a:pt x="800" y="1883"/>
                  </a:lnTo>
                  <a:lnTo>
                    <a:pt x="809" y="1863"/>
                  </a:lnTo>
                  <a:lnTo>
                    <a:pt x="829" y="1863"/>
                  </a:lnTo>
                  <a:lnTo>
                    <a:pt x="819" y="1844"/>
                  </a:lnTo>
                  <a:lnTo>
                    <a:pt x="829" y="1834"/>
                  </a:lnTo>
                  <a:lnTo>
                    <a:pt x="819" y="1814"/>
                  </a:lnTo>
                  <a:lnTo>
                    <a:pt x="829" y="1805"/>
                  </a:lnTo>
                  <a:lnTo>
                    <a:pt x="839" y="1805"/>
                  </a:lnTo>
                  <a:lnTo>
                    <a:pt x="848" y="1795"/>
                  </a:lnTo>
                  <a:lnTo>
                    <a:pt x="858" y="1795"/>
                  </a:lnTo>
                  <a:lnTo>
                    <a:pt x="868" y="1805"/>
                  </a:lnTo>
                  <a:lnTo>
                    <a:pt x="878" y="1805"/>
                  </a:lnTo>
                  <a:lnTo>
                    <a:pt x="887" y="1805"/>
                  </a:lnTo>
                  <a:lnTo>
                    <a:pt x="887" y="1795"/>
                  </a:lnTo>
                  <a:lnTo>
                    <a:pt x="897" y="1795"/>
                  </a:lnTo>
                  <a:lnTo>
                    <a:pt x="917" y="1795"/>
                  </a:lnTo>
                  <a:lnTo>
                    <a:pt x="926" y="1785"/>
                  </a:lnTo>
                  <a:lnTo>
                    <a:pt x="946" y="1785"/>
                  </a:lnTo>
                  <a:lnTo>
                    <a:pt x="956" y="1775"/>
                  </a:lnTo>
                  <a:lnTo>
                    <a:pt x="975" y="1775"/>
                  </a:lnTo>
                  <a:lnTo>
                    <a:pt x="975" y="1756"/>
                  </a:lnTo>
                  <a:lnTo>
                    <a:pt x="975" y="1746"/>
                  </a:lnTo>
                  <a:lnTo>
                    <a:pt x="965" y="1727"/>
                  </a:lnTo>
                  <a:lnTo>
                    <a:pt x="965" y="1717"/>
                  </a:lnTo>
                  <a:lnTo>
                    <a:pt x="975" y="1697"/>
                  </a:lnTo>
                  <a:lnTo>
                    <a:pt x="1014" y="1688"/>
                  </a:lnTo>
                  <a:lnTo>
                    <a:pt x="1024" y="1668"/>
                  </a:lnTo>
                  <a:lnTo>
                    <a:pt x="1024" y="1649"/>
                  </a:lnTo>
                  <a:lnTo>
                    <a:pt x="1014" y="1629"/>
                  </a:lnTo>
                  <a:lnTo>
                    <a:pt x="995" y="1629"/>
                  </a:lnTo>
                  <a:lnTo>
                    <a:pt x="975" y="1639"/>
                  </a:lnTo>
                  <a:lnTo>
                    <a:pt x="975" y="1619"/>
                  </a:lnTo>
                  <a:lnTo>
                    <a:pt x="956" y="1619"/>
                  </a:lnTo>
                  <a:lnTo>
                    <a:pt x="946" y="1600"/>
                  </a:lnTo>
                  <a:lnTo>
                    <a:pt x="956" y="1590"/>
                  </a:lnTo>
                  <a:lnTo>
                    <a:pt x="975" y="1561"/>
                  </a:lnTo>
                  <a:lnTo>
                    <a:pt x="975" y="1541"/>
                  </a:lnTo>
                  <a:lnTo>
                    <a:pt x="985" y="1541"/>
                  </a:lnTo>
                  <a:lnTo>
                    <a:pt x="1004" y="1551"/>
                  </a:lnTo>
                  <a:lnTo>
                    <a:pt x="1024" y="1561"/>
                  </a:lnTo>
                  <a:lnTo>
                    <a:pt x="1034" y="1551"/>
                  </a:lnTo>
                  <a:lnTo>
                    <a:pt x="1034" y="1571"/>
                  </a:lnTo>
                  <a:lnTo>
                    <a:pt x="1034" y="1580"/>
                  </a:lnTo>
                  <a:lnTo>
                    <a:pt x="1043" y="1580"/>
                  </a:lnTo>
                  <a:lnTo>
                    <a:pt x="1063" y="1590"/>
                  </a:lnTo>
                  <a:lnTo>
                    <a:pt x="1073" y="1590"/>
                  </a:lnTo>
                  <a:lnTo>
                    <a:pt x="1053" y="1610"/>
                  </a:lnTo>
                  <a:lnTo>
                    <a:pt x="1073" y="1629"/>
                  </a:lnTo>
                  <a:lnTo>
                    <a:pt x="1082" y="1619"/>
                  </a:lnTo>
                  <a:lnTo>
                    <a:pt x="1092" y="1619"/>
                  </a:lnTo>
                  <a:lnTo>
                    <a:pt x="1112" y="1629"/>
                  </a:lnTo>
                  <a:lnTo>
                    <a:pt x="1112" y="1619"/>
                  </a:lnTo>
                  <a:lnTo>
                    <a:pt x="1102" y="1600"/>
                  </a:lnTo>
                  <a:lnTo>
                    <a:pt x="1102" y="1571"/>
                  </a:lnTo>
                  <a:lnTo>
                    <a:pt x="1102" y="1551"/>
                  </a:lnTo>
                  <a:lnTo>
                    <a:pt x="1112" y="1502"/>
                  </a:lnTo>
                  <a:lnTo>
                    <a:pt x="1112" y="1473"/>
                  </a:lnTo>
                  <a:lnTo>
                    <a:pt x="1112" y="1453"/>
                  </a:lnTo>
                  <a:lnTo>
                    <a:pt x="1102" y="1453"/>
                  </a:lnTo>
                  <a:lnTo>
                    <a:pt x="1102" y="1424"/>
                  </a:lnTo>
                  <a:lnTo>
                    <a:pt x="1092" y="1405"/>
                  </a:lnTo>
                  <a:lnTo>
                    <a:pt x="1082" y="1405"/>
                  </a:lnTo>
                  <a:lnTo>
                    <a:pt x="1082" y="1395"/>
                  </a:lnTo>
                  <a:lnTo>
                    <a:pt x="1073" y="1385"/>
                  </a:lnTo>
                  <a:lnTo>
                    <a:pt x="1082" y="1375"/>
                  </a:lnTo>
                  <a:lnTo>
                    <a:pt x="1073" y="1366"/>
                  </a:lnTo>
                  <a:lnTo>
                    <a:pt x="1063" y="1346"/>
                  </a:lnTo>
                  <a:lnTo>
                    <a:pt x="1053" y="1336"/>
                  </a:lnTo>
                  <a:lnTo>
                    <a:pt x="1053" y="1327"/>
                  </a:lnTo>
                  <a:lnTo>
                    <a:pt x="1034" y="1317"/>
                  </a:lnTo>
                  <a:lnTo>
                    <a:pt x="1034" y="1288"/>
                  </a:lnTo>
                  <a:lnTo>
                    <a:pt x="1024" y="1297"/>
                  </a:lnTo>
                  <a:lnTo>
                    <a:pt x="1014" y="1288"/>
                  </a:lnTo>
                  <a:lnTo>
                    <a:pt x="1014" y="1278"/>
                  </a:lnTo>
                  <a:lnTo>
                    <a:pt x="995" y="1258"/>
                  </a:lnTo>
                  <a:lnTo>
                    <a:pt x="995" y="1249"/>
                  </a:lnTo>
                  <a:lnTo>
                    <a:pt x="975" y="1229"/>
                  </a:lnTo>
                  <a:lnTo>
                    <a:pt x="975" y="1210"/>
                  </a:lnTo>
                  <a:lnTo>
                    <a:pt x="975" y="1190"/>
                  </a:lnTo>
                  <a:lnTo>
                    <a:pt x="965" y="1180"/>
                  </a:lnTo>
                  <a:lnTo>
                    <a:pt x="965" y="1170"/>
                  </a:lnTo>
                  <a:lnTo>
                    <a:pt x="965" y="1161"/>
                  </a:lnTo>
                  <a:lnTo>
                    <a:pt x="956" y="1151"/>
                  </a:lnTo>
                  <a:lnTo>
                    <a:pt x="956" y="1131"/>
                  </a:lnTo>
                  <a:lnTo>
                    <a:pt x="956" y="1112"/>
                  </a:lnTo>
                  <a:lnTo>
                    <a:pt x="956" y="1092"/>
                  </a:lnTo>
                  <a:lnTo>
                    <a:pt x="965" y="1092"/>
                  </a:lnTo>
                  <a:lnTo>
                    <a:pt x="956" y="1083"/>
                  </a:lnTo>
                  <a:lnTo>
                    <a:pt x="946" y="1073"/>
                  </a:lnTo>
                  <a:lnTo>
                    <a:pt x="946" y="1063"/>
                  </a:lnTo>
                  <a:lnTo>
                    <a:pt x="926" y="1063"/>
                  </a:lnTo>
                  <a:lnTo>
                    <a:pt x="907" y="1053"/>
                  </a:lnTo>
                  <a:lnTo>
                    <a:pt x="907" y="1034"/>
                  </a:lnTo>
                  <a:lnTo>
                    <a:pt x="897" y="1024"/>
                  </a:lnTo>
                  <a:lnTo>
                    <a:pt x="887" y="1014"/>
                  </a:lnTo>
                  <a:lnTo>
                    <a:pt x="878" y="1005"/>
                  </a:lnTo>
                  <a:lnTo>
                    <a:pt x="868" y="1005"/>
                  </a:lnTo>
                  <a:lnTo>
                    <a:pt x="848" y="1005"/>
                  </a:lnTo>
                  <a:lnTo>
                    <a:pt x="878" y="995"/>
                  </a:lnTo>
                  <a:lnTo>
                    <a:pt x="878" y="975"/>
                  </a:lnTo>
                  <a:lnTo>
                    <a:pt x="868" y="966"/>
                  </a:lnTo>
                  <a:lnTo>
                    <a:pt x="848" y="966"/>
                  </a:lnTo>
                  <a:lnTo>
                    <a:pt x="829" y="966"/>
                  </a:lnTo>
                  <a:lnTo>
                    <a:pt x="829" y="956"/>
                  </a:lnTo>
                  <a:lnTo>
                    <a:pt x="800" y="956"/>
                  </a:lnTo>
                  <a:lnTo>
                    <a:pt x="780" y="956"/>
                  </a:lnTo>
                  <a:lnTo>
                    <a:pt x="770" y="956"/>
                  </a:lnTo>
                  <a:lnTo>
                    <a:pt x="751" y="936"/>
                  </a:lnTo>
                  <a:lnTo>
                    <a:pt x="741" y="936"/>
                  </a:lnTo>
                  <a:lnTo>
                    <a:pt x="721" y="936"/>
                  </a:lnTo>
                  <a:lnTo>
                    <a:pt x="712" y="936"/>
                  </a:lnTo>
                  <a:lnTo>
                    <a:pt x="702" y="927"/>
                  </a:lnTo>
                  <a:lnTo>
                    <a:pt x="682" y="956"/>
                  </a:lnTo>
                  <a:lnTo>
                    <a:pt x="673" y="966"/>
                  </a:lnTo>
                  <a:lnTo>
                    <a:pt x="643" y="966"/>
                  </a:lnTo>
                  <a:lnTo>
                    <a:pt x="653" y="975"/>
                  </a:lnTo>
                  <a:lnTo>
                    <a:pt x="653" y="985"/>
                  </a:lnTo>
                  <a:lnTo>
                    <a:pt x="663" y="995"/>
                  </a:lnTo>
                  <a:lnTo>
                    <a:pt x="673" y="1005"/>
                  </a:lnTo>
                  <a:lnTo>
                    <a:pt x="673" y="1014"/>
                  </a:lnTo>
                  <a:lnTo>
                    <a:pt x="673" y="1024"/>
                  </a:lnTo>
                  <a:lnTo>
                    <a:pt x="682" y="1034"/>
                  </a:lnTo>
                  <a:lnTo>
                    <a:pt x="673" y="1053"/>
                  </a:lnTo>
                  <a:lnTo>
                    <a:pt x="663" y="1044"/>
                  </a:lnTo>
                  <a:lnTo>
                    <a:pt x="663" y="1024"/>
                  </a:lnTo>
                  <a:lnTo>
                    <a:pt x="663" y="1014"/>
                  </a:lnTo>
                  <a:lnTo>
                    <a:pt x="653" y="1005"/>
                  </a:lnTo>
                  <a:lnTo>
                    <a:pt x="643" y="1005"/>
                  </a:lnTo>
                  <a:lnTo>
                    <a:pt x="643" y="1024"/>
                  </a:lnTo>
                  <a:lnTo>
                    <a:pt x="653" y="1034"/>
                  </a:lnTo>
                  <a:lnTo>
                    <a:pt x="643" y="1044"/>
                  </a:lnTo>
                  <a:lnTo>
                    <a:pt x="643" y="1063"/>
                  </a:lnTo>
                  <a:lnTo>
                    <a:pt x="634" y="1073"/>
                  </a:lnTo>
                  <a:lnTo>
                    <a:pt x="624" y="1083"/>
                  </a:lnTo>
                  <a:lnTo>
                    <a:pt x="604" y="1092"/>
                  </a:lnTo>
                  <a:lnTo>
                    <a:pt x="604" y="1073"/>
                  </a:lnTo>
                  <a:lnTo>
                    <a:pt x="614" y="1073"/>
                  </a:lnTo>
                  <a:lnTo>
                    <a:pt x="614" y="1044"/>
                  </a:lnTo>
                  <a:lnTo>
                    <a:pt x="624" y="1034"/>
                  </a:lnTo>
                  <a:lnTo>
                    <a:pt x="604" y="1034"/>
                  </a:lnTo>
                  <a:lnTo>
                    <a:pt x="595" y="1034"/>
                  </a:lnTo>
                  <a:lnTo>
                    <a:pt x="575" y="1034"/>
                  </a:lnTo>
                  <a:lnTo>
                    <a:pt x="585" y="1024"/>
                  </a:lnTo>
                  <a:lnTo>
                    <a:pt x="585" y="1014"/>
                  </a:lnTo>
                  <a:lnTo>
                    <a:pt x="585" y="1005"/>
                  </a:lnTo>
                  <a:lnTo>
                    <a:pt x="575" y="1014"/>
                  </a:lnTo>
                  <a:lnTo>
                    <a:pt x="565" y="1024"/>
                  </a:lnTo>
                  <a:lnTo>
                    <a:pt x="556" y="1034"/>
                  </a:lnTo>
                  <a:lnTo>
                    <a:pt x="575" y="1053"/>
                  </a:lnTo>
                  <a:lnTo>
                    <a:pt x="575" y="1063"/>
                  </a:lnTo>
                  <a:lnTo>
                    <a:pt x="575" y="1073"/>
                  </a:lnTo>
                  <a:lnTo>
                    <a:pt x="565" y="1073"/>
                  </a:lnTo>
                  <a:lnTo>
                    <a:pt x="565" y="1083"/>
                  </a:lnTo>
                  <a:lnTo>
                    <a:pt x="556" y="1083"/>
                  </a:lnTo>
                  <a:lnTo>
                    <a:pt x="546" y="1073"/>
                  </a:lnTo>
                  <a:lnTo>
                    <a:pt x="546" y="1063"/>
                  </a:lnTo>
                  <a:lnTo>
                    <a:pt x="546" y="1053"/>
                  </a:lnTo>
                  <a:lnTo>
                    <a:pt x="536" y="1044"/>
                  </a:lnTo>
                  <a:lnTo>
                    <a:pt x="526" y="1034"/>
                  </a:lnTo>
                  <a:lnTo>
                    <a:pt x="526" y="1014"/>
                  </a:lnTo>
                  <a:lnTo>
                    <a:pt x="517" y="1005"/>
                  </a:lnTo>
                  <a:lnTo>
                    <a:pt x="507" y="1005"/>
                  </a:lnTo>
                  <a:lnTo>
                    <a:pt x="497" y="1005"/>
                  </a:lnTo>
                  <a:lnTo>
                    <a:pt x="487" y="1024"/>
                  </a:lnTo>
                  <a:lnTo>
                    <a:pt x="478" y="1024"/>
                  </a:lnTo>
                  <a:lnTo>
                    <a:pt x="458" y="1044"/>
                  </a:lnTo>
                  <a:lnTo>
                    <a:pt x="439" y="1044"/>
                  </a:lnTo>
                  <a:lnTo>
                    <a:pt x="429" y="1044"/>
                  </a:lnTo>
                  <a:lnTo>
                    <a:pt x="419" y="1044"/>
                  </a:lnTo>
                  <a:lnTo>
                    <a:pt x="409" y="1034"/>
                  </a:lnTo>
                  <a:lnTo>
                    <a:pt x="400" y="1034"/>
                  </a:lnTo>
                  <a:lnTo>
                    <a:pt x="400" y="1014"/>
                  </a:lnTo>
                  <a:lnTo>
                    <a:pt x="409" y="1005"/>
                  </a:lnTo>
                  <a:lnTo>
                    <a:pt x="419" y="995"/>
                  </a:lnTo>
                  <a:lnTo>
                    <a:pt x="429" y="985"/>
                  </a:lnTo>
                  <a:lnTo>
                    <a:pt x="429" y="975"/>
                  </a:lnTo>
                  <a:lnTo>
                    <a:pt x="439" y="956"/>
                  </a:lnTo>
                  <a:lnTo>
                    <a:pt x="429" y="936"/>
                  </a:lnTo>
                  <a:lnTo>
                    <a:pt x="429" y="927"/>
                  </a:lnTo>
                  <a:lnTo>
                    <a:pt x="439" y="917"/>
                  </a:lnTo>
                  <a:lnTo>
                    <a:pt x="439" y="907"/>
                  </a:lnTo>
                  <a:lnTo>
                    <a:pt x="448" y="907"/>
                  </a:lnTo>
                  <a:lnTo>
                    <a:pt x="448" y="897"/>
                  </a:lnTo>
                  <a:lnTo>
                    <a:pt x="448" y="888"/>
                  </a:lnTo>
                  <a:lnTo>
                    <a:pt x="458" y="868"/>
                  </a:lnTo>
                  <a:lnTo>
                    <a:pt x="458" y="858"/>
                  </a:lnTo>
                  <a:lnTo>
                    <a:pt x="468" y="849"/>
                  </a:lnTo>
                  <a:lnTo>
                    <a:pt x="468" y="839"/>
                  </a:lnTo>
                  <a:lnTo>
                    <a:pt x="478" y="829"/>
                  </a:lnTo>
                  <a:lnTo>
                    <a:pt x="478" y="809"/>
                  </a:lnTo>
                  <a:lnTo>
                    <a:pt x="468" y="800"/>
                  </a:lnTo>
                  <a:lnTo>
                    <a:pt x="478" y="790"/>
                  </a:lnTo>
                  <a:lnTo>
                    <a:pt x="478" y="770"/>
                  </a:lnTo>
                  <a:lnTo>
                    <a:pt x="468" y="770"/>
                  </a:lnTo>
                  <a:lnTo>
                    <a:pt x="478" y="751"/>
                  </a:lnTo>
                  <a:lnTo>
                    <a:pt x="478" y="741"/>
                  </a:lnTo>
                  <a:lnTo>
                    <a:pt x="468" y="712"/>
                  </a:lnTo>
                  <a:lnTo>
                    <a:pt x="478" y="702"/>
                  </a:lnTo>
                  <a:lnTo>
                    <a:pt x="478" y="692"/>
                  </a:lnTo>
                  <a:lnTo>
                    <a:pt x="478" y="683"/>
                  </a:lnTo>
                  <a:lnTo>
                    <a:pt x="478" y="673"/>
                  </a:lnTo>
                  <a:lnTo>
                    <a:pt x="487" y="653"/>
                  </a:lnTo>
                  <a:lnTo>
                    <a:pt x="487" y="634"/>
                  </a:lnTo>
                  <a:lnTo>
                    <a:pt x="497" y="634"/>
                  </a:lnTo>
                  <a:lnTo>
                    <a:pt x="497" y="614"/>
                  </a:lnTo>
                  <a:lnTo>
                    <a:pt x="497" y="595"/>
                  </a:lnTo>
                  <a:lnTo>
                    <a:pt x="507" y="585"/>
                  </a:lnTo>
                  <a:lnTo>
                    <a:pt x="517" y="566"/>
                  </a:lnTo>
                  <a:lnTo>
                    <a:pt x="507" y="556"/>
                  </a:lnTo>
                  <a:lnTo>
                    <a:pt x="497" y="546"/>
                  </a:lnTo>
                  <a:lnTo>
                    <a:pt x="497" y="527"/>
                  </a:lnTo>
                  <a:lnTo>
                    <a:pt x="497" y="497"/>
                  </a:lnTo>
                  <a:lnTo>
                    <a:pt x="507" y="488"/>
                  </a:lnTo>
                  <a:lnTo>
                    <a:pt x="517" y="458"/>
                  </a:lnTo>
                  <a:lnTo>
                    <a:pt x="517" y="448"/>
                  </a:lnTo>
                  <a:lnTo>
                    <a:pt x="517" y="439"/>
                  </a:lnTo>
                  <a:lnTo>
                    <a:pt x="507" y="419"/>
                  </a:lnTo>
                  <a:lnTo>
                    <a:pt x="507" y="400"/>
                  </a:lnTo>
                  <a:lnTo>
                    <a:pt x="517" y="380"/>
                  </a:lnTo>
                  <a:lnTo>
                    <a:pt x="526" y="361"/>
                  </a:lnTo>
                  <a:lnTo>
                    <a:pt x="536" y="331"/>
                  </a:lnTo>
                  <a:lnTo>
                    <a:pt x="556" y="331"/>
                  </a:lnTo>
                  <a:lnTo>
                    <a:pt x="565" y="322"/>
                  </a:lnTo>
                  <a:lnTo>
                    <a:pt x="575" y="302"/>
                  </a:lnTo>
                  <a:lnTo>
                    <a:pt x="595" y="292"/>
                  </a:lnTo>
                  <a:lnTo>
                    <a:pt x="614" y="283"/>
                  </a:lnTo>
                  <a:lnTo>
                    <a:pt x="624" y="263"/>
                  </a:lnTo>
                  <a:lnTo>
                    <a:pt x="643" y="253"/>
                  </a:lnTo>
                  <a:lnTo>
                    <a:pt x="653" y="244"/>
                  </a:lnTo>
                  <a:lnTo>
                    <a:pt x="663" y="244"/>
                  </a:lnTo>
                  <a:lnTo>
                    <a:pt x="673" y="253"/>
                  </a:lnTo>
                  <a:lnTo>
                    <a:pt x="692" y="263"/>
                  </a:lnTo>
                  <a:lnTo>
                    <a:pt x="692" y="244"/>
                  </a:lnTo>
                  <a:lnTo>
                    <a:pt x="702" y="244"/>
                  </a:lnTo>
                  <a:lnTo>
                    <a:pt x="682" y="234"/>
                  </a:lnTo>
                  <a:lnTo>
                    <a:pt x="682" y="214"/>
                  </a:lnTo>
                  <a:lnTo>
                    <a:pt x="692" y="214"/>
                  </a:lnTo>
                  <a:lnTo>
                    <a:pt x="702" y="205"/>
                  </a:lnTo>
                  <a:lnTo>
                    <a:pt x="702" y="195"/>
                  </a:lnTo>
                  <a:lnTo>
                    <a:pt x="692" y="175"/>
                  </a:lnTo>
                  <a:lnTo>
                    <a:pt x="682" y="166"/>
                  </a:lnTo>
                  <a:lnTo>
                    <a:pt x="673" y="156"/>
                  </a:lnTo>
                  <a:lnTo>
                    <a:pt x="663" y="156"/>
                  </a:lnTo>
                  <a:lnTo>
                    <a:pt x="643" y="156"/>
                  </a:lnTo>
                  <a:lnTo>
                    <a:pt x="634" y="156"/>
                  </a:lnTo>
                  <a:lnTo>
                    <a:pt x="624" y="146"/>
                  </a:lnTo>
                  <a:lnTo>
                    <a:pt x="614" y="156"/>
                  </a:lnTo>
                  <a:lnTo>
                    <a:pt x="614" y="166"/>
                  </a:lnTo>
                  <a:lnTo>
                    <a:pt x="604" y="166"/>
                  </a:lnTo>
                  <a:lnTo>
                    <a:pt x="585" y="175"/>
                  </a:lnTo>
                  <a:lnTo>
                    <a:pt x="575" y="175"/>
                  </a:lnTo>
                  <a:lnTo>
                    <a:pt x="575" y="156"/>
                  </a:lnTo>
                  <a:lnTo>
                    <a:pt x="565" y="156"/>
                  </a:lnTo>
                  <a:lnTo>
                    <a:pt x="565" y="146"/>
                  </a:lnTo>
                  <a:lnTo>
                    <a:pt x="565" y="117"/>
                  </a:lnTo>
                  <a:lnTo>
                    <a:pt x="575" y="107"/>
                  </a:lnTo>
                  <a:lnTo>
                    <a:pt x="575" y="97"/>
                  </a:lnTo>
                  <a:lnTo>
                    <a:pt x="565" y="78"/>
                  </a:lnTo>
                  <a:lnTo>
                    <a:pt x="575" y="58"/>
                  </a:lnTo>
                  <a:lnTo>
                    <a:pt x="546" y="39"/>
                  </a:lnTo>
                  <a:lnTo>
                    <a:pt x="517" y="19"/>
                  </a:lnTo>
                  <a:lnTo>
                    <a:pt x="458" y="0"/>
                  </a:lnTo>
                  <a:lnTo>
                    <a:pt x="448" y="19"/>
                  </a:lnTo>
                  <a:lnTo>
                    <a:pt x="419" y="19"/>
                  </a:lnTo>
                  <a:lnTo>
                    <a:pt x="409" y="29"/>
                  </a:lnTo>
                  <a:lnTo>
                    <a:pt x="400" y="48"/>
                  </a:lnTo>
                  <a:lnTo>
                    <a:pt x="400" y="58"/>
                  </a:lnTo>
                  <a:lnTo>
                    <a:pt x="400" y="78"/>
                  </a:lnTo>
                  <a:lnTo>
                    <a:pt x="390" y="78"/>
                  </a:lnTo>
                  <a:lnTo>
                    <a:pt x="380" y="78"/>
                  </a:lnTo>
                  <a:lnTo>
                    <a:pt x="370" y="58"/>
                  </a:lnTo>
                  <a:lnTo>
                    <a:pt x="370" y="68"/>
                  </a:lnTo>
                  <a:lnTo>
                    <a:pt x="370" y="78"/>
                  </a:lnTo>
                  <a:lnTo>
                    <a:pt x="361" y="87"/>
                  </a:lnTo>
                  <a:lnTo>
                    <a:pt x="351" y="78"/>
                  </a:lnTo>
                  <a:lnTo>
                    <a:pt x="322" y="87"/>
                  </a:lnTo>
                  <a:lnTo>
                    <a:pt x="341" y="107"/>
                  </a:lnTo>
                  <a:lnTo>
                    <a:pt x="322" y="117"/>
                  </a:lnTo>
                  <a:lnTo>
                    <a:pt x="312" y="127"/>
                  </a:lnTo>
                  <a:lnTo>
                    <a:pt x="292" y="117"/>
                  </a:lnTo>
                  <a:lnTo>
                    <a:pt x="273" y="127"/>
                  </a:lnTo>
                  <a:lnTo>
                    <a:pt x="253" y="127"/>
                  </a:lnTo>
                  <a:lnTo>
                    <a:pt x="234" y="117"/>
                  </a:lnTo>
                  <a:lnTo>
                    <a:pt x="224" y="136"/>
                  </a:lnTo>
                  <a:lnTo>
                    <a:pt x="214" y="127"/>
                  </a:lnTo>
                  <a:lnTo>
                    <a:pt x="205" y="117"/>
                  </a:lnTo>
                  <a:lnTo>
                    <a:pt x="195" y="127"/>
                  </a:lnTo>
                  <a:lnTo>
                    <a:pt x="205" y="136"/>
                  </a:lnTo>
                  <a:lnTo>
                    <a:pt x="195" y="156"/>
                  </a:lnTo>
                  <a:lnTo>
                    <a:pt x="205" y="195"/>
                  </a:lnTo>
                  <a:lnTo>
                    <a:pt x="214" y="205"/>
                  </a:lnTo>
                  <a:lnTo>
                    <a:pt x="214" y="234"/>
                  </a:lnTo>
                  <a:lnTo>
                    <a:pt x="205" y="253"/>
                  </a:lnTo>
                  <a:lnTo>
                    <a:pt x="195" y="273"/>
                  </a:lnTo>
                  <a:lnTo>
                    <a:pt x="195" y="292"/>
                  </a:lnTo>
                  <a:lnTo>
                    <a:pt x="185" y="302"/>
                  </a:lnTo>
                  <a:lnTo>
                    <a:pt x="185" y="331"/>
                  </a:lnTo>
                  <a:lnTo>
                    <a:pt x="185" y="361"/>
                  </a:lnTo>
                  <a:lnTo>
                    <a:pt x="214" y="380"/>
                  </a:lnTo>
                  <a:lnTo>
                    <a:pt x="224" y="419"/>
                  </a:lnTo>
                  <a:lnTo>
                    <a:pt x="234" y="439"/>
                  </a:lnTo>
                  <a:lnTo>
                    <a:pt x="253" y="439"/>
                  </a:lnTo>
                  <a:lnTo>
                    <a:pt x="253" y="458"/>
                  </a:lnTo>
                  <a:lnTo>
                    <a:pt x="253" y="478"/>
                  </a:lnTo>
                  <a:lnTo>
                    <a:pt x="244" y="478"/>
                  </a:lnTo>
                  <a:lnTo>
                    <a:pt x="244" y="517"/>
                  </a:lnTo>
                  <a:lnTo>
                    <a:pt x="234" y="527"/>
                  </a:lnTo>
                  <a:lnTo>
                    <a:pt x="214" y="546"/>
                  </a:lnTo>
                  <a:lnTo>
                    <a:pt x="195" y="546"/>
                  </a:lnTo>
                  <a:lnTo>
                    <a:pt x="185" y="556"/>
                  </a:lnTo>
                  <a:lnTo>
                    <a:pt x="165" y="556"/>
                  </a:lnTo>
                  <a:lnTo>
                    <a:pt x="156" y="556"/>
                  </a:lnTo>
                  <a:lnTo>
                    <a:pt x="146" y="575"/>
                  </a:lnTo>
                  <a:lnTo>
                    <a:pt x="146" y="595"/>
                  </a:lnTo>
                  <a:lnTo>
                    <a:pt x="146" y="614"/>
                  </a:lnTo>
                  <a:lnTo>
                    <a:pt x="136" y="614"/>
                  </a:lnTo>
                  <a:lnTo>
                    <a:pt x="117" y="624"/>
                  </a:lnTo>
                  <a:lnTo>
                    <a:pt x="107" y="624"/>
                  </a:lnTo>
                  <a:lnTo>
                    <a:pt x="97" y="644"/>
                  </a:lnTo>
                  <a:lnTo>
                    <a:pt x="78" y="634"/>
                  </a:lnTo>
                  <a:lnTo>
                    <a:pt x="68" y="653"/>
                  </a:lnTo>
                  <a:lnTo>
                    <a:pt x="48" y="653"/>
                  </a:lnTo>
                  <a:lnTo>
                    <a:pt x="29" y="653"/>
                  </a:lnTo>
                  <a:lnTo>
                    <a:pt x="19" y="683"/>
                  </a:lnTo>
                  <a:lnTo>
                    <a:pt x="29" y="702"/>
                  </a:lnTo>
                  <a:lnTo>
                    <a:pt x="29" y="712"/>
                  </a:lnTo>
                  <a:lnTo>
                    <a:pt x="19" y="712"/>
                  </a:lnTo>
                  <a:lnTo>
                    <a:pt x="29" y="761"/>
                  </a:lnTo>
                  <a:lnTo>
                    <a:pt x="19" y="770"/>
                  </a:lnTo>
                  <a:lnTo>
                    <a:pt x="29" y="790"/>
                  </a:lnTo>
                  <a:lnTo>
                    <a:pt x="29" y="800"/>
                  </a:lnTo>
                  <a:lnTo>
                    <a:pt x="29" y="809"/>
                  </a:lnTo>
                  <a:lnTo>
                    <a:pt x="9" y="809"/>
                  </a:lnTo>
                  <a:lnTo>
                    <a:pt x="0" y="809"/>
                  </a:lnTo>
                  <a:lnTo>
                    <a:pt x="9" y="819"/>
                  </a:lnTo>
                  <a:lnTo>
                    <a:pt x="29" y="829"/>
                  </a:lnTo>
                  <a:lnTo>
                    <a:pt x="39" y="849"/>
                  </a:lnTo>
                  <a:lnTo>
                    <a:pt x="58" y="849"/>
                  </a:lnTo>
                  <a:lnTo>
                    <a:pt x="48" y="868"/>
                  </a:lnTo>
                  <a:lnTo>
                    <a:pt x="39" y="897"/>
                  </a:lnTo>
                  <a:lnTo>
                    <a:pt x="39" y="917"/>
                  </a:lnTo>
                  <a:lnTo>
                    <a:pt x="58" y="917"/>
                  </a:lnTo>
                  <a:lnTo>
                    <a:pt x="78" y="936"/>
                  </a:lnTo>
                  <a:lnTo>
                    <a:pt x="87" y="946"/>
                  </a:lnTo>
                  <a:lnTo>
                    <a:pt x="87" y="956"/>
                  </a:lnTo>
                  <a:lnTo>
                    <a:pt x="78" y="975"/>
                  </a:lnTo>
                  <a:lnTo>
                    <a:pt x="68" y="985"/>
                  </a:lnTo>
                  <a:lnTo>
                    <a:pt x="68" y="1005"/>
                  </a:lnTo>
                  <a:lnTo>
                    <a:pt x="78" y="1014"/>
                  </a:lnTo>
                  <a:lnTo>
                    <a:pt x="68" y="1034"/>
                  </a:lnTo>
                  <a:lnTo>
                    <a:pt x="68" y="1053"/>
                  </a:lnTo>
                  <a:lnTo>
                    <a:pt x="87" y="1073"/>
                  </a:lnTo>
                  <a:lnTo>
                    <a:pt x="146" y="1053"/>
                  </a:lnTo>
                  <a:lnTo>
                    <a:pt x="165" y="1044"/>
                  </a:lnTo>
                  <a:lnTo>
                    <a:pt x="185" y="1034"/>
                  </a:lnTo>
                  <a:lnTo>
                    <a:pt x="205" y="1044"/>
                  </a:lnTo>
                  <a:lnTo>
                    <a:pt x="234" y="1053"/>
                  </a:lnTo>
                  <a:lnTo>
                    <a:pt x="224" y="1063"/>
                  </a:lnTo>
                  <a:lnTo>
                    <a:pt x="214" y="1063"/>
                  </a:lnTo>
                  <a:lnTo>
                    <a:pt x="224" y="1073"/>
                  </a:lnTo>
                  <a:lnTo>
                    <a:pt x="214" y="1073"/>
                  </a:lnTo>
                  <a:lnTo>
                    <a:pt x="214" y="1083"/>
                  </a:lnTo>
                  <a:lnTo>
                    <a:pt x="224" y="1092"/>
                  </a:lnTo>
                  <a:lnTo>
                    <a:pt x="205" y="1102"/>
                  </a:lnTo>
                  <a:lnTo>
                    <a:pt x="195" y="1122"/>
                  </a:lnTo>
                  <a:lnTo>
                    <a:pt x="185" y="1151"/>
                  </a:lnTo>
                  <a:lnTo>
                    <a:pt x="175" y="1170"/>
                  </a:lnTo>
                  <a:lnTo>
                    <a:pt x="165" y="1190"/>
                  </a:lnTo>
                  <a:lnTo>
                    <a:pt x="175" y="1210"/>
                  </a:lnTo>
                  <a:lnTo>
                    <a:pt x="165" y="1229"/>
                  </a:lnTo>
                  <a:lnTo>
                    <a:pt x="156" y="1258"/>
                  </a:lnTo>
                  <a:lnTo>
                    <a:pt x="165" y="1268"/>
                  </a:lnTo>
                  <a:lnTo>
                    <a:pt x="185" y="1268"/>
                  </a:lnTo>
                  <a:lnTo>
                    <a:pt x="195" y="1258"/>
                  </a:lnTo>
                  <a:lnTo>
                    <a:pt x="224" y="1249"/>
                  </a:lnTo>
                  <a:lnTo>
                    <a:pt x="224" y="1268"/>
                  </a:lnTo>
                  <a:lnTo>
                    <a:pt x="234" y="1297"/>
                  </a:lnTo>
                  <a:lnTo>
                    <a:pt x="253" y="1317"/>
                  </a:lnTo>
                  <a:lnTo>
                    <a:pt x="273" y="1307"/>
                  </a:lnTo>
                  <a:lnTo>
                    <a:pt x="283" y="1297"/>
                  </a:lnTo>
                  <a:lnTo>
                    <a:pt x="283" y="1307"/>
                  </a:lnTo>
                  <a:lnTo>
                    <a:pt x="302" y="1307"/>
                  </a:lnTo>
                  <a:lnTo>
                    <a:pt x="302" y="1288"/>
                  </a:lnTo>
                  <a:lnTo>
                    <a:pt x="322" y="1288"/>
                  </a:lnTo>
                  <a:lnTo>
                    <a:pt x="341" y="1268"/>
                  </a:lnTo>
                  <a:lnTo>
                    <a:pt x="341" y="1258"/>
                  </a:lnTo>
                  <a:lnTo>
                    <a:pt x="351" y="1249"/>
                  </a:lnTo>
                  <a:lnTo>
                    <a:pt x="351" y="1229"/>
                  </a:lnTo>
                  <a:lnTo>
                    <a:pt x="380" y="1219"/>
                  </a:lnTo>
                  <a:lnTo>
                    <a:pt x="400" y="1219"/>
                  </a:lnTo>
                  <a:lnTo>
                    <a:pt x="409" y="1210"/>
                  </a:lnTo>
                  <a:lnTo>
                    <a:pt x="419" y="1180"/>
                  </a:lnTo>
                  <a:lnTo>
                    <a:pt x="439" y="1190"/>
                  </a:lnTo>
                  <a:lnTo>
                    <a:pt x="458" y="1200"/>
                  </a:lnTo>
                  <a:lnTo>
                    <a:pt x="458" y="1210"/>
                  </a:lnTo>
                  <a:lnTo>
                    <a:pt x="468" y="1219"/>
                  </a:lnTo>
                  <a:lnTo>
                    <a:pt x="468" y="1239"/>
                  </a:lnTo>
                  <a:lnTo>
                    <a:pt x="478" y="1258"/>
                  </a:lnTo>
                  <a:lnTo>
                    <a:pt x="487" y="1258"/>
                  </a:lnTo>
                  <a:lnTo>
                    <a:pt x="497" y="1278"/>
                  </a:lnTo>
                  <a:lnTo>
                    <a:pt x="497" y="1297"/>
                  </a:lnTo>
                  <a:lnTo>
                    <a:pt x="439" y="1307"/>
                  </a:lnTo>
                  <a:lnTo>
                    <a:pt x="419" y="1317"/>
                  </a:lnTo>
                  <a:lnTo>
                    <a:pt x="409" y="1307"/>
                  </a:lnTo>
                  <a:lnTo>
                    <a:pt x="400" y="1307"/>
                  </a:lnTo>
                  <a:lnTo>
                    <a:pt x="400" y="1317"/>
                  </a:lnTo>
                  <a:lnTo>
                    <a:pt x="419" y="1346"/>
                  </a:lnTo>
                  <a:lnTo>
                    <a:pt x="429" y="1346"/>
                  </a:lnTo>
                  <a:lnTo>
                    <a:pt x="439" y="1366"/>
                  </a:lnTo>
                  <a:lnTo>
                    <a:pt x="419" y="1375"/>
                  </a:lnTo>
                  <a:lnTo>
                    <a:pt x="400" y="1385"/>
                  </a:lnTo>
                  <a:lnTo>
                    <a:pt x="390" y="1385"/>
                  </a:lnTo>
                  <a:lnTo>
                    <a:pt x="390" y="1405"/>
                  </a:lnTo>
                  <a:lnTo>
                    <a:pt x="390" y="1414"/>
                  </a:lnTo>
                  <a:lnTo>
                    <a:pt x="380" y="1414"/>
                  </a:lnTo>
                  <a:lnTo>
                    <a:pt x="380" y="1434"/>
                  </a:lnTo>
                  <a:lnTo>
                    <a:pt x="370" y="1444"/>
                  </a:lnTo>
                  <a:lnTo>
                    <a:pt x="361" y="1463"/>
                  </a:lnTo>
                  <a:lnTo>
                    <a:pt x="331" y="1463"/>
                  </a:lnTo>
                  <a:lnTo>
                    <a:pt x="341" y="1483"/>
                  </a:lnTo>
                  <a:lnTo>
                    <a:pt x="351" y="1492"/>
                  </a:lnTo>
                  <a:lnTo>
                    <a:pt x="351" y="1502"/>
                  </a:lnTo>
                  <a:lnTo>
                    <a:pt x="341" y="1502"/>
                  </a:lnTo>
                  <a:lnTo>
                    <a:pt x="341" y="1522"/>
                  </a:lnTo>
                  <a:lnTo>
                    <a:pt x="331" y="1541"/>
                  </a:lnTo>
                  <a:lnTo>
                    <a:pt x="322" y="1551"/>
                  </a:lnTo>
                  <a:lnTo>
                    <a:pt x="331" y="1571"/>
                  </a:lnTo>
                </a:path>
              </a:pathLst>
            </a:custGeom>
            <a:noFill/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18520" name="Freeform 286"/>
          <p:cNvSpPr>
            <a:spLocks noChangeAspect="1"/>
          </p:cNvSpPr>
          <p:nvPr>
            <p:custDataLst>
              <p:tags r:id="rId86"/>
            </p:custDataLst>
          </p:nvPr>
        </p:nvSpPr>
        <p:spPr bwMode="auto">
          <a:xfrm>
            <a:off x="2678113" y="3740150"/>
            <a:ext cx="344487" cy="238125"/>
          </a:xfrm>
          <a:custGeom>
            <a:avLst/>
            <a:gdLst>
              <a:gd name="T0" fmla="*/ 318500 w 517"/>
              <a:gd name="T1" fmla="*/ 152500 h 381"/>
              <a:gd name="T2" fmla="*/ 299177 w 517"/>
              <a:gd name="T3" fmla="*/ 152500 h 381"/>
              <a:gd name="T4" fmla="*/ 292514 w 517"/>
              <a:gd name="T5" fmla="*/ 176875 h 381"/>
              <a:gd name="T6" fmla="*/ 279854 w 517"/>
              <a:gd name="T7" fmla="*/ 201250 h 381"/>
              <a:gd name="T8" fmla="*/ 279854 w 517"/>
              <a:gd name="T9" fmla="*/ 213750 h 381"/>
              <a:gd name="T10" fmla="*/ 260531 w 517"/>
              <a:gd name="T11" fmla="*/ 225625 h 381"/>
              <a:gd name="T12" fmla="*/ 240541 w 517"/>
              <a:gd name="T13" fmla="*/ 225625 h 381"/>
              <a:gd name="T14" fmla="*/ 240541 w 517"/>
              <a:gd name="T15" fmla="*/ 213750 h 381"/>
              <a:gd name="T16" fmla="*/ 227881 w 517"/>
              <a:gd name="T17" fmla="*/ 201250 h 381"/>
              <a:gd name="T18" fmla="*/ 214555 w 517"/>
              <a:gd name="T19" fmla="*/ 207500 h 381"/>
              <a:gd name="T20" fmla="*/ 201895 w 517"/>
              <a:gd name="T21" fmla="*/ 207500 h 381"/>
              <a:gd name="T22" fmla="*/ 195231 w 517"/>
              <a:gd name="T23" fmla="*/ 195000 h 381"/>
              <a:gd name="T24" fmla="*/ 156585 w 517"/>
              <a:gd name="T25" fmla="*/ 183125 h 381"/>
              <a:gd name="T26" fmla="*/ 156585 w 517"/>
              <a:gd name="T27" fmla="*/ 158750 h 381"/>
              <a:gd name="T28" fmla="*/ 129932 w 517"/>
              <a:gd name="T29" fmla="*/ 165000 h 381"/>
              <a:gd name="T30" fmla="*/ 110609 w 517"/>
              <a:gd name="T31" fmla="*/ 165000 h 381"/>
              <a:gd name="T32" fmla="*/ 97949 w 517"/>
              <a:gd name="T33" fmla="*/ 152500 h 381"/>
              <a:gd name="T34" fmla="*/ 97949 w 517"/>
              <a:gd name="T35" fmla="*/ 128125 h 381"/>
              <a:gd name="T36" fmla="*/ 77959 w 517"/>
              <a:gd name="T37" fmla="*/ 128125 h 381"/>
              <a:gd name="T38" fmla="*/ 39313 w 517"/>
              <a:gd name="T39" fmla="*/ 110000 h 381"/>
              <a:gd name="T40" fmla="*/ 6663 w 517"/>
              <a:gd name="T41" fmla="*/ 67500 h 381"/>
              <a:gd name="T42" fmla="*/ 19990 w 517"/>
              <a:gd name="T43" fmla="*/ 55000 h 381"/>
              <a:gd name="T44" fmla="*/ 39313 w 517"/>
              <a:gd name="T45" fmla="*/ 43125 h 381"/>
              <a:gd name="T46" fmla="*/ 51973 w 517"/>
              <a:gd name="T47" fmla="*/ 30625 h 381"/>
              <a:gd name="T48" fmla="*/ 58636 w 517"/>
              <a:gd name="T49" fmla="*/ 12500 h 381"/>
              <a:gd name="T50" fmla="*/ 65299 w 517"/>
              <a:gd name="T51" fmla="*/ 0 h 381"/>
              <a:gd name="T52" fmla="*/ 84623 w 517"/>
              <a:gd name="T53" fmla="*/ 0 h 381"/>
              <a:gd name="T54" fmla="*/ 97949 w 517"/>
              <a:gd name="T55" fmla="*/ 6250 h 381"/>
              <a:gd name="T56" fmla="*/ 103946 w 517"/>
              <a:gd name="T57" fmla="*/ 6250 h 381"/>
              <a:gd name="T58" fmla="*/ 123935 w 517"/>
              <a:gd name="T59" fmla="*/ 18750 h 381"/>
              <a:gd name="T60" fmla="*/ 136595 w 517"/>
              <a:gd name="T61" fmla="*/ 24375 h 381"/>
              <a:gd name="T62" fmla="*/ 156585 w 517"/>
              <a:gd name="T63" fmla="*/ 30625 h 381"/>
              <a:gd name="T64" fmla="*/ 162582 w 517"/>
              <a:gd name="T65" fmla="*/ 48750 h 381"/>
              <a:gd name="T66" fmla="*/ 195231 w 517"/>
              <a:gd name="T67" fmla="*/ 43125 h 381"/>
              <a:gd name="T68" fmla="*/ 208558 w 517"/>
              <a:gd name="T69" fmla="*/ 43125 h 381"/>
              <a:gd name="T70" fmla="*/ 221218 w 517"/>
              <a:gd name="T71" fmla="*/ 30625 h 381"/>
              <a:gd name="T72" fmla="*/ 234544 w 517"/>
              <a:gd name="T73" fmla="*/ 61250 h 381"/>
              <a:gd name="T74" fmla="*/ 247204 w 517"/>
              <a:gd name="T75" fmla="*/ 67500 h 381"/>
              <a:gd name="T76" fmla="*/ 266528 w 517"/>
              <a:gd name="T77" fmla="*/ 73125 h 381"/>
              <a:gd name="T78" fmla="*/ 305840 w 517"/>
              <a:gd name="T79" fmla="*/ 103750 h 381"/>
              <a:gd name="T80" fmla="*/ 325164 w 517"/>
              <a:gd name="T81" fmla="*/ 103750 h 381"/>
              <a:gd name="T82" fmla="*/ 344487 w 517"/>
              <a:gd name="T83" fmla="*/ 116250 h 381"/>
              <a:gd name="T84" fmla="*/ 338490 w 517"/>
              <a:gd name="T85" fmla="*/ 134375 h 381"/>
              <a:gd name="T86" fmla="*/ 312504 w 517"/>
              <a:gd name="T87" fmla="*/ 146250 h 381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517"/>
              <a:gd name="T133" fmla="*/ 0 h 381"/>
              <a:gd name="T134" fmla="*/ 517 w 517"/>
              <a:gd name="T135" fmla="*/ 381 h 381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517" h="381">
                <a:moveTo>
                  <a:pt x="469" y="234"/>
                </a:moveTo>
                <a:lnTo>
                  <a:pt x="478" y="244"/>
                </a:lnTo>
                <a:lnTo>
                  <a:pt x="469" y="244"/>
                </a:lnTo>
                <a:lnTo>
                  <a:pt x="449" y="244"/>
                </a:lnTo>
                <a:lnTo>
                  <a:pt x="449" y="264"/>
                </a:lnTo>
                <a:lnTo>
                  <a:pt x="439" y="283"/>
                </a:lnTo>
                <a:lnTo>
                  <a:pt x="420" y="303"/>
                </a:lnTo>
                <a:lnTo>
                  <a:pt x="420" y="322"/>
                </a:lnTo>
                <a:lnTo>
                  <a:pt x="430" y="332"/>
                </a:lnTo>
                <a:lnTo>
                  <a:pt x="420" y="342"/>
                </a:lnTo>
                <a:lnTo>
                  <a:pt x="410" y="342"/>
                </a:lnTo>
                <a:lnTo>
                  <a:pt x="391" y="361"/>
                </a:lnTo>
                <a:lnTo>
                  <a:pt x="361" y="381"/>
                </a:lnTo>
                <a:lnTo>
                  <a:pt x="361" y="361"/>
                </a:lnTo>
                <a:lnTo>
                  <a:pt x="361" y="351"/>
                </a:lnTo>
                <a:lnTo>
                  <a:pt x="361" y="342"/>
                </a:lnTo>
                <a:lnTo>
                  <a:pt x="352" y="342"/>
                </a:lnTo>
                <a:lnTo>
                  <a:pt x="342" y="322"/>
                </a:lnTo>
                <a:lnTo>
                  <a:pt x="332" y="322"/>
                </a:lnTo>
                <a:lnTo>
                  <a:pt x="322" y="332"/>
                </a:lnTo>
                <a:lnTo>
                  <a:pt x="303" y="332"/>
                </a:lnTo>
                <a:lnTo>
                  <a:pt x="293" y="332"/>
                </a:lnTo>
                <a:lnTo>
                  <a:pt x="293" y="312"/>
                </a:lnTo>
                <a:lnTo>
                  <a:pt x="274" y="303"/>
                </a:lnTo>
                <a:lnTo>
                  <a:pt x="235" y="293"/>
                </a:lnTo>
                <a:lnTo>
                  <a:pt x="235" y="273"/>
                </a:lnTo>
                <a:lnTo>
                  <a:pt x="235" y="254"/>
                </a:lnTo>
                <a:lnTo>
                  <a:pt x="215" y="254"/>
                </a:lnTo>
                <a:lnTo>
                  <a:pt x="195" y="264"/>
                </a:lnTo>
                <a:lnTo>
                  <a:pt x="176" y="254"/>
                </a:lnTo>
                <a:lnTo>
                  <a:pt x="166" y="264"/>
                </a:lnTo>
                <a:lnTo>
                  <a:pt x="156" y="254"/>
                </a:lnTo>
                <a:lnTo>
                  <a:pt x="147" y="244"/>
                </a:lnTo>
                <a:lnTo>
                  <a:pt x="147" y="225"/>
                </a:lnTo>
                <a:lnTo>
                  <a:pt x="147" y="205"/>
                </a:lnTo>
                <a:lnTo>
                  <a:pt x="147" y="195"/>
                </a:lnTo>
                <a:lnTo>
                  <a:pt x="117" y="205"/>
                </a:lnTo>
                <a:lnTo>
                  <a:pt x="88" y="195"/>
                </a:lnTo>
                <a:lnTo>
                  <a:pt x="59" y="176"/>
                </a:lnTo>
                <a:lnTo>
                  <a:pt x="30" y="147"/>
                </a:lnTo>
                <a:lnTo>
                  <a:pt x="10" y="108"/>
                </a:lnTo>
                <a:lnTo>
                  <a:pt x="0" y="98"/>
                </a:lnTo>
                <a:lnTo>
                  <a:pt x="30" y="88"/>
                </a:lnTo>
                <a:lnTo>
                  <a:pt x="49" y="78"/>
                </a:lnTo>
                <a:lnTo>
                  <a:pt x="59" y="69"/>
                </a:lnTo>
                <a:lnTo>
                  <a:pt x="69" y="49"/>
                </a:lnTo>
                <a:lnTo>
                  <a:pt x="78" y="49"/>
                </a:lnTo>
                <a:lnTo>
                  <a:pt x="88" y="30"/>
                </a:lnTo>
                <a:lnTo>
                  <a:pt x="88" y="20"/>
                </a:lnTo>
                <a:lnTo>
                  <a:pt x="88" y="10"/>
                </a:lnTo>
                <a:lnTo>
                  <a:pt x="98" y="0"/>
                </a:lnTo>
                <a:lnTo>
                  <a:pt x="108" y="0"/>
                </a:lnTo>
                <a:lnTo>
                  <a:pt x="127" y="0"/>
                </a:lnTo>
                <a:lnTo>
                  <a:pt x="137" y="0"/>
                </a:lnTo>
                <a:lnTo>
                  <a:pt x="147" y="10"/>
                </a:lnTo>
                <a:lnTo>
                  <a:pt x="147" y="20"/>
                </a:lnTo>
                <a:lnTo>
                  <a:pt x="156" y="10"/>
                </a:lnTo>
                <a:lnTo>
                  <a:pt x="166" y="10"/>
                </a:lnTo>
                <a:lnTo>
                  <a:pt x="186" y="30"/>
                </a:lnTo>
                <a:lnTo>
                  <a:pt x="205" y="30"/>
                </a:lnTo>
                <a:lnTo>
                  <a:pt x="205" y="39"/>
                </a:lnTo>
                <a:lnTo>
                  <a:pt x="205" y="49"/>
                </a:lnTo>
                <a:lnTo>
                  <a:pt x="235" y="49"/>
                </a:lnTo>
                <a:lnTo>
                  <a:pt x="244" y="59"/>
                </a:lnTo>
                <a:lnTo>
                  <a:pt x="244" y="78"/>
                </a:lnTo>
                <a:lnTo>
                  <a:pt x="264" y="69"/>
                </a:lnTo>
                <a:lnTo>
                  <a:pt x="293" y="69"/>
                </a:lnTo>
                <a:lnTo>
                  <a:pt x="313" y="69"/>
                </a:lnTo>
                <a:lnTo>
                  <a:pt x="322" y="59"/>
                </a:lnTo>
                <a:lnTo>
                  <a:pt x="332" y="49"/>
                </a:lnTo>
                <a:lnTo>
                  <a:pt x="342" y="59"/>
                </a:lnTo>
                <a:lnTo>
                  <a:pt x="352" y="98"/>
                </a:lnTo>
                <a:lnTo>
                  <a:pt x="361" y="108"/>
                </a:lnTo>
                <a:lnTo>
                  <a:pt x="371" y="108"/>
                </a:lnTo>
                <a:lnTo>
                  <a:pt x="391" y="117"/>
                </a:lnTo>
                <a:lnTo>
                  <a:pt x="400" y="117"/>
                </a:lnTo>
                <a:lnTo>
                  <a:pt x="430" y="147"/>
                </a:lnTo>
                <a:lnTo>
                  <a:pt x="459" y="166"/>
                </a:lnTo>
                <a:lnTo>
                  <a:pt x="469" y="166"/>
                </a:lnTo>
                <a:lnTo>
                  <a:pt x="488" y="166"/>
                </a:lnTo>
                <a:lnTo>
                  <a:pt x="498" y="166"/>
                </a:lnTo>
                <a:lnTo>
                  <a:pt x="517" y="186"/>
                </a:lnTo>
                <a:lnTo>
                  <a:pt x="508" y="205"/>
                </a:lnTo>
                <a:lnTo>
                  <a:pt x="508" y="215"/>
                </a:lnTo>
                <a:lnTo>
                  <a:pt x="488" y="225"/>
                </a:lnTo>
                <a:lnTo>
                  <a:pt x="469" y="234"/>
                </a:lnTo>
                <a:close/>
              </a:path>
            </a:pathLst>
          </a:custGeom>
          <a:solidFill>
            <a:srgbClr val="CCECFF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521" name="Freeform 285"/>
          <p:cNvSpPr>
            <a:spLocks noChangeAspect="1"/>
          </p:cNvSpPr>
          <p:nvPr>
            <p:custDataLst>
              <p:tags r:id="rId87"/>
            </p:custDataLst>
          </p:nvPr>
        </p:nvSpPr>
        <p:spPr bwMode="auto">
          <a:xfrm>
            <a:off x="5407025" y="3413125"/>
            <a:ext cx="1465263" cy="1473200"/>
          </a:xfrm>
          <a:custGeom>
            <a:avLst/>
            <a:gdLst>
              <a:gd name="T0" fmla="*/ 586105 w 2195"/>
              <a:gd name="T1" fmla="*/ 1358252 h 2371"/>
              <a:gd name="T2" fmla="*/ 508002 w 2195"/>
              <a:gd name="T3" fmla="*/ 1303574 h 2371"/>
              <a:gd name="T4" fmla="*/ 410541 w 2195"/>
              <a:gd name="T5" fmla="*/ 1279342 h 2371"/>
              <a:gd name="T6" fmla="*/ 325762 w 2195"/>
              <a:gd name="T7" fmla="*/ 1358252 h 2371"/>
              <a:gd name="T8" fmla="*/ 202266 w 2195"/>
              <a:gd name="T9" fmla="*/ 1370057 h 2371"/>
              <a:gd name="T10" fmla="*/ 195591 w 2195"/>
              <a:gd name="T11" fmla="*/ 1237090 h 2371"/>
              <a:gd name="T12" fmla="*/ 169557 w 2195"/>
              <a:gd name="T13" fmla="*/ 1145753 h 2371"/>
              <a:gd name="T14" fmla="*/ 124164 w 2195"/>
              <a:gd name="T15" fmla="*/ 1048824 h 2371"/>
              <a:gd name="T16" fmla="*/ 20026 w 2195"/>
              <a:gd name="T17" fmla="*/ 1024592 h 2371"/>
              <a:gd name="T18" fmla="*/ 26034 w 2195"/>
              <a:gd name="T19" fmla="*/ 879198 h 2371"/>
              <a:gd name="T20" fmla="*/ 20026 w 2195"/>
              <a:gd name="T21" fmla="*/ 715785 h 2371"/>
              <a:gd name="T22" fmla="*/ 84778 w 2195"/>
              <a:gd name="T23" fmla="*/ 630661 h 2371"/>
              <a:gd name="T24" fmla="*/ 130839 w 2195"/>
              <a:gd name="T25" fmla="*/ 521305 h 2371"/>
              <a:gd name="T26" fmla="*/ 78103 w 2195"/>
              <a:gd name="T27" fmla="*/ 375911 h 2371"/>
              <a:gd name="T28" fmla="*/ 136847 w 2195"/>
              <a:gd name="T29" fmla="*/ 370319 h 2371"/>
              <a:gd name="T30" fmla="*/ 202266 w 2195"/>
              <a:gd name="T31" fmla="*/ 351679 h 2371"/>
              <a:gd name="T32" fmla="*/ 345121 w 2195"/>
              <a:gd name="T33" fmla="*/ 364106 h 2371"/>
              <a:gd name="T34" fmla="*/ 365148 w 2195"/>
              <a:gd name="T35" fmla="*/ 303214 h 2371"/>
              <a:gd name="T36" fmla="*/ 436575 w 2195"/>
              <a:gd name="T37" fmla="*/ 297001 h 2371"/>
              <a:gd name="T38" fmla="*/ 501994 w 2195"/>
              <a:gd name="T39" fmla="*/ 303214 h 2371"/>
              <a:gd name="T40" fmla="*/ 521353 w 2195"/>
              <a:gd name="T41" fmla="*/ 333660 h 2371"/>
              <a:gd name="T42" fmla="*/ 501994 w 2195"/>
              <a:gd name="T43" fmla="*/ 357893 h 2371"/>
              <a:gd name="T44" fmla="*/ 540712 w 2195"/>
              <a:gd name="T45" fmla="*/ 370319 h 2371"/>
              <a:gd name="T46" fmla="*/ 580097 w 2195"/>
              <a:gd name="T47" fmla="*/ 418784 h 2371"/>
              <a:gd name="T48" fmla="*/ 632166 w 2195"/>
              <a:gd name="T49" fmla="*/ 418784 h 2371"/>
              <a:gd name="T50" fmla="*/ 664208 w 2195"/>
              <a:gd name="T51" fmla="*/ 357893 h 2371"/>
              <a:gd name="T52" fmla="*/ 755662 w 2195"/>
              <a:gd name="T53" fmla="*/ 321233 h 2371"/>
              <a:gd name="T54" fmla="*/ 755662 w 2195"/>
              <a:gd name="T55" fmla="*/ 315641 h 2371"/>
              <a:gd name="T56" fmla="*/ 794379 w 2195"/>
              <a:gd name="T57" fmla="*/ 272769 h 2371"/>
              <a:gd name="T58" fmla="*/ 748986 w 2195"/>
              <a:gd name="T59" fmla="*/ 248536 h 2371"/>
              <a:gd name="T60" fmla="*/ 748986 w 2195"/>
              <a:gd name="T61" fmla="*/ 188266 h 2371"/>
              <a:gd name="T62" fmla="*/ 859799 w 2195"/>
              <a:gd name="T63" fmla="*/ 157821 h 2371"/>
              <a:gd name="T64" fmla="*/ 899184 w 2195"/>
              <a:gd name="T65" fmla="*/ 164034 h 2371"/>
              <a:gd name="T66" fmla="*/ 879158 w 2195"/>
              <a:gd name="T67" fmla="*/ 188266 h 2371"/>
              <a:gd name="T68" fmla="*/ 977287 w 2195"/>
              <a:gd name="T69" fmla="*/ 109356 h 2371"/>
              <a:gd name="T70" fmla="*/ 1009329 w 2195"/>
              <a:gd name="T71" fmla="*/ 121783 h 2371"/>
              <a:gd name="T72" fmla="*/ 1094107 w 2195"/>
              <a:gd name="T73" fmla="*/ 109356 h 2371"/>
              <a:gd name="T74" fmla="*/ 1237630 w 2195"/>
              <a:gd name="T75" fmla="*/ 18640 h 2371"/>
              <a:gd name="T76" fmla="*/ 1322408 w 2195"/>
              <a:gd name="T77" fmla="*/ 36659 h 2371"/>
              <a:gd name="T78" fmla="*/ 1380485 w 2195"/>
              <a:gd name="T79" fmla="*/ 30446 h 2371"/>
              <a:gd name="T80" fmla="*/ 1354450 w 2195"/>
              <a:gd name="T81" fmla="*/ 146015 h 2371"/>
              <a:gd name="T82" fmla="*/ 1458588 w 2195"/>
              <a:gd name="T83" fmla="*/ 230518 h 2371"/>
              <a:gd name="T84" fmla="*/ 1380485 w 2195"/>
              <a:gd name="T85" fmla="*/ 321233 h 2371"/>
              <a:gd name="T86" fmla="*/ 1400511 w 2195"/>
              <a:gd name="T87" fmla="*/ 418784 h 2371"/>
              <a:gd name="T88" fmla="*/ 1380485 w 2195"/>
              <a:gd name="T89" fmla="*/ 509500 h 2371"/>
              <a:gd name="T90" fmla="*/ 1341767 w 2195"/>
              <a:gd name="T91" fmla="*/ 539945 h 2371"/>
              <a:gd name="T92" fmla="*/ 1302382 w 2195"/>
              <a:gd name="T93" fmla="*/ 606429 h 2371"/>
              <a:gd name="T94" fmla="*/ 1348442 w 2195"/>
              <a:gd name="T95" fmla="*/ 740017 h 2371"/>
              <a:gd name="T96" fmla="*/ 1302382 w 2195"/>
              <a:gd name="T97" fmla="*/ 788482 h 2371"/>
              <a:gd name="T98" fmla="*/ 1218271 w 2195"/>
              <a:gd name="T99" fmla="*/ 836947 h 2371"/>
              <a:gd name="T100" fmla="*/ 1250313 w 2195"/>
              <a:gd name="T101" fmla="*/ 988554 h 2371"/>
              <a:gd name="T102" fmla="*/ 1178886 w 2195"/>
              <a:gd name="T103" fmla="*/ 1085483 h 2371"/>
              <a:gd name="T104" fmla="*/ 1100783 w 2195"/>
              <a:gd name="T105" fmla="*/ 1151966 h 2371"/>
              <a:gd name="T106" fmla="*/ 1100783 w 2195"/>
              <a:gd name="T107" fmla="*/ 1230877 h 2371"/>
              <a:gd name="T108" fmla="*/ 1133493 w 2195"/>
              <a:gd name="T109" fmla="*/ 1340233 h 2371"/>
              <a:gd name="T110" fmla="*/ 1022680 w 2195"/>
              <a:gd name="T111" fmla="*/ 1442754 h 2371"/>
              <a:gd name="T112" fmla="*/ 937902 w 2195"/>
              <a:gd name="T113" fmla="*/ 1455181 h 2371"/>
              <a:gd name="T114" fmla="*/ 788372 w 2195"/>
              <a:gd name="T115" fmla="*/ 1448968 h 2371"/>
              <a:gd name="T116" fmla="*/ 664208 w 2195"/>
              <a:gd name="T117" fmla="*/ 1461395 h 237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2195"/>
              <a:gd name="T178" fmla="*/ 0 h 2371"/>
              <a:gd name="T179" fmla="*/ 2195 w 2195"/>
              <a:gd name="T180" fmla="*/ 2371 h 2371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2195" h="2371">
                <a:moveTo>
                  <a:pt x="937" y="2283"/>
                </a:moveTo>
                <a:lnTo>
                  <a:pt x="917" y="2303"/>
                </a:lnTo>
                <a:lnTo>
                  <a:pt x="908" y="2293"/>
                </a:lnTo>
                <a:lnTo>
                  <a:pt x="917" y="2283"/>
                </a:lnTo>
                <a:lnTo>
                  <a:pt x="917" y="2274"/>
                </a:lnTo>
                <a:lnTo>
                  <a:pt x="908" y="2274"/>
                </a:lnTo>
                <a:lnTo>
                  <a:pt x="908" y="2264"/>
                </a:lnTo>
                <a:lnTo>
                  <a:pt x="908" y="2244"/>
                </a:lnTo>
                <a:lnTo>
                  <a:pt x="898" y="2225"/>
                </a:lnTo>
                <a:lnTo>
                  <a:pt x="888" y="2205"/>
                </a:lnTo>
                <a:lnTo>
                  <a:pt x="888" y="2196"/>
                </a:lnTo>
                <a:lnTo>
                  <a:pt x="878" y="2186"/>
                </a:lnTo>
                <a:lnTo>
                  <a:pt x="859" y="2186"/>
                </a:lnTo>
                <a:lnTo>
                  <a:pt x="859" y="2166"/>
                </a:lnTo>
                <a:lnTo>
                  <a:pt x="859" y="2147"/>
                </a:lnTo>
                <a:lnTo>
                  <a:pt x="859" y="2127"/>
                </a:lnTo>
                <a:lnTo>
                  <a:pt x="839" y="2127"/>
                </a:lnTo>
                <a:lnTo>
                  <a:pt x="839" y="2108"/>
                </a:lnTo>
                <a:lnTo>
                  <a:pt x="830" y="2098"/>
                </a:lnTo>
                <a:lnTo>
                  <a:pt x="820" y="2108"/>
                </a:lnTo>
                <a:lnTo>
                  <a:pt x="791" y="2088"/>
                </a:lnTo>
                <a:lnTo>
                  <a:pt x="791" y="2098"/>
                </a:lnTo>
                <a:lnTo>
                  <a:pt x="781" y="2108"/>
                </a:lnTo>
                <a:lnTo>
                  <a:pt x="761" y="2098"/>
                </a:lnTo>
                <a:lnTo>
                  <a:pt x="761" y="2108"/>
                </a:lnTo>
                <a:lnTo>
                  <a:pt x="742" y="2118"/>
                </a:lnTo>
                <a:lnTo>
                  <a:pt x="732" y="2098"/>
                </a:lnTo>
                <a:lnTo>
                  <a:pt x="732" y="2079"/>
                </a:lnTo>
                <a:lnTo>
                  <a:pt x="732" y="2059"/>
                </a:lnTo>
                <a:lnTo>
                  <a:pt x="732" y="2049"/>
                </a:lnTo>
                <a:lnTo>
                  <a:pt x="703" y="2030"/>
                </a:lnTo>
                <a:lnTo>
                  <a:pt x="683" y="2030"/>
                </a:lnTo>
                <a:lnTo>
                  <a:pt x="644" y="2020"/>
                </a:lnTo>
                <a:lnTo>
                  <a:pt x="615" y="2040"/>
                </a:lnTo>
                <a:lnTo>
                  <a:pt x="615" y="2059"/>
                </a:lnTo>
                <a:lnTo>
                  <a:pt x="595" y="2079"/>
                </a:lnTo>
                <a:lnTo>
                  <a:pt x="586" y="2127"/>
                </a:lnTo>
                <a:lnTo>
                  <a:pt x="556" y="2157"/>
                </a:lnTo>
                <a:lnTo>
                  <a:pt x="547" y="2166"/>
                </a:lnTo>
                <a:lnTo>
                  <a:pt x="547" y="2205"/>
                </a:lnTo>
                <a:lnTo>
                  <a:pt x="527" y="2215"/>
                </a:lnTo>
                <a:lnTo>
                  <a:pt x="517" y="2225"/>
                </a:lnTo>
                <a:lnTo>
                  <a:pt x="508" y="2244"/>
                </a:lnTo>
                <a:lnTo>
                  <a:pt x="498" y="2225"/>
                </a:lnTo>
                <a:lnTo>
                  <a:pt x="498" y="2215"/>
                </a:lnTo>
                <a:lnTo>
                  <a:pt x="498" y="2186"/>
                </a:lnTo>
                <a:lnTo>
                  <a:pt x="488" y="2186"/>
                </a:lnTo>
                <a:lnTo>
                  <a:pt x="478" y="2166"/>
                </a:lnTo>
                <a:lnTo>
                  <a:pt x="459" y="2196"/>
                </a:lnTo>
                <a:lnTo>
                  <a:pt x="439" y="2215"/>
                </a:lnTo>
                <a:lnTo>
                  <a:pt x="420" y="2225"/>
                </a:lnTo>
                <a:lnTo>
                  <a:pt x="400" y="2225"/>
                </a:lnTo>
                <a:lnTo>
                  <a:pt x="381" y="2225"/>
                </a:lnTo>
                <a:lnTo>
                  <a:pt x="371" y="2244"/>
                </a:lnTo>
                <a:lnTo>
                  <a:pt x="361" y="2254"/>
                </a:lnTo>
                <a:lnTo>
                  <a:pt x="332" y="2254"/>
                </a:lnTo>
                <a:lnTo>
                  <a:pt x="313" y="2235"/>
                </a:lnTo>
                <a:lnTo>
                  <a:pt x="303" y="2225"/>
                </a:lnTo>
                <a:lnTo>
                  <a:pt x="303" y="2205"/>
                </a:lnTo>
                <a:lnTo>
                  <a:pt x="313" y="2176"/>
                </a:lnTo>
                <a:lnTo>
                  <a:pt x="313" y="2127"/>
                </a:lnTo>
                <a:lnTo>
                  <a:pt x="322" y="2069"/>
                </a:lnTo>
                <a:lnTo>
                  <a:pt x="332" y="2069"/>
                </a:lnTo>
                <a:lnTo>
                  <a:pt x="332" y="2059"/>
                </a:lnTo>
                <a:lnTo>
                  <a:pt x="332" y="2049"/>
                </a:lnTo>
                <a:lnTo>
                  <a:pt x="332" y="2040"/>
                </a:lnTo>
                <a:lnTo>
                  <a:pt x="342" y="2030"/>
                </a:lnTo>
                <a:lnTo>
                  <a:pt x="342" y="2020"/>
                </a:lnTo>
                <a:lnTo>
                  <a:pt x="332" y="2010"/>
                </a:lnTo>
                <a:lnTo>
                  <a:pt x="303" y="2001"/>
                </a:lnTo>
                <a:lnTo>
                  <a:pt x="293" y="1991"/>
                </a:lnTo>
                <a:lnTo>
                  <a:pt x="293" y="1971"/>
                </a:lnTo>
                <a:lnTo>
                  <a:pt x="293" y="1961"/>
                </a:lnTo>
                <a:lnTo>
                  <a:pt x="283" y="1961"/>
                </a:lnTo>
                <a:lnTo>
                  <a:pt x="283" y="1952"/>
                </a:lnTo>
                <a:lnTo>
                  <a:pt x="283" y="1932"/>
                </a:lnTo>
                <a:lnTo>
                  <a:pt x="283" y="1922"/>
                </a:lnTo>
                <a:lnTo>
                  <a:pt x="283" y="1874"/>
                </a:lnTo>
                <a:lnTo>
                  <a:pt x="274" y="1874"/>
                </a:lnTo>
                <a:lnTo>
                  <a:pt x="254" y="1874"/>
                </a:lnTo>
                <a:lnTo>
                  <a:pt x="244" y="1854"/>
                </a:lnTo>
                <a:lnTo>
                  <a:pt x="254" y="1844"/>
                </a:lnTo>
                <a:lnTo>
                  <a:pt x="264" y="1825"/>
                </a:lnTo>
                <a:lnTo>
                  <a:pt x="244" y="1786"/>
                </a:lnTo>
                <a:lnTo>
                  <a:pt x="225" y="1766"/>
                </a:lnTo>
                <a:lnTo>
                  <a:pt x="215" y="1757"/>
                </a:lnTo>
                <a:lnTo>
                  <a:pt x="186" y="1757"/>
                </a:lnTo>
                <a:lnTo>
                  <a:pt x="166" y="1747"/>
                </a:lnTo>
                <a:lnTo>
                  <a:pt x="166" y="1737"/>
                </a:lnTo>
                <a:lnTo>
                  <a:pt x="176" y="1727"/>
                </a:lnTo>
                <a:lnTo>
                  <a:pt x="186" y="1718"/>
                </a:lnTo>
                <a:lnTo>
                  <a:pt x="196" y="1718"/>
                </a:lnTo>
                <a:lnTo>
                  <a:pt x="196" y="1708"/>
                </a:lnTo>
                <a:lnTo>
                  <a:pt x="186" y="1688"/>
                </a:lnTo>
                <a:lnTo>
                  <a:pt x="176" y="1669"/>
                </a:lnTo>
                <a:lnTo>
                  <a:pt x="166" y="1669"/>
                </a:lnTo>
                <a:lnTo>
                  <a:pt x="166" y="1679"/>
                </a:lnTo>
                <a:lnTo>
                  <a:pt x="127" y="1669"/>
                </a:lnTo>
                <a:lnTo>
                  <a:pt x="117" y="1679"/>
                </a:lnTo>
                <a:lnTo>
                  <a:pt x="88" y="1669"/>
                </a:lnTo>
                <a:lnTo>
                  <a:pt x="78" y="1659"/>
                </a:lnTo>
                <a:lnTo>
                  <a:pt x="69" y="1659"/>
                </a:lnTo>
                <a:lnTo>
                  <a:pt x="69" y="1669"/>
                </a:lnTo>
                <a:lnTo>
                  <a:pt x="49" y="1659"/>
                </a:lnTo>
                <a:lnTo>
                  <a:pt x="30" y="1659"/>
                </a:lnTo>
                <a:lnTo>
                  <a:pt x="30" y="1649"/>
                </a:lnTo>
                <a:lnTo>
                  <a:pt x="39" y="1620"/>
                </a:lnTo>
                <a:lnTo>
                  <a:pt x="39" y="1591"/>
                </a:lnTo>
                <a:lnTo>
                  <a:pt x="59" y="1571"/>
                </a:lnTo>
                <a:lnTo>
                  <a:pt x="78" y="1552"/>
                </a:lnTo>
                <a:lnTo>
                  <a:pt x="78" y="1542"/>
                </a:lnTo>
                <a:lnTo>
                  <a:pt x="69" y="1532"/>
                </a:lnTo>
                <a:lnTo>
                  <a:pt x="59" y="1513"/>
                </a:lnTo>
                <a:lnTo>
                  <a:pt x="59" y="1483"/>
                </a:lnTo>
                <a:lnTo>
                  <a:pt x="49" y="1464"/>
                </a:lnTo>
                <a:lnTo>
                  <a:pt x="30" y="1454"/>
                </a:lnTo>
                <a:lnTo>
                  <a:pt x="30" y="1435"/>
                </a:lnTo>
                <a:lnTo>
                  <a:pt x="39" y="1415"/>
                </a:lnTo>
                <a:lnTo>
                  <a:pt x="30" y="1396"/>
                </a:lnTo>
                <a:lnTo>
                  <a:pt x="20" y="1386"/>
                </a:lnTo>
                <a:lnTo>
                  <a:pt x="0" y="1386"/>
                </a:lnTo>
                <a:lnTo>
                  <a:pt x="10" y="1366"/>
                </a:lnTo>
                <a:lnTo>
                  <a:pt x="20" y="1357"/>
                </a:lnTo>
                <a:lnTo>
                  <a:pt x="30" y="1347"/>
                </a:lnTo>
                <a:lnTo>
                  <a:pt x="39" y="1347"/>
                </a:lnTo>
                <a:lnTo>
                  <a:pt x="49" y="1327"/>
                </a:lnTo>
                <a:lnTo>
                  <a:pt x="39" y="1269"/>
                </a:lnTo>
                <a:lnTo>
                  <a:pt x="39" y="1220"/>
                </a:lnTo>
                <a:lnTo>
                  <a:pt x="30" y="1152"/>
                </a:lnTo>
                <a:lnTo>
                  <a:pt x="20" y="1122"/>
                </a:lnTo>
                <a:lnTo>
                  <a:pt x="0" y="1103"/>
                </a:lnTo>
                <a:lnTo>
                  <a:pt x="10" y="1083"/>
                </a:lnTo>
                <a:lnTo>
                  <a:pt x="30" y="1083"/>
                </a:lnTo>
                <a:lnTo>
                  <a:pt x="49" y="1074"/>
                </a:lnTo>
                <a:lnTo>
                  <a:pt x="69" y="1054"/>
                </a:lnTo>
                <a:lnTo>
                  <a:pt x="78" y="1044"/>
                </a:lnTo>
                <a:lnTo>
                  <a:pt x="88" y="1044"/>
                </a:lnTo>
                <a:lnTo>
                  <a:pt x="98" y="1044"/>
                </a:lnTo>
                <a:lnTo>
                  <a:pt x="117" y="1044"/>
                </a:lnTo>
                <a:lnTo>
                  <a:pt x="127" y="1025"/>
                </a:lnTo>
                <a:lnTo>
                  <a:pt x="127" y="1015"/>
                </a:lnTo>
                <a:lnTo>
                  <a:pt x="127" y="996"/>
                </a:lnTo>
                <a:lnTo>
                  <a:pt x="137" y="986"/>
                </a:lnTo>
                <a:lnTo>
                  <a:pt x="137" y="966"/>
                </a:lnTo>
                <a:lnTo>
                  <a:pt x="157" y="966"/>
                </a:lnTo>
                <a:lnTo>
                  <a:pt x="157" y="937"/>
                </a:lnTo>
                <a:lnTo>
                  <a:pt x="186" y="908"/>
                </a:lnTo>
                <a:lnTo>
                  <a:pt x="205" y="888"/>
                </a:lnTo>
                <a:lnTo>
                  <a:pt x="225" y="878"/>
                </a:lnTo>
                <a:lnTo>
                  <a:pt x="225" y="869"/>
                </a:lnTo>
                <a:lnTo>
                  <a:pt x="225" y="849"/>
                </a:lnTo>
                <a:lnTo>
                  <a:pt x="196" y="839"/>
                </a:lnTo>
                <a:lnTo>
                  <a:pt x="196" y="820"/>
                </a:lnTo>
                <a:lnTo>
                  <a:pt x="196" y="791"/>
                </a:lnTo>
                <a:lnTo>
                  <a:pt x="166" y="761"/>
                </a:lnTo>
                <a:lnTo>
                  <a:pt x="147" y="742"/>
                </a:lnTo>
                <a:lnTo>
                  <a:pt x="137" y="742"/>
                </a:lnTo>
                <a:lnTo>
                  <a:pt x="137" y="722"/>
                </a:lnTo>
                <a:lnTo>
                  <a:pt x="108" y="703"/>
                </a:lnTo>
                <a:lnTo>
                  <a:pt x="117" y="674"/>
                </a:lnTo>
                <a:lnTo>
                  <a:pt x="108" y="654"/>
                </a:lnTo>
                <a:lnTo>
                  <a:pt x="88" y="635"/>
                </a:lnTo>
                <a:lnTo>
                  <a:pt x="98" y="625"/>
                </a:lnTo>
                <a:lnTo>
                  <a:pt x="117" y="605"/>
                </a:lnTo>
                <a:lnTo>
                  <a:pt x="117" y="596"/>
                </a:lnTo>
                <a:lnTo>
                  <a:pt x="117" y="586"/>
                </a:lnTo>
                <a:lnTo>
                  <a:pt x="127" y="576"/>
                </a:lnTo>
                <a:lnTo>
                  <a:pt x="137" y="586"/>
                </a:lnTo>
                <a:lnTo>
                  <a:pt x="166" y="586"/>
                </a:lnTo>
                <a:lnTo>
                  <a:pt x="186" y="576"/>
                </a:lnTo>
                <a:lnTo>
                  <a:pt x="176" y="566"/>
                </a:lnTo>
                <a:lnTo>
                  <a:pt x="176" y="557"/>
                </a:lnTo>
                <a:lnTo>
                  <a:pt x="186" y="557"/>
                </a:lnTo>
                <a:lnTo>
                  <a:pt x="196" y="566"/>
                </a:lnTo>
                <a:lnTo>
                  <a:pt x="205" y="596"/>
                </a:lnTo>
                <a:lnTo>
                  <a:pt x="205" y="615"/>
                </a:lnTo>
                <a:lnTo>
                  <a:pt x="215" y="625"/>
                </a:lnTo>
                <a:lnTo>
                  <a:pt x="215" y="635"/>
                </a:lnTo>
                <a:lnTo>
                  <a:pt x="225" y="625"/>
                </a:lnTo>
                <a:lnTo>
                  <a:pt x="235" y="615"/>
                </a:lnTo>
                <a:lnTo>
                  <a:pt x="225" y="615"/>
                </a:lnTo>
                <a:lnTo>
                  <a:pt x="215" y="605"/>
                </a:lnTo>
                <a:lnTo>
                  <a:pt x="215" y="596"/>
                </a:lnTo>
                <a:lnTo>
                  <a:pt x="235" y="596"/>
                </a:lnTo>
                <a:lnTo>
                  <a:pt x="254" y="586"/>
                </a:lnTo>
                <a:lnTo>
                  <a:pt x="274" y="566"/>
                </a:lnTo>
                <a:lnTo>
                  <a:pt x="303" y="566"/>
                </a:lnTo>
                <a:lnTo>
                  <a:pt x="361" y="557"/>
                </a:lnTo>
                <a:lnTo>
                  <a:pt x="381" y="557"/>
                </a:lnTo>
                <a:lnTo>
                  <a:pt x="400" y="566"/>
                </a:lnTo>
                <a:lnTo>
                  <a:pt x="391" y="566"/>
                </a:lnTo>
                <a:lnTo>
                  <a:pt x="381" y="566"/>
                </a:lnTo>
                <a:lnTo>
                  <a:pt x="381" y="576"/>
                </a:lnTo>
                <a:lnTo>
                  <a:pt x="381" y="596"/>
                </a:lnTo>
                <a:lnTo>
                  <a:pt x="430" y="605"/>
                </a:lnTo>
                <a:lnTo>
                  <a:pt x="449" y="605"/>
                </a:lnTo>
                <a:lnTo>
                  <a:pt x="459" y="596"/>
                </a:lnTo>
                <a:lnTo>
                  <a:pt x="498" y="596"/>
                </a:lnTo>
                <a:lnTo>
                  <a:pt x="517" y="586"/>
                </a:lnTo>
                <a:lnTo>
                  <a:pt x="537" y="586"/>
                </a:lnTo>
                <a:lnTo>
                  <a:pt x="537" y="576"/>
                </a:lnTo>
                <a:lnTo>
                  <a:pt x="547" y="576"/>
                </a:lnTo>
                <a:lnTo>
                  <a:pt x="566" y="576"/>
                </a:lnTo>
                <a:lnTo>
                  <a:pt x="566" y="566"/>
                </a:lnTo>
                <a:lnTo>
                  <a:pt x="566" y="547"/>
                </a:lnTo>
                <a:lnTo>
                  <a:pt x="576" y="537"/>
                </a:lnTo>
                <a:lnTo>
                  <a:pt x="556" y="537"/>
                </a:lnTo>
                <a:lnTo>
                  <a:pt x="547" y="527"/>
                </a:lnTo>
                <a:lnTo>
                  <a:pt x="547" y="517"/>
                </a:lnTo>
                <a:lnTo>
                  <a:pt x="537" y="508"/>
                </a:lnTo>
                <a:lnTo>
                  <a:pt x="547" y="488"/>
                </a:lnTo>
                <a:lnTo>
                  <a:pt x="547" y="498"/>
                </a:lnTo>
                <a:lnTo>
                  <a:pt x="566" y="498"/>
                </a:lnTo>
                <a:lnTo>
                  <a:pt x="556" y="478"/>
                </a:lnTo>
                <a:lnTo>
                  <a:pt x="566" y="469"/>
                </a:lnTo>
                <a:lnTo>
                  <a:pt x="586" y="478"/>
                </a:lnTo>
                <a:lnTo>
                  <a:pt x="595" y="478"/>
                </a:lnTo>
                <a:lnTo>
                  <a:pt x="605" y="488"/>
                </a:lnTo>
                <a:lnTo>
                  <a:pt x="625" y="488"/>
                </a:lnTo>
                <a:lnTo>
                  <a:pt x="634" y="478"/>
                </a:lnTo>
                <a:lnTo>
                  <a:pt x="644" y="488"/>
                </a:lnTo>
                <a:lnTo>
                  <a:pt x="654" y="478"/>
                </a:lnTo>
                <a:lnTo>
                  <a:pt x="664" y="469"/>
                </a:lnTo>
                <a:lnTo>
                  <a:pt x="673" y="459"/>
                </a:lnTo>
                <a:lnTo>
                  <a:pt x="683" y="459"/>
                </a:lnTo>
                <a:lnTo>
                  <a:pt x="693" y="459"/>
                </a:lnTo>
                <a:lnTo>
                  <a:pt x="703" y="459"/>
                </a:lnTo>
                <a:lnTo>
                  <a:pt x="713" y="459"/>
                </a:lnTo>
                <a:lnTo>
                  <a:pt x="722" y="478"/>
                </a:lnTo>
                <a:lnTo>
                  <a:pt x="732" y="469"/>
                </a:lnTo>
                <a:lnTo>
                  <a:pt x="732" y="478"/>
                </a:lnTo>
                <a:lnTo>
                  <a:pt x="742" y="478"/>
                </a:lnTo>
                <a:lnTo>
                  <a:pt x="752" y="488"/>
                </a:lnTo>
                <a:lnTo>
                  <a:pt x="752" y="498"/>
                </a:lnTo>
                <a:lnTo>
                  <a:pt x="761" y="498"/>
                </a:lnTo>
                <a:lnTo>
                  <a:pt x="761" y="508"/>
                </a:lnTo>
                <a:lnTo>
                  <a:pt x="761" y="517"/>
                </a:lnTo>
                <a:lnTo>
                  <a:pt x="771" y="517"/>
                </a:lnTo>
                <a:lnTo>
                  <a:pt x="771" y="527"/>
                </a:lnTo>
                <a:lnTo>
                  <a:pt x="761" y="527"/>
                </a:lnTo>
                <a:lnTo>
                  <a:pt x="761" y="537"/>
                </a:lnTo>
                <a:lnTo>
                  <a:pt x="761" y="547"/>
                </a:lnTo>
                <a:lnTo>
                  <a:pt x="771" y="547"/>
                </a:lnTo>
                <a:lnTo>
                  <a:pt x="781" y="537"/>
                </a:lnTo>
                <a:lnTo>
                  <a:pt x="791" y="547"/>
                </a:lnTo>
                <a:lnTo>
                  <a:pt x="800" y="557"/>
                </a:lnTo>
                <a:lnTo>
                  <a:pt x="791" y="557"/>
                </a:lnTo>
                <a:lnTo>
                  <a:pt x="800" y="557"/>
                </a:lnTo>
                <a:lnTo>
                  <a:pt x="800" y="566"/>
                </a:lnTo>
                <a:lnTo>
                  <a:pt x="810" y="576"/>
                </a:lnTo>
                <a:lnTo>
                  <a:pt x="800" y="576"/>
                </a:lnTo>
                <a:lnTo>
                  <a:pt x="791" y="586"/>
                </a:lnTo>
                <a:lnTo>
                  <a:pt x="781" y="586"/>
                </a:lnTo>
                <a:lnTo>
                  <a:pt x="771" y="576"/>
                </a:lnTo>
                <a:lnTo>
                  <a:pt x="761" y="576"/>
                </a:lnTo>
                <a:lnTo>
                  <a:pt x="752" y="576"/>
                </a:lnTo>
                <a:lnTo>
                  <a:pt x="742" y="576"/>
                </a:lnTo>
                <a:lnTo>
                  <a:pt x="752" y="586"/>
                </a:lnTo>
                <a:lnTo>
                  <a:pt x="771" y="586"/>
                </a:lnTo>
                <a:lnTo>
                  <a:pt x="781" y="605"/>
                </a:lnTo>
                <a:lnTo>
                  <a:pt x="781" y="615"/>
                </a:lnTo>
                <a:lnTo>
                  <a:pt x="791" y="615"/>
                </a:lnTo>
                <a:lnTo>
                  <a:pt x="810" y="615"/>
                </a:lnTo>
                <a:lnTo>
                  <a:pt x="800" y="596"/>
                </a:lnTo>
                <a:lnTo>
                  <a:pt x="810" y="596"/>
                </a:lnTo>
                <a:lnTo>
                  <a:pt x="820" y="605"/>
                </a:lnTo>
                <a:lnTo>
                  <a:pt x="830" y="605"/>
                </a:lnTo>
                <a:lnTo>
                  <a:pt x="830" y="615"/>
                </a:lnTo>
                <a:lnTo>
                  <a:pt x="820" y="615"/>
                </a:lnTo>
                <a:lnTo>
                  <a:pt x="820" y="625"/>
                </a:lnTo>
                <a:lnTo>
                  <a:pt x="820" y="635"/>
                </a:lnTo>
                <a:lnTo>
                  <a:pt x="830" y="635"/>
                </a:lnTo>
                <a:lnTo>
                  <a:pt x="849" y="654"/>
                </a:lnTo>
                <a:lnTo>
                  <a:pt x="859" y="664"/>
                </a:lnTo>
                <a:lnTo>
                  <a:pt x="869" y="674"/>
                </a:lnTo>
                <a:lnTo>
                  <a:pt x="878" y="674"/>
                </a:lnTo>
                <a:lnTo>
                  <a:pt x="888" y="674"/>
                </a:lnTo>
                <a:lnTo>
                  <a:pt x="888" y="683"/>
                </a:lnTo>
                <a:lnTo>
                  <a:pt x="898" y="683"/>
                </a:lnTo>
                <a:lnTo>
                  <a:pt x="908" y="683"/>
                </a:lnTo>
                <a:lnTo>
                  <a:pt x="917" y="693"/>
                </a:lnTo>
                <a:lnTo>
                  <a:pt x="917" y="674"/>
                </a:lnTo>
                <a:lnTo>
                  <a:pt x="927" y="683"/>
                </a:lnTo>
                <a:lnTo>
                  <a:pt x="927" y="693"/>
                </a:lnTo>
                <a:lnTo>
                  <a:pt x="947" y="693"/>
                </a:lnTo>
                <a:lnTo>
                  <a:pt x="947" y="674"/>
                </a:lnTo>
                <a:lnTo>
                  <a:pt x="947" y="644"/>
                </a:lnTo>
                <a:lnTo>
                  <a:pt x="937" y="625"/>
                </a:lnTo>
                <a:lnTo>
                  <a:pt x="937" y="615"/>
                </a:lnTo>
                <a:lnTo>
                  <a:pt x="937" y="605"/>
                </a:lnTo>
                <a:lnTo>
                  <a:pt x="937" y="576"/>
                </a:lnTo>
                <a:lnTo>
                  <a:pt x="927" y="566"/>
                </a:lnTo>
                <a:lnTo>
                  <a:pt x="927" y="547"/>
                </a:lnTo>
                <a:lnTo>
                  <a:pt x="937" y="547"/>
                </a:lnTo>
                <a:lnTo>
                  <a:pt x="947" y="557"/>
                </a:lnTo>
                <a:lnTo>
                  <a:pt x="956" y="566"/>
                </a:lnTo>
                <a:lnTo>
                  <a:pt x="966" y="566"/>
                </a:lnTo>
                <a:lnTo>
                  <a:pt x="995" y="576"/>
                </a:lnTo>
                <a:lnTo>
                  <a:pt x="1015" y="566"/>
                </a:lnTo>
                <a:lnTo>
                  <a:pt x="1025" y="557"/>
                </a:lnTo>
                <a:lnTo>
                  <a:pt x="1025" y="537"/>
                </a:lnTo>
                <a:lnTo>
                  <a:pt x="1034" y="537"/>
                </a:lnTo>
                <a:lnTo>
                  <a:pt x="1034" y="517"/>
                </a:lnTo>
                <a:lnTo>
                  <a:pt x="1054" y="508"/>
                </a:lnTo>
                <a:lnTo>
                  <a:pt x="1073" y="508"/>
                </a:lnTo>
                <a:lnTo>
                  <a:pt x="1083" y="517"/>
                </a:lnTo>
                <a:lnTo>
                  <a:pt x="1093" y="508"/>
                </a:lnTo>
                <a:lnTo>
                  <a:pt x="1103" y="517"/>
                </a:lnTo>
                <a:lnTo>
                  <a:pt x="1122" y="517"/>
                </a:lnTo>
                <a:lnTo>
                  <a:pt x="1132" y="517"/>
                </a:lnTo>
                <a:lnTo>
                  <a:pt x="1132" y="527"/>
                </a:lnTo>
                <a:lnTo>
                  <a:pt x="1142" y="527"/>
                </a:lnTo>
                <a:lnTo>
                  <a:pt x="1151" y="517"/>
                </a:lnTo>
                <a:lnTo>
                  <a:pt x="1142" y="517"/>
                </a:lnTo>
                <a:lnTo>
                  <a:pt x="1151" y="508"/>
                </a:lnTo>
                <a:lnTo>
                  <a:pt x="1171" y="508"/>
                </a:lnTo>
                <a:lnTo>
                  <a:pt x="1181" y="517"/>
                </a:lnTo>
                <a:lnTo>
                  <a:pt x="1181" y="508"/>
                </a:lnTo>
                <a:lnTo>
                  <a:pt x="1181" y="498"/>
                </a:lnTo>
                <a:lnTo>
                  <a:pt x="1161" y="498"/>
                </a:lnTo>
                <a:lnTo>
                  <a:pt x="1151" y="498"/>
                </a:lnTo>
                <a:lnTo>
                  <a:pt x="1132" y="508"/>
                </a:lnTo>
                <a:lnTo>
                  <a:pt x="1132" y="498"/>
                </a:lnTo>
                <a:lnTo>
                  <a:pt x="1132" y="478"/>
                </a:lnTo>
                <a:lnTo>
                  <a:pt x="1132" y="469"/>
                </a:lnTo>
                <a:lnTo>
                  <a:pt x="1142" y="469"/>
                </a:lnTo>
                <a:lnTo>
                  <a:pt x="1142" y="459"/>
                </a:lnTo>
                <a:lnTo>
                  <a:pt x="1151" y="459"/>
                </a:lnTo>
                <a:lnTo>
                  <a:pt x="1171" y="469"/>
                </a:lnTo>
                <a:lnTo>
                  <a:pt x="1181" y="459"/>
                </a:lnTo>
                <a:lnTo>
                  <a:pt x="1190" y="449"/>
                </a:lnTo>
                <a:lnTo>
                  <a:pt x="1190" y="439"/>
                </a:lnTo>
                <a:lnTo>
                  <a:pt x="1181" y="439"/>
                </a:lnTo>
                <a:lnTo>
                  <a:pt x="1161" y="430"/>
                </a:lnTo>
                <a:lnTo>
                  <a:pt x="1151" y="420"/>
                </a:lnTo>
                <a:lnTo>
                  <a:pt x="1142" y="420"/>
                </a:lnTo>
                <a:lnTo>
                  <a:pt x="1142" y="410"/>
                </a:lnTo>
                <a:lnTo>
                  <a:pt x="1142" y="400"/>
                </a:lnTo>
                <a:lnTo>
                  <a:pt x="1142" y="391"/>
                </a:lnTo>
                <a:lnTo>
                  <a:pt x="1151" y="381"/>
                </a:lnTo>
                <a:lnTo>
                  <a:pt x="1142" y="381"/>
                </a:lnTo>
                <a:lnTo>
                  <a:pt x="1132" y="381"/>
                </a:lnTo>
                <a:lnTo>
                  <a:pt x="1132" y="391"/>
                </a:lnTo>
                <a:lnTo>
                  <a:pt x="1122" y="400"/>
                </a:lnTo>
                <a:lnTo>
                  <a:pt x="1112" y="400"/>
                </a:lnTo>
                <a:lnTo>
                  <a:pt x="1112" y="391"/>
                </a:lnTo>
                <a:lnTo>
                  <a:pt x="1112" y="371"/>
                </a:lnTo>
                <a:lnTo>
                  <a:pt x="1112" y="361"/>
                </a:lnTo>
                <a:lnTo>
                  <a:pt x="1112" y="352"/>
                </a:lnTo>
                <a:lnTo>
                  <a:pt x="1132" y="352"/>
                </a:lnTo>
                <a:lnTo>
                  <a:pt x="1132" y="342"/>
                </a:lnTo>
                <a:lnTo>
                  <a:pt x="1151" y="332"/>
                </a:lnTo>
                <a:lnTo>
                  <a:pt x="1142" y="322"/>
                </a:lnTo>
                <a:lnTo>
                  <a:pt x="1142" y="313"/>
                </a:lnTo>
                <a:lnTo>
                  <a:pt x="1132" y="313"/>
                </a:lnTo>
                <a:lnTo>
                  <a:pt x="1122" y="303"/>
                </a:lnTo>
                <a:lnTo>
                  <a:pt x="1132" y="293"/>
                </a:lnTo>
                <a:lnTo>
                  <a:pt x="1142" y="293"/>
                </a:lnTo>
                <a:lnTo>
                  <a:pt x="1161" y="293"/>
                </a:lnTo>
                <a:lnTo>
                  <a:pt x="1190" y="274"/>
                </a:lnTo>
                <a:lnTo>
                  <a:pt x="1229" y="254"/>
                </a:lnTo>
                <a:lnTo>
                  <a:pt x="1259" y="244"/>
                </a:lnTo>
                <a:lnTo>
                  <a:pt x="1288" y="225"/>
                </a:lnTo>
                <a:lnTo>
                  <a:pt x="1317" y="215"/>
                </a:lnTo>
                <a:lnTo>
                  <a:pt x="1337" y="215"/>
                </a:lnTo>
                <a:lnTo>
                  <a:pt x="1317" y="235"/>
                </a:lnTo>
                <a:lnTo>
                  <a:pt x="1298" y="244"/>
                </a:lnTo>
                <a:lnTo>
                  <a:pt x="1288" y="254"/>
                </a:lnTo>
                <a:lnTo>
                  <a:pt x="1278" y="254"/>
                </a:lnTo>
                <a:lnTo>
                  <a:pt x="1269" y="264"/>
                </a:lnTo>
                <a:lnTo>
                  <a:pt x="1278" y="274"/>
                </a:lnTo>
                <a:lnTo>
                  <a:pt x="1269" y="283"/>
                </a:lnTo>
                <a:lnTo>
                  <a:pt x="1278" y="293"/>
                </a:lnTo>
                <a:lnTo>
                  <a:pt x="1288" y="283"/>
                </a:lnTo>
                <a:lnTo>
                  <a:pt x="1288" y="264"/>
                </a:lnTo>
                <a:lnTo>
                  <a:pt x="1308" y="244"/>
                </a:lnTo>
                <a:lnTo>
                  <a:pt x="1327" y="235"/>
                </a:lnTo>
                <a:lnTo>
                  <a:pt x="1347" y="235"/>
                </a:lnTo>
                <a:lnTo>
                  <a:pt x="1347" y="244"/>
                </a:lnTo>
                <a:lnTo>
                  <a:pt x="1347" y="264"/>
                </a:lnTo>
                <a:lnTo>
                  <a:pt x="1347" y="283"/>
                </a:lnTo>
                <a:lnTo>
                  <a:pt x="1337" y="264"/>
                </a:lnTo>
                <a:lnTo>
                  <a:pt x="1337" y="254"/>
                </a:lnTo>
                <a:lnTo>
                  <a:pt x="1327" y="264"/>
                </a:lnTo>
                <a:lnTo>
                  <a:pt x="1317" y="254"/>
                </a:lnTo>
                <a:lnTo>
                  <a:pt x="1308" y="254"/>
                </a:lnTo>
                <a:lnTo>
                  <a:pt x="1317" y="274"/>
                </a:lnTo>
                <a:lnTo>
                  <a:pt x="1337" y="274"/>
                </a:lnTo>
                <a:lnTo>
                  <a:pt x="1337" y="283"/>
                </a:lnTo>
                <a:lnTo>
                  <a:pt x="1337" y="293"/>
                </a:lnTo>
                <a:lnTo>
                  <a:pt x="1317" y="293"/>
                </a:lnTo>
                <a:lnTo>
                  <a:pt x="1317" y="303"/>
                </a:lnTo>
                <a:lnTo>
                  <a:pt x="1327" y="303"/>
                </a:lnTo>
                <a:lnTo>
                  <a:pt x="1337" y="322"/>
                </a:lnTo>
                <a:lnTo>
                  <a:pt x="1347" y="313"/>
                </a:lnTo>
                <a:lnTo>
                  <a:pt x="1356" y="303"/>
                </a:lnTo>
                <a:lnTo>
                  <a:pt x="1356" y="274"/>
                </a:lnTo>
                <a:lnTo>
                  <a:pt x="1356" y="244"/>
                </a:lnTo>
                <a:lnTo>
                  <a:pt x="1347" y="235"/>
                </a:lnTo>
                <a:lnTo>
                  <a:pt x="1347" y="205"/>
                </a:lnTo>
                <a:lnTo>
                  <a:pt x="1386" y="186"/>
                </a:lnTo>
                <a:lnTo>
                  <a:pt x="1405" y="176"/>
                </a:lnTo>
                <a:lnTo>
                  <a:pt x="1444" y="176"/>
                </a:lnTo>
                <a:lnTo>
                  <a:pt x="1464" y="176"/>
                </a:lnTo>
                <a:lnTo>
                  <a:pt x="1464" y="186"/>
                </a:lnTo>
                <a:lnTo>
                  <a:pt x="1464" y="205"/>
                </a:lnTo>
                <a:lnTo>
                  <a:pt x="1454" y="205"/>
                </a:lnTo>
                <a:lnTo>
                  <a:pt x="1444" y="196"/>
                </a:lnTo>
                <a:lnTo>
                  <a:pt x="1444" y="215"/>
                </a:lnTo>
                <a:lnTo>
                  <a:pt x="1444" y="225"/>
                </a:lnTo>
                <a:lnTo>
                  <a:pt x="1464" y="215"/>
                </a:lnTo>
                <a:lnTo>
                  <a:pt x="1483" y="196"/>
                </a:lnTo>
                <a:lnTo>
                  <a:pt x="1493" y="205"/>
                </a:lnTo>
                <a:lnTo>
                  <a:pt x="1493" y="215"/>
                </a:lnTo>
                <a:lnTo>
                  <a:pt x="1503" y="205"/>
                </a:lnTo>
                <a:lnTo>
                  <a:pt x="1512" y="196"/>
                </a:lnTo>
                <a:lnTo>
                  <a:pt x="1522" y="215"/>
                </a:lnTo>
                <a:lnTo>
                  <a:pt x="1532" y="205"/>
                </a:lnTo>
                <a:lnTo>
                  <a:pt x="1532" y="196"/>
                </a:lnTo>
                <a:lnTo>
                  <a:pt x="1542" y="186"/>
                </a:lnTo>
                <a:lnTo>
                  <a:pt x="1571" y="196"/>
                </a:lnTo>
                <a:lnTo>
                  <a:pt x="1590" y="205"/>
                </a:lnTo>
                <a:lnTo>
                  <a:pt x="1590" y="215"/>
                </a:lnTo>
                <a:lnTo>
                  <a:pt x="1600" y="205"/>
                </a:lnTo>
                <a:lnTo>
                  <a:pt x="1629" y="196"/>
                </a:lnTo>
                <a:lnTo>
                  <a:pt x="1639" y="186"/>
                </a:lnTo>
                <a:lnTo>
                  <a:pt x="1639" y="176"/>
                </a:lnTo>
                <a:lnTo>
                  <a:pt x="1649" y="166"/>
                </a:lnTo>
                <a:lnTo>
                  <a:pt x="1659" y="156"/>
                </a:lnTo>
                <a:lnTo>
                  <a:pt x="1668" y="117"/>
                </a:lnTo>
                <a:lnTo>
                  <a:pt x="1688" y="98"/>
                </a:lnTo>
                <a:lnTo>
                  <a:pt x="1707" y="78"/>
                </a:lnTo>
                <a:lnTo>
                  <a:pt x="1727" y="59"/>
                </a:lnTo>
                <a:lnTo>
                  <a:pt x="1737" y="49"/>
                </a:lnTo>
                <a:lnTo>
                  <a:pt x="1776" y="30"/>
                </a:lnTo>
                <a:lnTo>
                  <a:pt x="1805" y="20"/>
                </a:lnTo>
                <a:lnTo>
                  <a:pt x="1825" y="20"/>
                </a:lnTo>
                <a:lnTo>
                  <a:pt x="1854" y="20"/>
                </a:lnTo>
                <a:lnTo>
                  <a:pt x="1854" y="30"/>
                </a:lnTo>
                <a:lnTo>
                  <a:pt x="1873" y="30"/>
                </a:lnTo>
                <a:lnTo>
                  <a:pt x="1883" y="39"/>
                </a:lnTo>
                <a:lnTo>
                  <a:pt x="1883" y="49"/>
                </a:lnTo>
                <a:lnTo>
                  <a:pt x="1893" y="59"/>
                </a:lnTo>
                <a:lnTo>
                  <a:pt x="1893" y="69"/>
                </a:lnTo>
                <a:lnTo>
                  <a:pt x="1903" y="69"/>
                </a:lnTo>
                <a:lnTo>
                  <a:pt x="1912" y="69"/>
                </a:lnTo>
                <a:lnTo>
                  <a:pt x="1932" y="69"/>
                </a:lnTo>
                <a:lnTo>
                  <a:pt x="1951" y="59"/>
                </a:lnTo>
                <a:lnTo>
                  <a:pt x="1971" y="69"/>
                </a:lnTo>
                <a:lnTo>
                  <a:pt x="1981" y="69"/>
                </a:lnTo>
                <a:lnTo>
                  <a:pt x="1981" y="59"/>
                </a:lnTo>
                <a:lnTo>
                  <a:pt x="1981" y="49"/>
                </a:lnTo>
                <a:lnTo>
                  <a:pt x="1990" y="49"/>
                </a:lnTo>
                <a:lnTo>
                  <a:pt x="2000" y="49"/>
                </a:lnTo>
                <a:lnTo>
                  <a:pt x="1990" y="30"/>
                </a:lnTo>
                <a:lnTo>
                  <a:pt x="1990" y="20"/>
                </a:lnTo>
                <a:lnTo>
                  <a:pt x="1990" y="0"/>
                </a:lnTo>
                <a:lnTo>
                  <a:pt x="2000" y="10"/>
                </a:lnTo>
                <a:lnTo>
                  <a:pt x="2010" y="30"/>
                </a:lnTo>
                <a:lnTo>
                  <a:pt x="2020" y="20"/>
                </a:lnTo>
                <a:lnTo>
                  <a:pt x="2039" y="30"/>
                </a:lnTo>
                <a:lnTo>
                  <a:pt x="2039" y="39"/>
                </a:lnTo>
                <a:lnTo>
                  <a:pt x="2068" y="49"/>
                </a:lnTo>
                <a:lnTo>
                  <a:pt x="2068" y="59"/>
                </a:lnTo>
                <a:lnTo>
                  <a:pt x="2088" y="69"/>
                </a:lnTo>
                <a:lnTo>
                  <a:pt x="2107" y="69"/>
                </a:lnTo>
                <a:lnTo>
                  <a:pt x="2107" y="88"/>
                </a:lnTo>
                <a:lnTo>
                  <a:pt x="2098" y="98"/>
                </a:lnTo>
                <a:lnTo>
                  <a:pt x="2078" y="117"/>
                </a:lnTo>
                <a:lnTo>
                  <a:pt x="2078" y="137"/>
                </a:lnTo>
                <a:lnTo>
                  <a:pt x="2078" y="166"/>
                </a:lnTo>
                <a:lnTo>
                  <a:pt x="2059" y="186"/>
                </a:lnTo>
                <a:lnTo>
                  <a:pt x="2059" y="196"/>
                </a:lnTo>
                <a:lnTo>
                  <a:pt x="2049" y="205"/>
                </a:lnTo>
                <a:lnTo>
                  <a:pt x="2029" y="235"/>
                </a:lnTo>
                <a:lnTo>
                  <a:pt x="2029" y="244"/>
                </a:lnTo>
                <a:lnTo>
                  <a:pt x="2029" y="264"/>
                </a:lnTo>
                <a:lnTo>
                  <a:pt x="2049" y="264"/>
                </a:lnTo>
                <a:lnTo>
                  <a:pt x="2039" y="293"/>
                </a:lnTo>
                <a:lnTo>
                  <a:pt x="2049" y="303"/>
                </a:lnTo>
                <a:lnTo>
                  <a:pt x="2078" y="313"/>
                </a:lnTo>
                <a:lnTo>
                  <a:pt x="2117" y="303"/>
                </a:lnTo>
                <a:lnTo>
                  <a:pt x="2146" y="303"/>
                </a:lnTo>
                <a:lnTo>
                  <a:pt x="2156" y="322"/>
                </a:lnTo>
                <a:lnTo>
                  <a:pt x="2166" y="352"/>
                </a:lnTo>
                <a:lnTo>
                  <a:pt x="2176" y="361"/>
                </a:lnTo>
                <a:lnTo>
                  <a:pt x="2185" y="371"/>
                </a:lnTo>
                <a:lnTo>
                  <a:pt x="2195" y="381"/>
                </a:lnTo>
                <a:lnTo>
                  <a:pt x="2185" y="400"/>
                </a:lnTo>
                <a:lnTo>
                  <a:pt x="2185" y="439"/>
                </a:lnTo>
                <a:lnTo>
                  <a:pt x="2146" y="439"/>
                </a:lnTo>
                <a:lnTo>
                  <a:pt x="2146" y="449"/>
                </a:lnTo>
                <a:lnTo>
                  <a:pt x="2146" y="459"/>
                </a:lnTo>
                <a:lnTo>
                  <a:pt x="2137" y="469"/>
                </a:lnTo>
                <a:lnTo>
                  <a:pt x="2107" y="488"/>
                </a:lnTo>
                <a:lnTo>
                  <a:pt x="2098" y="488"/>
                </a:lnTo>
                <a:lnTo>
                  <a:pt x="2098" y="508"/>
                </a:lnTo>
                <a:lnTo>
                  <a:pt x="2068" y="508"/>
                </a:lnTo>
                <a:lnTo>
                  <a:pt x="2068" y="517"/>
                </a:lnTo>
                <a:lnTo>
                  <a:pt x="2078" y="527"/>
                </a:lnTo>
                <a:lnTo>
                  <a:pt x="2098" y="537"/>
                </a:lnTo>
                <a:lnTo>
                  <a:pt x="2098" y="557"/>
                </a:lnTo>
                <a:lnTo>
                  <a:pt x="2078" y="566"/>
                </a:lnTo>
                <a:lnTo>
                  <a:pt x="2068" y="576"/>
                </a:lnTo>
                <a:lnTo>
                  <a:pt x="2107" y="596"/>
                </a:lnTo>
                <a:lnTo>
                  <a:pt x="2107" y="615"/>
                </a:lnTo>
                <a:lnTo>
                  <a:pt x="2098" y="625"/>
                </a:lnTo>
                <a:lnTo>
                  <a:pt x="2088" y="635"/>
                </a:lnTo>
                <a:lnTo>
                  <a:pt x="2088" y="654"/>
                </a:lnTo>
                <a:lnTo>
                  <a:pt x="2098" y="674"/>
                </a:lnTo>
                <a:lnTo>
                  <a:pt x="2127" y="683"/>
                </a:lnTo>
                <a:lnTo>
                  <a:pt x="2137" y="693"/>
                </a:lnTo>
                <a:lnTo>
                  <a:pt x="2137" y="722"/>
                </a:lnTo>
                <a:lnTo>
                  <a:pt x="2146" y="732"/>
                </a:lnTo>
                <a:lnTo>
                  <a:pt x="2146" y="742"/>
                </a:lnTo>
                <a:lnTo>
                  <a:pt x="2127" y="742"/>
                </a:lnTo>
                <a:lnTo>
                  <a:pt x="2117" y="791"/>
                </a:lnTo>
                <a:lnTo>
                  <a:pt x="2107" y="791"/>
                </a:lnTo>
                <a:lnTo>
                  <a:pt x="2098" y="800"/>
                </a:lnTo>
                <a:lnTo>
                  <a:pt x="2098" y="810"/>
                </a:lnTo>
                <a:lnTo>
                  <a:pt x="2088" y="830"/>
                </a:lnTo>
                <a:lnTo>
                  <a:pt x="2068" y="820"/>
                </a:lnTo>
                <a:lnTo>
                  <a:pt x="2068" y="810"/>
                </a:lnTo>
                <a:lnTo>
                  <a:pt x="2049" y="810"/>
                </a:lnTo>
                <a:lnTo>
                  <a:pt x="2049" y="830"/>
                </a:lnTo>
                <a:lnTo>
                  <a:pt x="2039" y="839"/>
                </a:lnTo>
                <a:lnTo>
                  <a:pt x="2020" y="839"/>
                </a:lnTo>
                <a:lnTo>
                  <a:pt x="2010" y="849"/>
                </a:lnTo>
                <a:lnTo>
                  <a:pt x="2000" y="849"/>
                </a:lnTo>
                <a:lnTo>
                  <a:pt x="1990" y="849"/>
                </a:lnTo>
                <a:lnTo>
                  <a:pt x="1990" y="859"/>
                </a:lnTo>
                <a:lnTo>
                  <a:pt x="2000" y="869"/>
                </a:lnTo>
                <a:lnTo>
                  <a:pt x="2010" y="869"/>
                </a:lnTo>
                <a:lnTo>
                  <a:pt x="2020" y="898"/>
                </a:lnTo>
                <a:lnTo>
                  <a:pt x="2020" y="908"/>
                </a:lnTo>
                <a:lnTo>
                  <a:pt x="2010" y="918"/>
                </a:lnTo>
                <a:lnTo>
                  <a:pt x="2000" y="908"/>
                </a:lnTo>
                <a:lnTo>
                  <a:pt x="1981" y="908"/>
                </a:lnTo>
                <a:lnTo>
                  <a:pt x="1981" y="927"/>
                </a:lnTo>
                <a:lnTo>
                  <a:pt x="1961" y="927"/>
                </a:lnTo>
                <a:lnTo>
                  <a:pt x="1951" y="937"/>
                </a:lnTo>
                <a:lnTo>
                  <a:pt x="1942" y="947"/>
                </a:lnTo>
                <a:lnTo>
                  <a:pt x="1942" y="966"/>
                </a:lnTo>
                <a:lnTo>
                  <a:pt x="1951" y="976"/>
                </a:lnTo>
                <a:lnTo>
                  <a:pt x="1942" y="996"/>
                </a:lnTo>
                <a:lnTo>
                  <a:pt x="1942" y="1005"/>
                </a:lnTo>
                <a:lnTo>
                  <a:pt x="1951" y="1025"/>
                </a:lnTo>
                <a:lnTo>
                  <a:pt x="1971" y="1064"/>
                </a:lnTo>
                <a:lnTo>
                  <a:pt x="1981" y="1083"/>
                </a:lnTo>
                <a:lnTo>
                  <a:pt x="2000" y="1093"/>
                </a:lnTo>
                <a:lnTo>
                  <a:pt x="2000" y="1103"/>
                </a:lnTo>
                <a:lnTo>
                  <a:pt x="2020" y="1122"/>
                </a:lnTo>
                <a:lnTo>
                  <a:pt x="2010" y="1132"/>
                </a:lnTo>
                <a:lnTo>
                  <a:pt x="2029" y="1152"/>
                </a:lnTo>
                <a:lnTo>
                  <a:pt x="2029" y="1181"/>
                </a:lnTo>
                <a:lnTo>
                  <a:pt x="2020" y="1191"/>
                </a:lnTo>
                <a:lnTo>
                  <a:pt x="2020" y="1210"/>
                </a:lnTo>
                <a:lnTo>
                  <a:pt x="2020" y="1230"/>
                </a:lnTo>
                <a:lnTo>
                  <a:pt x="2010" y="1230"/>
                </a:lnTo>
                <a:lnTo>
                  <a:pt x="2010" y="1220"/>
                </a:lnTo>
                <a:lnTo>
                  <a:pt x="2000" y="1210"/>
                </a:lnTo>
                <a:lnTo>
                  <a:pt x="1990" y="1220"/>
                </a:lnTo>
                <a:lnTo>
                  <a:pt x="1990" y="1230"/>
                </a:lnTo>
                <a:lnTo>
                  <a:pt x="1981" y="1239"/>
                </a:lnTo>
                <a:lnTo>
                  <a:pt x="1971" y="1220"/>
                </a:lnTo>
                <a:lnTo>
                  <a:pt x="1951" y="1239"/>
                </a:lnTo>
                <a:lnTo>
                  <a:pt x="1961" y="1259"/>
                </a:lnTo>
                <a:lnTo>
                  <a:pt x="1951" y="1269"/>
                </a:lnTo>
                <a:lnTo>
                  <a:pt x="1932" y="1279"/>
                </a:lnTo>
                <a:lnTo>
                  <a:pt x="1912" y="1269"/>
                </a:lnTo>
                <a:lnTo>
                  <a:pt x="1893" y="1279"/>
                </a:lnTo>
                <a:lnTo>
                  <a:pt x="1873" y="1269"/>
                </a:lnTo>
                <a:lnTo>
                  <a:pt x="1854" y="1269"/>
                </a:lnTo>
                <a:lnTo>
                  <a:pt x="1844" y="1279"/>
                </a:lnTo>
                <a:lnTo>
                  <a:pt x="1834" y="1279"/>
                </a:lnTo>
                <a:lnTo>
                  <a:pt x="1825" y="1269"/>
                </a:lnTo>
                <a:lnTo>
                  <a:pt x="1815" y="1279"/>
                </a:lnTo>
                <a:lnTo>
                  <a:pt x="1825" y="1288"/>
                </a:lnTo>
                <a:lnTo>
                  <a:pt x="1815" y="1308"/>
                </a:lnTo>
                <a:lnTo>
                  <a:pt x="1825" y="1347"/>
                </a:lnTo>
                <a:lnTo>
                  <a:pt x="1834" y="1357"/>
                </a:lnTo>
                <a:lnTo>
                  <a:pt x="1834" y="1386"/>
                </a:lnTo>
                <a:lnTo>
                  <a:pt x="1825" y="1405"/>
                </a:lnTo>
                <a:lnTo>
                  <a:pt x="1815" y="1425"/>
                </a:lnTo>
                <a:lnTo>
                  <a:pt x="1815" y="1444"/>
                </a:lnTo>
                <a:lnTo>
                  <a:pt x="1805" y="1454"/>
                </a:lnTo>
                <a:lnTo>
                  <a:pt x="1805" y="1483"/>
                </a:lnTo>
                <a:lnTo>
                  <a:pt x="1805" y="1513"/>
                </a:lnTo>
                <a:lnTo>
                  <a:pt x="1834" y="1532"/>
                </a:lnTo>
                <a:lnTo>
                  <a:pt x="1844" y="1571"/>
                </a:lnTo>
                <a:lnTo>
                  <a:pt x="1854" y="1581"/>
                </a:lnTo>
                <a:lnTo>
                  <a:pt x="1873" y="1591"/>
                </a:lnTo>
                <a:lnTo>
                  <a:pt x="1873" y="1610"/>
                </a:lnTo>
                <a:lnTo>
                  <a:pt x="1873" y="1620"/>
                </a:lnTo>
                <a:lnTo>
                  <a:pt x="1864" y="1630"/>
                </a:lnTo>
                <a:lnTo>
                  <a:pt x="1864" y="1659"/>
                </a:lnTo>
                <a:lnTo>
                  <a:pt x="1854" y="1679"/>
                </a:lnTo>
                <a:lnTo>
                  <a:pt x="1834" y="1698"/>
                </a:lnTo>
                <a:lnTo>
                  <a:pt x="1815" y="1698"/>
                </a:lnTo>
                <a:lnTo>
                  <a:pt x="1805" y="1708"/>
                </a:lnTo>
                <a:lnTo>
                  <a:pt x="1785" y="1708"/>
                </a:lnTo>
                <a:lnTo>
                  <a:pt x="1776" y="1708"/>
                </a:lnTo>
                <a:lnTo>
                  <a:pt x="1766" y="1727"/>
                </a:lnTo>
                <a:lnTo>
                  <a:pt x="1766" y="1747"/>
                </a:lnTo>
                <a:lnTo>
                  <a:pt x="1766" y="1757"/>
                </a:lnTo>
                <a:lnTo>
                  <a:pt x="1756" y="1766"/>
                </a:lnTo>
                <a:lnTo>
                  <a:pt x="1737" y="1776"/>
                </a:lnTo>
                <a:lnTo>
                  <a:pt x="1727" y="1776"/>
                </a:lnTo>
                <a:lnTo>
                  <a:pt x="1717" y="1796"/>
                </a:lnTo>
                <a:lnTo>
                  <a:pt x="1698" y="1786"/>
                </a:lnTo>
                <a:lnTo>
                  <a:pt x="1688" y="1796"/>
                </a:lnTo>
                <a:lnTo>
                  <a:pt x="1668" y="1796"/>
                </a:lnTo>
                <a:lnTo>
                  <a:pt x="1649" y="1805"/>
                </a:lnTo>
                <a:lnTo>
                  <a:pt x="1649" y="1835"/>
                </a:lnTo>
                <a:lnTo>
                  <a:pt x="1649" y="1854"/>
                </a:lnTo>
                <a:lnTo>
                  <a:pt x="1639" y="1864"/>
                </a:lnTo>
                <a:lnTo>
                  <a:pt x="1649" y="1913"/>
                </a:lnTo>
                <a:lnTo>
                  <a:pt x="1639" y="1913"/>
                </a:lnTo>
                <a:lnTo>
                  <a:pt x="1639" y="1922"/>
                </a:lnTo>
                <a:lnTo>
                  <a:pt x="1649" y="1932"/>
                </a:lnTo>
                <a:lnTo>
                  <a:pt x="1649" y="1942"/>
                </a:lnTo>
                <a:lnTo>
                  <a:pt x="1649" y="1952"/>
                </a:lnTo>
                <a:lnTo>
                  <a:pt x="1649" y="1961"/>
                </a:lnTo>
                <a:lnTo>
                  <a:pt x="1629" y="1961"/>
                </a:lnTo>
                <a:lnTo>
                  <a:pt x="1620" y="1961"/>
                </a:lnTo>
                <a:lnTo>
                  <a:pt x="1629" y="1971"/>
                </a:lnTo>
                <a:lnTo>
                  <a:pt x="1649" y="1981"/>
                </a:lnTo>
                <a:lnTo>
                  <a:pt x="1659" y="1991"/>
                </a:lnTo>
                <a:lnTo>
                  <a:pt x="1678" y="2001"/>
                </a:lnTo>
                <a:lnTo>
                  <a:pt x="1668" y="2020"/>
                </a:lnTo>
                <a:lnTo>
                  <a:pt x="1659" y="2049"/>
                </a:lnTo>
                <a:lnTo>
                  <a:pt x="1659" y="2069"/>
                </a:lnTo>
                <a:lnTo>
                  <a:pt x="1678" y="2069"/>
                </a:lnTo>
                <a:lnTo>
                  <a:pt x="1698" y="2088"/>
                </a:lnTo>
                <a:lnTo>
                  <a:pt x="1707" y="2098"/>
                </a:lnTo>
                <a:lnTo>
                  <a:pt x="1707" y="2108"/>
                </a:lnTo>
                <a:lnTo>
                  <a:pt x="1707" y="2127"/>
                </a:lnTo>
                <a:lnTo>
                  <a:pt x="1698" y="2137"/>
                </a:lnTo>
                <a:lnTo>
                  <a:pt x="1698" y="2157"/>
                </a:lnTo>
                <a:lnTo>
                  <a:pt x="1698" y="2166"/>
                </a:lnTo>
                <a:lnTo>
                  <a:pt x="1688" y="2186"/>
                </a:lnTo>
                <a:lnTo>
                  <a:pt x="1688" y="2205"/>
                </a:lnTo>
                <a:lnTo>
                  <a:pt x="1707" y="2225"/>
                </a:lnTo>
                <a:lnTo>
                  <a:pt x="1659" y="2244"/>
                </a:lnTo>
                <a:lnTo>
                  <a:pt x="1629" y="2254"/>
                </a:lnTo>
                <a:lnTo>
                  <a:pt x="1590" y="2274"/>
                </a:lnTo>
                <a:lnTo>
                  <a:pt x="1590" y="2293"/>
                </a:lnTo>
                <a:lnTo>
                  <a:pt x="1600" y="2303"/>
                </a:lnTo>
                <a:lnTo>
                  <a:pt x="1590" y="2313"/>
                </a:lnTo>
                <a:lnTo>
                  <a:pt x="1551" y="2322"/>
                </a:lnTo>
                <a:lnTo>
                  <a:pt x="1532" y="2322"/>
                </a:lnTo>
                <a:lnTo>
                  <a:pt x="1522" y="2322"/>
                </a:lnTo>
                <a:lnTo>
                  <a:pt x="1512" y="2322"/>
                </a:lnTo>
                <a:lnTo>
                  <a:pt x="1512" y="2342"/>
                </a:lnTo>
                <a:lnTo>
                  <a:pt x="1493" y="2342"/>
                </a:lnTo>
                <a:lnTo>
                  <a:pt x="1493" y="2332"/>
                </a:lnTo>
                <a:lnTo>
                  <a:pt x="1483" y="2342"/>
                </a:lnTo>
                <a:lnTo>
                  <a:pt x="1473" y="2342"/>
                </a:lnTo>
                <a:lnTo>
                  <a:pt x="1454" y="2342"/>
                </a:lnTo>
                <a:lnTo>
                  <a:pt x="1444" y="2362"/>
                </a:lnTo>
                <a:lnTo>
                  <a:pt x="1425" y="2362"/>
                </a:lnTo>
                <a:lnTo>
                  <a:pt x="1415" y="2352"/>
                </a:lnTo>
                <a:lnTo>
                  <a:pt x="1405" y="2342"/>
                </a:lnTo>
                <a:lnTo>
                  <a:pt x="1395" y="2352"/>
                </a:lnTo>
                <a:lnTo>
                  <a:pt x="1386" y="2352"/>
                </a:lnTo>
                <a:lnTo>
                  <a:pt x="1356" y="2352"/>
                </a:lnTo>
                <a:lnTo>
                  <a:pt x="1327" y="2362"/>
                </a:lnTo>
                <a:lnTo>
                  <a:pt x="1308" y="2371"/>
                </a:lnTo>
                <a:lnTo>
                  <a:pt x="1298" y="2362"/>
                </a:lnTo>
                <a:lnTo>
                  <a:pt x="1278" y="2342"/>
                </a:lnTo>
                <a:lnTo>
                  <a:pt x="1259" y="2332"/>
                </a:lnTo>
                <a:lnTo>
                  <a:pt x="1239" y="2332"/>
                </a:lnTo>
                <a:lnTo>
                  <a:pt x="1220" y="2332"/>
                </a:lnTo>
                <a:lnTo>
                  <a:pt x="1190" y="2332"/>
                </a:lnTo>
                <a:lnTo>
                  <a:pt x="1181" y="2332"/>
                </a:lnTo>
                <a:lnTo>
                  <a:pt x="1181" y="2352"/>
                </a:lnTo>
                <a:lnTo>
                  <a:pt x="1161" y="2352"/>
                </a:lnTo>
                <a:lnTo>
                  <a:pt x="1142" y="2342"/>
                </a:lnTo>
                <a:lnTo>
                  <a:pt x="1132" y="2322"/>
                </a:lnTo>
                <a:lnTo>
                  <a:pt x="1112" y="2342"/>
                </a:lnTo>
                <a:lnTo>
                  <a:pt x="1093" y="2332"/>
                </a:lnTo>
                <a:lnTo>
                  <a:pt x="1083" y="2322"/>
                </a:lnTo>
                <a:lnTo>
                  <a:pt x="1064" y="2322"/>
                </a:lnTo>
                <a:lnTo>
                  <a:pt x="1044" y="2322"/>
                </a:lnTo>
                <a:lnTo>
                  <a:pt x="1015" y="2332"/>
                </a:lnTo>
                <a:lnTo>
                  <a:pt x="1005" y="2342"/>
                </a:lnTo>
                <a:lnTo>
                  <a:pt x="995" y="2352"/>
                </a:lnTo>
                <a:lnTo>
                  <a:pt x="976" y="2342"/>
                </a:lnTo>
                <a:lnTo>
                  <a:pt x="947" y="2303"/>
                </a:lnTo>
                <a:lnTo>
                  <a:pt x="947" y="2283"/>
                </a:lnTo>
                <a:lnTo>
                  <a:pt x="937" y="2283"/>
                </a:lnTo>
                <a:close/>
              </a:path>
            </a:pathLst>
          </a:custGeom>
          <a:solidFill>
            <a:srgbClr val="FEE950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522" name="Freeform 284"/>
          <p:cNvSpPr>
            <a:spLocks noChangeAspect="1"/>
          </p:cNvSpPr>
          <p:nvPr>
            <p:custDataLst>
              <p:tags r:id="rId88"/>
            </p:custDataLst>
          </p:nvPr>
        </p:nvSpPr>
        <p:spPr bwMode="auto">
          <a:xfrm>
            <a:off x="6697663" y="3608388"/>
            <a:ext cx="560387" cy="649287"/>
          </a:xfrm>
          <a:custGeom>
            <a:avLst/>
            <a:gdLst>
              <a:gd name="T0" fmla="*/ 142935 w 839"/>
              <a:gd name="T1" fmla="*/ 78362 h 1044"/>
              <a:gd name="T2" fmla="*/ 104196 w 839"/>
              <a:gd name="T3" fmla="*/ 108837 h 1044"/>
              <a:gd name="T4" fmla="*/ 104196 w 839"/>
              <a:gd name="T5" fmla="*/ 139311 h 1044"/>
              <a:gd name="T6" fmla="*/ 116886 w 839"/>
              <a:gd name="T7" fmla="*/ 176004 h 1044"/>
              <a:gd name="T8" fmla="*/ 110875 w 839"/>
              <a:gd name="T9" fmla="*/ 224514 h 1044"/>
              <a:gd name="T10" fmla="*/ 142935 w 839"/>
              <a:gd name="T11" fmla="*/ 266805 h 1044"/>
              <a:gd name="T12" fmla="*/ 110875 w 839"/>
              <a:gd name="T13" fmla="*/ 309096 h 1044"/>
              <a:gd name="T14" fmla="*/ 71468 w 839"/>
              <a:gd name="T15" fmla="*/ 309096 h 1044"/>
              <a:gd name="T16" fmla="*/ 38740 w 839"/>
              <a:gd name="T17" fmla="*/ 333351 h 1044"/>
              <a:gd name="T18" fmla="*/ 58777 w 839"/>
              <a:gd name="T19" fmla="*/ 363825 h 1044"/>
              <a:gd name="T20" fmla="*/ 32728 w 839"/>
              <a:gd name="T21" fmla="*/ 370044 h 1044"/>
              <a:gd name="T22" fmla="*/ 6679 w 839"/>
              <a:gd name="T23" fmla="*/ 406116 h 1044"/>
              <a:gd name="T24" fmla="*/ 26049 w 839"/>
              <a:gd name="T25" fmla="*/ 467064 h 1044"/>
              <a:gd name="T26" fmla="*/ 52098 w 839"/>
              <a:gd name="T27" fmla="*/ 515574 h 1044"/>
              <a:gd name="T28" fmla="*/ 136924 w 839"/>
              <a:gd name="T29" fmla="*/ 527391 h 1044"/>
              <a:gd name="T30" fmla="*/ 175664 w 839"/>
              <a:gd name="T31" fmla="*/ 588339 h 1044"/>
              <a:gd name="T32" fmla="*/ 175664 w 839"/>
              <a:gd name="T33" fmla="*/ 630630 h 1044"/>
              <a:gd name="T34" fmla="*/ 208392 w 839"/>
              <a:gd name="T35" fmla="*/ 612594 h 1044"/>
              <a:gd name="T36" fmla="*/ 247131 w 839"/>
              <a:gd name="T37" fmla="*/ 625033 h 1044"/>
              <a:gd name="T38" fmla="*/ 273180 w 839"/>
              <a:gd name="T39" fmla="*/ 643069 h 1044"/>
              <a:gd name="T40" fmla="*/ 293218 w 839"/>
              <a:gd name="T41" fmla="*/ 625033 h 1044"/>
              <a:gd name="T42" fmla="*/ 331957 w 839"/>
              <a:gd name="T43" fmla="*/ 612594 h 1044"/>
              <a:gd name="T44" fmla="*/ 325946 w 839"/>
              <a:gd name="T45" fmla="*/ 600778 h 1044"/>
              <a:gd name="T46" fmla="*/ 325946 w 839"/>
              <a:gd name="T47" fmla="*/ 564084 h 1044"/>
              <a:gd name="T48" fmla="*/ 378044 w 839"/>
              <a:gd name="T49" fmla="*/ 557865 h 1044"/>
              <a:gd name="T50" fmla="*/ 397414 w 839"/>
              <a:gd name="T51" fmla="*/ 533610 h 1044"/>
              <a:gd name="T52" fmla="*/ 430142 w 839"/>
              <a:gd name="T53" fmla="*/ 527391 h 1044"/>
              <a:gd name="T54" fmla="*/ 410104 w 839"/>
              <a:gd name="T55" fmla="*/ 564084 h 1044"/>
              <a:gd name="T56" fmla="*/ 442833 w 839"/>
              <a:gd name="T57" fmla="*/ 533610 h 1044"/>
              <a:gd name="T58" fmla="*/ 462202 w 839"/>
              <a:gd name="T59" fmla="*/ 515574 h 1044"/>
              <a:gd name="T60" fmla="*/ 488251 w 839"/>
              <a:gd name="T61" fmla="*/ 491319 h 1044"/>
              <a:gd name="T62" fmla="*/ 501610 w 839"/>
              <a:gd name="T63" fmla="*/ 467064 h 1044"/>
              <a:gd name="T64" fmla="*/ 488251 w 839"/>
              <a:gd name="T65" fmla="*/ 449029 h 1044"/>
              <a:gd name="T66" fmla="*/ 462202 w 839"/>
              <a:gd name="T67" fmla="*/ 467064 h 1044"/>
              <a:gd name="T68" fmla="*/ 442833 w 839"/>
              <a:gd name="T69" fmla="*/ 430371 h 1044"/>
              <a:gd name="T70" fmla="*/ 436153 w 839"/>
              <a:gd name="T71" fmla="*/ 394299 h 1044"/>
              <a:gd name="T72" fmla="*/ 436153 w 839"/>
              <a:gd name="T73" fmla="*/ 357606 h 1044"/>
              <a:gd name="T74" fmla="*/ 416784 w 839"/>
              <a:gd name="T75" fmla="*/ 302877 h 1044"/>
              <a:gd name="T76" fmla="*/ 430142 w 839"/>
              <a:gd name="T77" fmla="*/ 260586 h 1044"/>
              <a:gd name="T78" fmla="*/ 449512 w 839"/>
              <a:gd name="T79" fmla="*/ 224514 h 1044"/>
              <a:gd name="T80" fmla="*/ 482240 w 839"/>
              <a:gd name="T81" fmla="*/ 218295 h 1044"/>
              <a:gd name="T82" fmla="*/ 501610 w 839"/>
              <a:gd name="T83" fmla="*/ 212076 h 1044"/>
              <a:gd name="T84" fmla="*/ 527659 w 839"/>
              <a:gd name="T85" fmla="*/ 248769 h 1044"/>
              <a:gd name="T86" fmla="*/ 540349 w 839"/>
              <a:gd name="T87" fmla="*/ 242550 h 1044"/>
              <a:gd name="T88" fmla="*/ 560387 w 839"/>
              <a:gd name="T89" fmla="*/ 230112 h 1044"/>
              <a:gd name="T90" fmla="*/ 553708 w 839"/>
              <a:gd name="T91" fmla="*/ 187821 h 1044"/>
              <a:gd name="T92" fmla="*/ 547029 w 839"/>
              <a:gd name="T93" fmla="*/ 145530 h 1044"/>
              <a:gd name="T94" fmla="*/ 514300 w 839"/>
              <a:gd name="T95" fmla="*/ 126872 h 1044"/>
              <a:gd name="T96" fmla="*/ 462202 w 839"/>
              <a:gd name="T97" fmla="*/ 90801 h 1044"/>
              <a:gd name="T98" fmla="*/ 442833 w 839"/>
              <a:gd name="T99" fmla="*/ 54107 h 1044"/>
              <a:gd name="T100" fmla="*/ 410104 w 839"/>
              <a:gd name="T101" fmla="*/ 42291 h 1044"/>
              <a:gd name="T102" fmla="*/ 390735 w 839"/>
              <a:gd name="T103" fmla="*/ 11817 h 1044"/>
              <a:gd name="T104" fmla="*/ 325946 w 839"/>
              <a:gd name="T105" fmla="*/ 18036 h 1044"/>
              <a:gd name="T106" fmla="*/ 273180 w 839"/>
              <a:gd name="T107" fmla="*/ 42291 h 1044"/>
              <a:gd name="T108" fmla="*/ 234441 w 839"/>
              <a:gd name="T109" fmla="*/ 48510 h 104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839"/>
              <a:gd name="T166" fmla="*/ 0 h 1044"/>
              <a:gd name="T167" fmla="*/ 839 w 839"/>
              <a:gd name="T168" fmla="*/ 1044 h 1044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839" h="1044">
                <a:moveTo>
                  <a:pt x="253" y="48"/>
                </a:moveTo>
                <a:lnTo>
                  <a:pt x="263" y="68"/>
                </a:lnTo>
                <a:lnTo>
                  <a:pt x="253" y="87"/>
                </a:lnTo>
                <a:lnTo>
                  <a:pt x="253" y="126"/>
                </a:lnTo>
                <a:lnTo>
                  <a:pt x="214" y="126"/>
                </a:lnTo>
                <a:lnTo>
                  <a:pt x="205" y="136"/>
                </a:lnTo>
                <a:lnTo>
                  <a:pt x="205" y="146"/>
                </a:lnTo>
                <a:lnTo>
                  <a:pt x="205" y="156"/>
                </a:lnTo>
                <a:lnTo>
                  <a:pt x="175" y="175"/>
                </a:lnTo>
                <a:lnTo>
                  <a:pt x="156" y="175"/>
                </a:lnTo>
                <a:lnTo>
                  <a:pt x="156" y="195"/>
                </a:lnTo>
                <a:lnTo>
                  <a:pt x="136" y="195"/>
                </a:lnTo>
                <a:lnTo>
                  <a:pt x="136" y="204"/>
                </a:lnTo>
                <a:lnTo>
                  <a:pt x="146" y="214"/>
                </a:lnTo>
                <a:lnTo>
                  <a:pt x="156" y="224"/>
                </a:lnTo>
                <a:lnTo>
                  <a:pt x="156" y="234"/>
                </a:lnTo>
                <a:lnTo>
                  <a:pt x="146" y="244"/>
                </a:lnTo>
                <a:lnTo>
                  <a:pt x="136" y="263"/>
                </a:lnTo>
                <a:lnTo>
                  <a:pt x="166" y="283"/>
                </a:lnTo>
                <a:lnTo>
                  <a:pt x="175" y="283"/>
                </a:lnTo>
                <a:lnTo>
                  <a:pt x="175" y="292"/>
                </a:lnTo>
                <a:lnTo>
                  <a:pt x="166" y="312"/>
                </a:lnTo>
                <a:lnTo>
                  <a:pt x="156" y="322"/>
                </a:lnTo>
                <a:lnTo>
                  <a:pt x="156" y="341"/>
                </a:lnTo>
                <a:lnTo>
                  <a:pt x="166" y="361"/>
                </a:lnTo>
                <a:lnTo>
                  <a:pt x="195" y="370"/>
                </a:lnTo>
                <a:lnTo>
                  <a:pt x="205" y="380"/>
                </a:lnTo>
                <a:lnTo>
                  <a:pt x="205" y="409"/>
                </a:lnTo>
                <a:lnTo>
                  <a:pt x="214" y="419"/>
                </a:lnTo>
                <a:lnTo>
                  <a:pt x="214" y="429"/>
                </a:lnTo>
                <a:lnTo>
                  <a:pt x="195" y="429"/>
                </a:lnTo>
                <a:lnTo>
                  <a:pt x="185" y="478"/>
                </a:lnTo>
                <a:lnTo>
                  <a:pt x="175" y="478"/>
                </a:lnTo>
                <a:lnTo>
                  <a:pt x="166" y="487"/>
                </a:lnTo>
                <a:lnTo>
                  <a:pt x="166" y="497"/>
                </a:lnTo>
                <a:lnTo>
                  <a:pt x="156" y="517"/>
                </a:lnTo>
                <a:lnTo>
                  <a:pt x="136" y="507"/>
                </a:lnTo>
                <a:lnTo>
                  <a:pt x="136" y="487"/>
                </a:lnTo>
                <a:lnTo>
                  <a:pt x="117" y="487"/>
                </a:lnTo>
                <a:lnTo>
                  <a:pt x="107" y="497"/>
                </a:lnTo>
                <a:lnTo>
                  <a:pt x="107" y="517"/>
                </a:lnTo>
                <a:lnTo>
                  <a:pt x="97" y="526"/>
                </a:lnTo>
                <a:lnTo>
                  <a:pt x="88" y="526"/>
                </a:lnTo>
                <a:lnTo>
                  <a:pt x="78" y="536"/>
                </a:lnTo>
                <a:lnTo>
                  <a:pt x="58" y="536"/>
                </a:lnTo>
                <a:lnTo>
                  <a:pt x="58" y="546"/>
                </a:lnTo>
                <a:lnTo>
                  <a:pt x="58" y="556"/>
                </a:lnTo>
                <a:lnTo>
                  <a:pt x="78" y="556"/>
                </a:lnTo>
                <a:lnTo>
                  <a:pt x="88" y="585"/>
                </a:lnTo>
                <a:lnTo>
                  <a:pt x="88" y="595"/>
                </a:lnTo>
                <a:lnTo>
                  <a:pt x="78" y="605"/>
                </a:lnTo>
                <a:lnTo>
                  <a:pt x="68" y="605"/>
                </a:lnTo>
                <a:lnTo>
                  <a:pt x="58" y="595"/>
                </a:lnTo>
                <a:lnTo>
                  <a:pt x="49" y="595"/>
                </a:lnTo>
                <a:lnTo>
                  <a:pt x="49" y="614"/>
                </a:lnTo>
                <a:lnTo>
                  <a:pt x="29" y="614"/>
                </a:lnTo>
                <a:lnTo>
                  <a:pt x="10" y="624"/>
                </a:lnTo>
                <a:lnTo>
                  <a:pt x="0" y="634"/>
                </a:lnTo>
                <a:lnTo>
                  <a:pt x="10" y="653"/>
                </a:lnTo>
                <a:lnTo>
                  <a:pt x="19" y="663"/>
                </a:lnTo>
                <a:lnTo>
                  <a:pt x="10" y="683"/>
                </a:lnTo>
                <a:lnTo>
                  <a:pt x="0" y="692"/>
                </a:lnTo>
                <a:lnTo>
                  <a:pt x="19" y="712"/>
                </a:lnTo>
                <a:lnTo>
                  <a:pt x="39" y="751"/>
                </a:lnTo>
                <a:lnTo>
                  <a:pt x="49" y="770"/>
                </a:lnTo>
                <a:lnTo>
                  <a:pt x="58" y="780"/>
                </a:lnTo>
                <a:lnTo>
                  <a:pt x="58" y="790"/>
                </a:lnTo>
                <a:lnTo>
                  <a:pt x="88" y="809"/>
                </a:lnTo>
                <a:lnTo>
                  <a:pt x="78" y="829"/>
                </a:lnTo>
                <a:lnTo>
                  <a:pt x="97" y="839"/>
                </a:lnTo>
                <a:lnTo>
                  <a:pt x="97" y="868"/>
                </a:lnTo>
                <a:lnTo>
                  <a:pt x="136" y="848"/>
                </a:lnTo>
                <a:lnTo>
                  <a:pt x="146" y="839"/>
                </a:lnTo>
                <a:lnTo>
                  <a:pt x="205" y="848"/>
                </a:lnTo>
                <a:lnTo>
                  <a:pt x="234" y="878"/>
                </a:lnTo>
                <a:lnTo>
                  <a:pt x="263" y="897"/>
                </a:lnTo>
                <a:lnTo>
                  <a:pt x="253" y="917"/>
                </a:lnTo>
                <a:lnTo>
                  <a:pt x="263" y="926"/>
                </a:lnTo>
                <a:lnTo>
                  <a:pt x="263" y="946"/>
                </a:lnTo>
                <a:lnTo>
                  <a:pt x="244" y="956"/>
                </a:lnTo>
                <a:lnTo>
                  <a:pt x="244" y="985"/>
                </a:lnTo>
                <a:lnTo>
                  <a:pt x="253" y="995"/>
                </a:lnTo>
                <a:lnTo>
                  <a:pt x="263" y="995"/>
                </a:lnTo>
                <a:lnTo>
                  <a:pt x="263" y="1014"/>
                </a:lnTo>
                <a:lnTo>
                  <a:pt x="273" y="1014"/>
                </a:lnTo>
                <a:lnTo>
                  <a:pt x="292" y="1005"/>
                </a:lnTo>
                <a:lnTo>
                  <a:pt x="302" y="1005"/>
                </a:lnTo>
                <a:lnTo>
                  <a:pt x="302" y="985"/>
                </a:lnTo>
                <a:lnTo>
                  <a:pt x="312" y="985"/>
                </a:lnTo>
                <a:lnTo>
                  <a:pt x="322" y="995"/>
                </a:lnTo>
                <a:lnTo>
                  <a:pt x="331" y="995"/>
                </a:lnTo>
                <a:lnTo>
                  <a:pt x="351" y="995"/>
                </a:lnTo>
                <a:lnTo>
                  <a:pt x="361" y="985"/>
                </a:lnTo>
                <a:lnTo>
                  <a:pt x="370" y="1005"/>
                </a:lnTo>
                <a:lnTo>
                  <a:pt x="380" y="1014"/>
                </a:lnTo>
                <a:lnTo>
                  <a:pt x="390" y="1024"/>
                </a:lnTo>
                <a:lnTo>
                  <a:pt x="390" y="1044"/>
                </a:lnTo>
                <a:lnTo>
                  <a:pt x="409" y="1034"/>
                </a:lnTo>
                <a:lnTo>
                  <a:pt x="419" y="1034"/>
                </a:lnTo>
                <a:lnTo>
                  <a:pt x="439" y="1034"/>
                </a:lnTo>
                <a:lnTo>
                  <a:pt x="439" y="1024"/>
                </a:lnTo>
                <a:lnTo>
                  <a:pt x="439" y="1014"/>
                </a:lnTo>
                <a:lnTo>
                  <a:pt x="439" y="1005"/>
                </a:lnTo>
                <a:lnTo>
                  <a:pt x="448" y="995"/>
                </a:lnTo>
                <a:lnTo>
                  <a:pt x="458" y="985"/>
                </a:lnTo>
                <a:lnTo>
                  <a:pt x="468" y="995"/>
                </a:lnTo>
                <a:lnTo>
                  <a:pt x="497" y="985"/>
                </a:lnTo>
                <a:lnTo>
                  <a:pt x="497" y="975"/>
                </a:lnTo>
                <a:lnTo>
                  <a:pt x="488" y="966"/>
                </a:lnTo>
                <a:lnTo>
                  <a:pt x="478" y="966"/>
                </a:lnTo>
                <a:lnTo>
                  <a:pt x="478" y="956"/>
                </a:lnTo>
                <a:lnTo>
                  <a:pt x="488" y="966"/>
                </a:lnTo>
                <a:lnTo>
                  <a:pt x="488" y="946"/>
                </a:lnTo>
                <a:lnTo>
                  <a:pt x="478" y="946"/>
                </a:lnTo>
                <a:lnTo>
                  <a:pt x="478" y="917"/>
                </a:lnTo>
                <a:lnTo>
                  <a:pt x="488" y="907"/>
                </a:lnTo>
                <a:lnTo>
                  <a:pt x="497" y="907"/>
                </a:lnTo>
                <a:lnTo>
                  <a:pt x="517" y="897"/>
                </a:lnTo>
                <a:lnTo>
                  <a:pt x="527" y="887"/>
                </a:lnTo>
                <a:lnTo>
                  <a:pt x="536" y="887"/>
                </a:lnTo>
                <a:lnTo>
                  <a:pt x="566" y="897"/>
                </a:lnTo>
                <a:lnTo>
                  <a:pt x="575" y="878"/>
                </a:lnTo>
                <a:lnTo>
                  <a:pt x="566" y="878"/>
                </a:lnTo>
                <a:lnTo>
                  <a:pt x="566" y="868"/>
                </a:lnTo>
                <a:lnTo>
                  <a:pt x="585" y="848"/>
                </a:lnTo>
                <a:lnTo>
                  <a:pt x="595" y="858"/>
                </a:lnTo>
                <a:lnTo>
                  <a:pt x="614" y="868"/>
                </a:lnTo>
                <a:lnTo>
                  <a:pt x="624" y="858"/>
                </a:lnTo>
                <a:lnTo>
                  <a:pt x="644" y="848"/>
                </a:lnTo>
                <a:lnTo>
                  <a:pt x="653" y="848"/>
                </a:lnTo>
                <a:lnTo>
                  <a:pt x="644" y="848"/>
                </a:lnTo>
                <a:lnTo>
                  <a:pt x="644" y="868"/>
                </a:lnTo>
                <a:lnTo>
                  <a:pt x="614" y="878"/>
                </a:lnTo>
                <a:lnTo>
                  <a:pt x="614" y="887"/>
                </a:lnTo>
                <a:lnTo>
                  <a:pt x="605" y="907"/>
                </a:lnTo>
                <a:lnTo>
                  <a:pt x="614" y="907"/>
                </a:lnTo>
                <a:lnTo>
                  <a:pt x="644" y="917"/>
                </a:lnTo>
                <a:lnTo>
                  <a:pt x="653" y="907"/>
                </a:lnTo>
                <a:lnTo>
                  <a:pt x="663" y="897"/>
                </a:lnTo>
                <a:lnTo>
                  <a:pt x="663" y="887"/>
                </a:lnTo>
                <a:lnTo>
                  <a:pt x="663" y="858"/>
                </a:lnTo>
                <a:lnTo>
                  <a:pt x="673" y="858"/>
                </a:lnTo>
                <a:lnTo>
                  <a:pt x="683" y="858"/>
                </a:lnTo>
                <a:lnTo>
                  <a:pt x="702" y="848"/>
                </a:lnTo>
                <a:lnTo>
                  <a:pt x="692" y="829"/>
                </a:lnTo>
                <a:lnTo>
                  <a:pt x="702" y="819"/>
                </a:lnTo>
                <a:lnTo>
                  <a:pt x="692" y="809"/>
                </a:lnTo>
                <a:lnTo>
                  <a:pt x="702" y="790"/>
                </a:lnTo>
                <a:lnTo>
                  <a:pt x="722" y="790"/>
                </a:lnTo>
                <a:lnTo>
                  <a:pt x="731" y="790"/>
                </a:lnTo>
                <a:lnTo>
                  <a:pt x="731" y="780"/>
                </a:lnTo>
                <a:lnTo>
                  <a:pt x="741" y="770"/>
                </a:lnTo>
                <a:lnTo>
                  <a:pt x="741" y="761"/>
                </a:lnTo>
                <a:lnTo>
                  <a:pt x="751" y="761"/>
                </a:lnTo>
                <a:lnTo>
                  <a:pt x="751" y="751"/>
                </a:lnTo>
                <a:lnTo>
                  <a:pt x="770" y="741"/>
                </a:lnTo>
                <a:lnTo>
                  <a:pt x="770" y="731"/>
                </a:lnTo>
                <a:lnTo>
                  <a:pt x="751" y="712"/>
                </a:lnTo>
                <a:lnTo>
                  <a:pt x="731" y="712"/>
                </a:lnTo>
                <a:lnTo>
                  <a:pt x="731" y="722"/>
                </a:lnTo>
                <a:lnTo>
                  <a:pt x="722" y="722"/>
                </a:lnTo>
                <a:lnTo>
                  <a:pt x="712" y="731"/>
                </a:lnTo>
                <a:lnTo>
                  <a:pt x="712" y="741"/>
                </a:lnTo>
                <a:lnTo>
                  <a:pt x="702" y="751"/>
                </a:lnTo>
                <a:lnTo>
                  <a:pt x="692" y="751"/>
                </a:lnTo>
                <a:lnTo>
                  <a:pt x="692" y="731"/>
                </a:lnTo>
                <a:lnTo>
                  <a:pt x="683" y="731"/>
                </a:lnTo>
                <a:lnTo>
                  <a:pt x="673" y="712"/>
                </a:lnTo>
                <a:lnTo>
                  <a:pt x="663" y="692"/>
                </a:lnTo>
                <a:lnTo>
                  <a:pt x="673" y="683"/>
                </a:lnTo>
                <a:lnTo>
                  <a:pt x="663" y="683"/>
                </a:lnTo>
                <a:lnTo>
                  <a:pt x="663" y="663"/>
                </a:lnTo>
                <a:lnTo>
                  <a:pt x="663" y="644"/>
                </a:lnTo>
                <a:lnTo>
                  <a:pt x="653" y="634"/>
                </a:lnTo>
                <a:lnTo>
                  <a:pt x="663" y="614"/>
                </a:lnTo>
                <a:lnTo>
                  <a:pt x="663" y="595"/>
                </a:lnTo>
                <a:lnTo>
                  <a:pt x="663" y="575"/>
                </a:lnTo>
                <a:lnTo>
                  <a:pt x="653" y="575"/>
                </a:lnTo>
                <a:lnTo>
                  <a:pt x="644" y="556"/>
                </a:lnTo>
                <a:lnTo>
                  <a:pt x="644" y="536"/>
                </a:lnTo>
                <a:lnTo>
                  <a:pt x="644" y="517"/>
                </a:lnTo>
                <a:lnTo>
                  <a:pt x="634" y="497"/>
                </a:lnTo>
                <a:lnTo>
                  <a:pt x="624" y="487"/>
                </a:lnTo>
                <a:lnTo>
                  <a:pt x="634" y="478"/>
                </a:lnTo>
                <a:lnTo>
                  <a:pt x="634" y="458"/>
                </a:lnTo>
                <a:lnTo>
                  <a:pt x="634" y="429"/>
                </a:lnTo>
                <a:lnTo>
                  <a:pt x="644" y="429"/>
                </a:lnTo>
                <a:lnTo>
                  <a:pt x="644" y="419"/>
                </a:lnTo>
                <a:lnTo>
                  <a:pt x="663" y="419"/>
                </a:lnTo>
                <a:lnTo>
                  <a:pt x="663" y="400"/>
                </a:lnTo>
                <a:lnTo>
                  <a:pt x="663" y="390"/>
                </a:lnTo>
                <a:lnTo>
                  <a:pt x="673" y="370"/>
                </a:lnTo>
                <a:lnTo>
                  <a:pt x="673" y="361"/>
                </a:lnTo>
                <a:lnTo>
                  <a:pt x="683" y="351"/>
                </a:lnTo>
                <a:lnTo>
                  <a:pt x="692" y="361"/>
                </a:lnTo>
                <a:lnTo>
                  <a:pt x="702" y="351"/>
                </a:lnTo>
                <a:lnTo>
                  <a:pt x="712" y="361"/>
                </a:lnTo>
                <a:lnTo>
                  <a:pt x="722" y="351"/>
                </a:lnTo>
                <a:lnTo>
                  <a:pt x="722" y="331"/>
                </a:lnTo>
                <a:lnTo>
                  <a:pt x="722" y="312"/>
                </a:lnTo>
                <a:lnTo>
                  <a:pt x="731" y="312"/>
                </a:lnTo>
                <a:lnTo>
                  <a:pt x="731" y="322"/>
                </a:lnTo>
                <a:lnTo>
                  <a:pt x="751" y="341"/>
                </a:lnTo>
                <a:lnTo>
                  <a:pt x="761" y="361"/>
                </a:lnTo>
                <a:lnTo>
                  <a:pt x="761" y="380"/>
                </a:lnTo>
                <a:lnTo>
                  <a:pt x="770" y="380"/>
                </a:lnTo>
                <a:lnTo>
                  <a:pt x="790" y="380"/>
                </a:lnTo>
                <a:lnTo>
                  <a:pt x="790" y="400"/>
                </a:lnTo>
                <a:lnTo>
                  <a:pt x="790" y="380"/>
                </a:lnTo>
                <a:lnTo>
                  <a:pt x="800" y="370"/>
                </a:lnTo>
                <a:lnTo>
                  <a:pt x="809" y="380"/>
                </a:lnTo>
                <a:lnTo>
                  <a:pt x="809" y="390"/>
                </a:lnTo>
                <a:lnTo>
                  <a:pt x="829" y="409"/>
                </a:lnTo>
                <a:lnTo>
                  <a:pt x="839" y="400"/>
                </a:lnTo>
                <a:lnTo>
                  <a:pt x="829" y="390"/>
                </a:lnTo>
                <a:lnTo>
                  <a:pt x="839" y="380"/>
                </a:lnTo>
                <a:lnTo>
                  <a:pt x="839" y="370"/>
                </a:lnTo>
                <a:lnTo>
                  <a:pt x="839" y="361"/>
                </a:lnTo>
                <a:lnTo>
                  <a:pt x="829" y="341"/>
                </a:lnTo>
                <a:lnTo>
                  <a:pt x="829" y="322"/>
                </a:lnTo>
                <a:lnTo>
                  <a:pt x="829" y="302"/>
                </a:lnTo>
                <a:lnTo>
                  <a:pt x="829" y="283"/>
                </a:lnTo>
                <a:lnTo>
                  <a:pt x="819" y="273"/>
                </a:lnTo>
                <a:lnTo>
                  <a:pt x="819" y="263"/>
                </a:lnTo>
                <a:lnTo>
                  <a:pt x="819" y="244"/>
                </a:lnTo>
                <a:lnTo>
                  <a:pt x="819" y="234"/>
                </a:lnTo>
                <a:lnTo>
                  <a:pt x="790" y="224"/>
                </a:lnTo>
                <a:lnTo>
                  <a:pt x="790" y="204"/>
                </a:lnTo>
                <a:lnTo>
                  <a:pt x="770" y="204"/>
                </a:lnTo>
                <a:lnTo>
                  <a:pt x="770" y="195"/>
                </a:lnTo>
                <a:lnTo>
                  <a:pt x="761" y="175"/>
                </a:lnTo>
                <a:lnTo>
                  <a:pt x="741" y="165"/>
                </a:lnTo>
                <a:lnTo>
                  <a:pt x="731" y="146"/>
                </a:lnTo>
                <a:lnTo>
                  <a:pt x="692" y="146"/>
                </a:lnTo>
                <a:lnTo>
                  <a:pt x="683" y="146"/>
                </a:lnTo>
                <a:lnTo>
                  <a:pt x="683" y="117"/>
                </a:lnTo>
                <a:lnTo>
                  <a:pt x="663" y="117"/>
                </a:lnTo>
                <a:lnTo>
                  <a:pt x="663" y="107"/>
                </a:lnTo>
                <a:lnTo>
                  <a:pt x="663" y="87"/>
                </a:lnTo>
                <a:lnTo>
                  <a:pt x="653" y="78"/>
                </a:lnTo>
                <a:lnTo>
                  <a:pt x="644" y="68"/>
                </a:lnTo>
                <a:lnTo>
                  <a:pt x="634" y="78"/>
                </a:lnTo>
                <a:lnTo>
                  <a:pt x="614" y="78"/>
                </a:lnTo>
                <a:lnTo>
                  <a:pt x="614" y="68"/>
                </a:lnTo>
                <a:lnTo>
                  <a:pt x="614" y="58"/>
                </a:lnTo>
                <a:lnTo>
                  <a:pt x="595" y="48"/>
                </a:lnTo>
                <a:lnTo>
                  <a:pt x="585" y="39"/>
                </a:lnTo>
                <a:lnTo>
                  <a:pt x="585" y="29"/>
                </a:lnTo>
                <a:lnTo>
                  <a:pt x="585" y="19"/>
                </a:lnTo>
                <a:lnTo>
                  <a:pt x="566" y="19"/>
                </a:lnTo>
                <a:lnTo>
                  <a:pt x="556" y="0"/>
                </a:lnTo>
                <a:lnTo>
                  <a:pt x="527" y="0"/>
                </a:lnTo>
                <a:lnTo>
                  <a:pt x="507" y="9"/>
                </a:lnTo>
                <a:lnTo>
                  <a:pt x="488" y="29"/>
                </a:lnTo>
                <a:lnTo>
                  <a:pt x="468" y="29"/>
                </a:lnTo>
                <a:lnTo>
                  <a:pt x="439" y="39"/>
                </a:lnTo>
                <a:lnTo>
                  <a:pt x="439" y="48"/>
                </a:lnTo>
                <a:lnTo>
                  <a:pt x="429" y="68"/>
                </a:lnTo>
                <a:lnTo>
                  <a:pt x="409" y="68"/>
                </a:lnTo>
                <a:lnTo>
                  <a:pt x="400" y="68"/>
                </a:lnTo>
                <a:lnTo>
                  <a:pt x="390" y="68"/>
                </a:lnTo>
                <a:lnTo>
                  <a:pt x="370" y="68"/>
                </a:lnTo>
                <a:lnTo>
                  <a:pt x="351" y="68"/>
                </a:lnTo>
                <a:lnTo>
                  <a:pt x="351" y="78"/>
                </a:lnTo>
                <a:lnTo>
                  <a:pt x="322" y="78"/>
                </a:lnTo>
                <a:lnTo>
                  <a:pt x="302" y="68"/>
                </a:lnTo>
                <a:lnTo>
                  <a:pt x="292" y="48"/>
                </a:lnTo>
                <a:lnTo>
                  <a:pt x="253" y="48"/>
                </a:lnTo>
                <a:close/>
              </a:path>
            </a:pathLst>
          </a:custGeom>
          <a:solidFill>
            <a:srgbClr val="CCECFF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grpSp>
        <p:nvGrpSpPr>
          <p:cNvPr id="18523" name="Group 281"/>
          <p:cNvGrpSpPr>
            <a:grpSpLocks noChangeAspect="1"/>
          </p:cNvGrpSpPr>
          <p:nvPr>
            <p:custDataLst>
              <p:tags r:id="rId89"/>
            </p:custDataLst>
          </p:nvPr>
        </p:nvGrpSpPr>
        <p:grpSpPr bwMode="auto">
          <a:xfrm>
            <a:off x="6697663" y="3608388"/>
            <a:ext cx="560387" cy="649287"/>
            <a:chOff x="7550" y="1220"/>
            <a:chExt cx="839" cy="1044"/>
          </a:xfrm>
        </p:grpSpPr>
        <p:sp>
          <p:nvSpPr>
            <p:cNvPr id="18788" name="Freeform 283"/>
            <p:cNvSpPr>
              <a:spLocks noChangeAspect="1"/>
            </p:cNvSpPr>
            <p:nvPr/>
          </p:nvSpPr>
          <p:spPr bwMode="auto">
            <a:xfrm>
              <a:off x="7550" y="1220"/>
              <a:ext cx="839" cy="1044"/>
            </a:xfrm>
            <a:custGeom>
              <a:avLst/>
              <a:gdLst>
                <a:gd name="T0" fmla="*/ 214 w 839"/>
                <a:gd name="T1" fmla="*/ 126 h 1044"/>
                <a:gd name="T2" fmla="*/ 156 w 839"/>
                <a:gd name="T3" fmla="*/ 175 h 1044"/>
                <a:gd name="T4" fmla="*/ 156 w 839"/>
                <a:gd name="T5" fmla="*/ 224 h 1044"/>
                <a:gd name="T6" fmla="*/ 175 w 839"/>
                <a:gd name="T7" fmla="*/ 283 h 1044"/>
                <a:gd name="T8" fmla="*/ 166 w 839"/>
                <a:gd name="T9" fmla="*/ 361 h 1044"/>
                <a:gd name="T10" fmla="*/ 214 w 839"/>
                <a:gd name="T11" fmla="*/ 429 h 1044"/>
                <a:gd name="T12" fmla="*/ 166 w 839"/>
                <a:gd name="T13" fmla="*/ 497 h 1044"/>
                <a:gd name="T14" fmla="*/ 107 w 839"/>
                <a:gd name="T15" fmla="*/ 497 h 1044"/>
                <a:gd name="T16" fmla="*/ 58 w 839"/>
                <a:gd name="T17" fmla="*/ 536 h 1044"/>
                <a:gd name="T18" fmla="*/ 88 w 839"/>
                <a:gd name="T19" fmla="*/ 585 h 1044"/>
                <a:gd name="T20" fmla="*/ 49 w 839"/>
                <a:gd name="T21" fmla="*/ 595 h 1044"/>
                <a:gd name="T22" fmla="*/ 10 w 839"/>
                <a:gd name="T23" fmla="*/ 653 h 1044"/>
                <a:gd name="T24" fmla="*/ 39 w 839"/>
                <a:gd name="T25" fmla="*/ 751 h 1044"/>
                <a:gd name="T26" fmla="*/ 78 w 839"/>
                <a:gd name="T27" fmla="*/ 829 h 1044"/>
                <a:gd name="T28" fmla="*/ 205 w 839"/>
                <a:gd name="T29" fmla="*/ 848 h 1044"/>
                <a:gd name="T30" fmla="*/ 263 w 839"/>
                <a:gd name="T31" fmla="*/ 946 h 1044"/>
                <a:gd name="T32" fmla="*/ 263 w 839"/>
                <a:gd name="T33" fmla="*/ 1014 h 1044"/>
                <a:gd name="T34" fmla="*/ 312 w 839"/>
                <a:gd name="T35" fmla="*/ 985 h 1044"/>
                <a:gd name="T36" fmla="*/ 370 w 839"/>
                <a:gd name="T37" fmla="*/ 1005 h 1044"/>
                <a:gd name="T38" fmla="*/ 409 w 839"/>
                <a:gd name="T39" fmla="*/ 1034 h 1044"/>
                <a:gd name="T40" fmla="*/ 439 w 839"/>
                <a:gd name="T41" fmla="*/ 1005 h 1044"/>
                <a:gd name="T42" fmla="*/ 488 w 839"/>
                <a:gd name="T43" fmla="*/ 985 h 1044"/>
                <a:gd name="T44" fmla="*/ 488 w 839"/>
                <a:gd name="T45" fmla="*/ 966 h 1044"/>
                <a:gd name="T46" fmla="*/ 488 w 839"/>
                <a:gd name="T47" fmla="*/ 907 h 1044"/>
                <a:gd name="T48" fmla="*/ 566 w 839"/>
                <a:gd name="T49" fmla="*/ 897 h 1044"/>
                <a:gd name="T50" fmla="*/ 595 w 839"/>
                <a:gd name="T51" fmla="*/ 858 h 1044"/>
                <a:gd name="T52" fmla="*/ 644 w 839"/>
                <a:gd name="T53" fmla="*/ 848 h 1044"/>
                <a:gd name="T54" fmla="*/ 614 w 839"/>
                <a:gd name="T55" fmla="*/ 907 h 1044"/>
                <a:gd name="T56" fmla="*/ 663 w 839"/>
                <a:gd name="T57" fmla="*/ 858 h 1044"/>
                <a:gd name="T58" fmla="*/ 692 w 839"/>
                <a:gd name="T59" fmla="*/ 829 h 1044"/>
                <a:gd name="T60" fmla="*/ 731 w 839"/>
                <a:gd name="T61" fmla="*/ 790 h 1044"/>
                <a:gd name="T62" fmla="*/ 751 w 839"/>
                <a:gd name="T63" fmla="*/ 751 h 1044"/>
                <a:gd name="T64" fmla="*/ 731 w 839"/>
                <a:gd name="T65" fmla="*/ 722 h 1044"/>
                <a:gd name="T66" fmla="*/ 692 w 839"/>
                <a:gd name="T67" fmla="*/ 751 h 1044"/>
                <a:gd name="T68" fmla="*/ 663 w 839"/>
                <a:gd name="T69" fmla="*/ 692 h 1044"/>
                <a:gd name="T70" fmla="*/ 653 w 839"/>
                <a:gd name="T71" fmla="*/ 634 h 1044"/>
                <a:gd name="T72" fmla="*/ 653 w 839"/>
                <a:gd name="T73" fmla="*/ 575 h 1044"/>
                <a:gd name="T74" fmla="*/ 624 w 839"/>
                <a:gd name="T75" fmla="*/ 487 h 1044"/>
                <a:gd name="T76" fmla="*/ 644 w 839"/>
                <a:gd name="T77" fmla="*/ 419 h 1044"/>
                <a:gd name="T78" fmla="*/ 673 w 839"/>
                <a:gd name="T79" fmla="*/ 361 h 1044"/>
                <a:gd name="T80" fmla="*/ 722 w 839"/>
                <a:gd name="T81" fmla="*/ 351 h 1044"/>
                <a:gd name="T82" fmla="*/ 751 w 839"/>
                <a:gd name="T83" fmla="*/ 341 h 1044"/>
                <a:gd name="T84" fmla="*/ 780 w 839"/>
                <a:gd name="T85" fmla="*/ 400 h 1044"/>
                <a:gd name="T86" fmla="*/ 809 w 839"/>
                <a:gd name="T87" fmla="*/ 390 h 1044"/>
                <a:gd name="T88" fmla="*/ 839 w 839"/>
                <a:gd name="T89" fmla="*/ 370 h 1044"/>
                <a:gd name="T90" fmla="*/ 829 w 839"/>
                <a:gd name="T91" fmla="*/ 302 h 1044"/>
                <a:gd name="T92" fmla="*/ 819 w 839"/>
                <a:gd name="T93" fmla="*/ 244 h 1044"/>
                <a:gd name="T94" fmla="*/ 770 w 839"/>
                <a:gd name="T95" fmla="*/ 204 h 1044"/>
                <a:gd name="T96" fmla="*/ 692 w 839"/>
                <a:gd name="T97" fmla="*/ 146 h 1044"/>
                <a:gd name="T98" fmla="*/ 663 w 839"/>
                <a:gd name="T99" fmla="*/ 87 h 1044"/>
                <a:gd name="T100" fmla="*/ 614 w 839"/>
                <a:gd name="T101" fmla="*/ 68 h 1044"/>
                <a:gd name="T102" fmla="*/ 585 w 839"/>
                <a:gd name="T103" fmla="*/ 19 h 1044"/>
                <a:gd name="T104" fmla="*/ 488 w 839"/>
                <a:gd name="T105" fmla="*/ 29 h 1044"/>
                <a:gd name="T106" fmla="*/ 409 w 839"/>
                <a:gd name="T107" fmla="*/ 68 h 1044"/>
                <a:gd name="T108" fmla="*/ 341 w 839"/>
                <a:gd name="T109" fmla="*/ 78 h 104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39"/>
                <a:gd name="T166" fmla="*/ 0 h 1044"/>
                <a:gd name="T167" fmla="*/ 839 w 839"/>
                <a:gd name="T168" fmla="*/ 1044 h 104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39" h="1044">
                  <a:moveTo>
                    <a:pt x="253" y="48"/>
                  </a:moveTo>
                  <a:lnTo>
                    <a:pt x="263" y="68"/>
                  </a:lnTo>
                  <a:lnTo>
                    <a:pt x="253" y="87"/>
                  </a:lnTo>
                  <a:lnTo>
                    <a:pt x="253" y="126"/>
                  </a:lnTo>
                  <a:lnTo>
                    <a:pt x="214" y="126"/>
                  </a:lnTo>
                  <a:lnTo>
                    <a:pt x="205" y="136"/>
                  </a:lnTo>
                  <a:lnTo>
                    <a:pt x="205" y="146"/>
                  </a:lnTo>
                  <a:lnTo>
                    <a:pt x="195" y="156"/>
                  </a:lnTo>
                  <a:lnTo>
                    <a:pt x="175" y="175"/>
                  </a:lnTo>
                  <a:lnTo>
                    <a:pt x="156" y="175"/>
                  </a:lnTo>
                  <a:lnTo>
                    <a:pt x="156" y="195"/>
                  </a:lnTo>
                  <a:lnTo>
                    <a:pt x="136" y="195"/>
                  </a:lnTo>
                  <a:lnTo>
                    <a:pt x="136" y="204"/>
                  </a:lnTo>
                  <a:lnTo>
                    <a:pt x="146" y="214"/>
                  </a:lnTo>
                  <a:lnTo>
                    <a:pt x="156" y="224"/>
                  </a:lnTo>
                  <a:lnTo>
                    <a:pt x="156" y="244"/>
                  </a:lnTo>
                  <a:lnTo>
                    <a:pt x="146" y="244"/>
                  </a:lnTo>
                  <a:lnTo>
                    <a:pt x="136" y="263"/>
                  </a:lnTo>
                  <a:lnTo>
                    <a:pt x="166" y="283"/>
                  </a:lnTo>
                  <a:lnTo>
                    <a:pt x="175" y="283"/>
                  </a:lnTo>
                  <a:lnTo>
                    <a:pt x="175" y="302"/>
                  </a:lnTo>
                  <a:lnTo>
                    <a:pt x="166" y="312"/>
                  </a:lnTo>
                  <a:lnTo>
                    <a:pt x="156" y="322"/>
                  </a:lnTo>
                  <a:lnTo>
                    <a:pt x="156" y="341"/>
                  </a:lnTo>
                  <a:lnTo>
                    <a:pt x="166" y="361"/>
                  </a:lnTo>
                  <a:lnTo>
                    <a:pt x="195" y="370"/>
                  </a:lnTo>
                  <a:lnTo>
                    <a:pt x="205" y="380"/>
                  </a:lnTo>
                  <a:lnTo>
                    <a:pt x="205" y="409"/>
                  </a:lnTo>
                  <a:lnTo>
                    <a:pt x="214" y="419"/>
                  </a:lnTo>
                  <a:lnTo>
                    <a:pt x="214" y="429"/>
                  </a:lnTo>
                  <a:lnTo>
                    <a:pt x="195" y="429"/>
                  </a:lnTo>
                  <a:lnTo>
                    <a:pt x="185" y="478"/>
                  </a:lnTo>
                  <a:lnTo>
                    <a:pt x="175" y="478"/>
                  </a:lnTo>
                  <a:lnTo>
                    <a:pt x="166" y="487"/>
                  </a:lnTo>
                  <a:lnTo>
                    <a:pt x="166" y="497"/>
                  </a:lnTo>
                  <a:lnTo>
                    <a:pt x="156" y="517"/>
                  </a:lnTo>
                  <a:lnTo>
                    <a:pt x="136" y="507"/>
                  </a:lnTo>
                  <a:lnTo>
                    <a:pt x="136" y="497"/>
                  </a:lnTo>
                  <a:lnTo>
                    <a:pt x="117" y="497"/>
                  </a:lnTo>
                  <a:lnTo>
                    <a:pt x="107" y="497"/>
                  </a:lnTo>
                  <a:lnTo>
                    <a:pt x="107" y="517"/>
                  </a:lnTo>
                  <a:lnTo>
                    <a:pt x="97" y="526"/>
                  </a:lnTo>
                  <a:lnTo>
                    <a:pt x="88" y="526"/>
                  </a:lnTo>
                  <a:lnTo>
                    <a:pt x="78" y="536"/>
                  </a:lnTo>
                  <a:lnTo>
                    <a:pt x="58" y="536"/>
                  </a:lnTo>
                  <a:lnTo>
                    <a:pt x="49" y="536"/>
                  </a:lnTo>
                  <a:lnTo>
                    <a:pt x="49" y="546"/>
                  </a:lnTo>
                  <a:lnTo>
                    <a:pt x="58" y="556"/>
                  </a:lnTo>
                  <a:lnTo>
                    <a:pt x="78" y="556"/>
                  </a:lnTo>
                  <a:lnTo>
                    <a:pt x="88" y="585"/>
                  </a:lnTo>
                  <a:lnTo>
                    <a:pt x="88" y="595"/>
                  </a:lnTo>
                  <a:lnTo>
                    <a:pt x="78" y="605"/>
                  </a:lnTo>
                  <a:lnTo>
                    <a:pt x="68" y="605"/>
                  </a:lnTo>
                  <a:lnTo>
                    <a:pt x="58" y="595"/>
                  </a:lnTo>
                  <a:lnTo>
                    <a:pt x="49" y="595"/>
                  </a:lnTo>
                  <a:lnTo>
                    <a:pt x="49" y="614"/>
                  </a:lnTo>
                  <a:lnTo>
                    <a:pt x="29" y="614"/>
                  </a:lnTo>
                  <a:lnTo>
                    <a:pt x="10" y="624"/>
                  </a:lnTo>
                  <a:lnTo>
                    <a:pt x="0" y="634"/>
                  </a:lnTo>
                  <a:lnTo>
                    <a:pt x="10" y="653"/>
                  </a:lnTo>
                  <a:lnTo>
                    <a:pt x="19" y="663"/>
                  </a:lnTo>
                  <a:lnTo>
                    <a:pt x="10" y="683"/>
                  </a:lnTo>
                  <a:lnTo>
                    <a:pt x="0" y="692"/>
                  </a:lnTo>
                  <a:lnTo>
                    <a:pt x="19" y="712"/>
                  </a:lnTo>
                  <a:lnTo>
                    <a:pt x="39" y="751"/>
                  </a:lnTo>
                  <a:lnTo>
                    <a:pt x="49" y="770"/>
                  </a:lnTo>
                  <a:lnTo>
                    <a:pt x="58" y="780"/>
                  </a:lnTo>
                  <a:lnTo>
                    <a:pt x="58" y="790"/>
                  </a:lnTo>
                  <a:lnTo>
                    <a:pt x="88" y="809"/>
                  </a:lnTo>
                  <a:lnTo>
                    <a:pt x="78" y="829"/>
                  </a:lnTo>
                  <a:lnTo>
                    <a:pt x="97" y="839"/>
                  </a:lnTo>
                  <a:lnTo>
                    <a:pt x="97" y="868"/>
                  </a:lnTo>
                  <a:lnTo>
                    <a:pt x="136" y="848"/>
                  </a:lnTo>
                  <a:lnTo>
                    <a:pt x="146" y="839"/>
                  </a:lnTo>
                  <a:lnTo>
                    <a:pt x="205" y="848"/>
                  </a:lnTo>
                  <a:lnTo>
                    <a:pt x="234" y="878"/>
                  </a:lnTo>
                  <a:lnTo>
                    <a:pt x="263" y="897"/>
                  </a:lnTo>
                  <a:lnTo>
                    <a:pt x="253" y="917"/>
                  </a:lnTo>
                  <a:lnTo>
                    <a:pt x="263" y="926"/>
                  </a:lnTo>
                  <a:lnTo>
                    <a:pt x="263" y="946"/>
                  </a:lnTo>
                  <a:lnTo>
                    <a:pt x="244" y="956"/>
                  </a:lnTo>
                  <a:lnTo>
                    <a:pt x="244" y="985"/>
                  </a:lnTo>
                  <a:lnTo>
                    <a:pt x="253" y="995"/>
                  </a:lnTo>
                  <a:lnTo>
                    <a:pt x="263" y="995"/>
                  </a:lnTo>
                  <a:lnTo>
                    <a:pt x="263" y="1014"/>
                  </a:lnTo>
                  <a:lnTo>
                    <a:pt x="273" y="1014"/>
                  </a:lnTo>
                  <a:lnTo>
                    <a:pt x="292" y="1005"/>
                  </a:lnTo>
                  <a:lnTo>
                    <a:pt x="302" y="1005"/>
                  </a:lnTo>
                  <a:lnTo>
                    <a:pt x="302" y="985"/>
                  </a:lnTo>
                  <a:lnTo>
                    <a:pt x="312" y="985"/>
                  </a:lnTo>
                  <a:lnTo>
                    <a:pt x="322" y="995"/>
                  </a:lnTo>
                  <a:lnTo>
                    <a:pt x="331" y="995"/>
                  </a:lnTo>
                  <a:lnTo>
                    <a:pt x="351" y="995"/>
                  </a:lnTo>
                  <a:lnTo>
                    <a:pt x="361" y="985"/>
                  </a:lnTo>
                  <a:lnTo>
                    <a:pt x="370" y="1005"/>
                  </a:lnTo>
                  <a:lnTo>
                    <a:pt x="380" y="1014"/>
                  </a:lnTo>
                  <a:lnTo>
                    <a:pt x="390" y="1024"/>
                  </a:lnTo>
                  <a:lnTo>
                    <a:pt x="390" y="1044"/>
                  </a:lnTo>
                  <a:lnTo>
                    <a:pt x="409" y="1034"/>
                  </a:lnTo>
                  <a:lnTo>
                    <a:pt x="419" y="1034"/>
                  </a:lnTo>
                  <a:lnTo>
                    <a:pt x="439" y="1034"/>
                  </a:lnTo>
                  <a:lnTo>
                    <a:pt x="439" y="1024"/>
                  </a:lnTo>
                  <a:lnTo>
                    <a:pt x="439" y="1014"/>
                  </a:lnTo>
                  <a:lnTo>
                    <a:pt x="439" y="1005"/>
                  </a:lnTo>
                  <a:lnTo>
                    <a:pt x="448" y="995"/>
                  </a:lnTo>
                  <a:lnTo>
                    <a:pt x="458" y="985"/>
                  </a:lnTo>
                  <a:lnTo>
                    <a:pt x="468" y="995"/>
                  </a:lnTo>
                  <a:lnTo>
                    <a:pt x="488" y="985"/>
                  </a:lnTo>
                  <a:lnTo>
                    <a:pt x="497" y="975"/>
                  </a:lnTo>
                  <a:lnTo>
                    <a:pt x="488" y="966"/>
                  </a:lnTo>
                  <a:lnTo>
                    <a:pt x="478" y="966"/>
                  </a:lnTo>
                  <a:lnTo>
                    <a:pt x="478" y="956"/>
                  </a:lnTo>
                  <a:lnTo>
                    <a:pt x="488" y="966"/>
                  </a:lnTo>
                  <a:lnTo>
                    <a:pt x="488" y="946"/>
                  </a:lnTo>
                  <a:lnTo>
                    <a:pt x="478" y="946"/>
                  </a:lnTo>
                  <a:lnTo>
                    <a:pt x="478" y="917"/>
                  </a:lnTo>
                  <a:lnTo>
                    <a:pt x="488" y="907"/>
                  </a:lnTo>
                  <a:lnTo>
                    <a:pt x="497" y="907"/>
                  </a:lnTo>
                  <a:lnTo>
                    <a:pt x="517" y="897"/>
                  </a:lnTo>
                  <a:lnTo>
                    <a:pt x="527" y="887"/>
                  </a:lnTo>
                  <a:lnTo>
                    <a:pt x="536" y="887"/>
                  </a:lnTo>
                  <a:lnTo>
                    <a:pt x="566" y="897"/>
                  </a:lnTo>
                  <a:lnTo>
                    <a:pt x="575" y="878"/>
                  </a:lnTo>
                  <a:lnTo>
                    <a:pt x="566" y="878"/>
                  </a:lnTo>
                  <a:lnTo>
                    <a:pt x="566" y="868"/>
                  </a:lnTo>
                  <a:lnTo>
                    <a:pt x="585" y="848"/>
                  </a:lnTo>
                  <a:lnTo>
                    <a:pt x="595" y="858"/>
                  </a:lnTo>
                  <a:lnTo>
                    <a:pt x="614" y="868"/>
                  </a:lnTo>
                  <a:lnTo>
                    <a:pt x="624" y="858"/>
                  </a:lnTo>
                  <a:lnTo>
                    <a:pt x="644" y="848"/>
                  </a:lnTo>
                  <a:lnTo>
                    <a:pt x="653" y="848"/>
                  </a:lnTo>
                  <a:lnTo>
                    <a:pt x="644" y="848"/>
                  </a:lnTo>
                  <a:lnTo>
                    <a:pt x="644" y="868"/>
                  </a:lnTo>
                  <a:lnTo>
                    <a:pt x="614" y="878"/>
                  </a:lnTo>
                  <a:lnTo>
                    <a:pt x="614" y="887"/>
                  </a:lnTo>
                  <a:lnTo>
                    <a:pt x="605" y="907"/>
                  </a:lnTo>
                  <a:lnTo>
                    <a:pt x="614" y="907"/>
                  </a:lnTo>
                  <a:lnTo>
                    <a:pt x="634" y="917"/>
                  </a:lnTo>
                  <a:lnTo>
                    <a:pt x="653" y="907"/>
                  </a:lnTo>
                  <a:lnTo>
                    <a:pt x="663" y="897"/>
                  </a:lnTo>
                  <a:lnTo>
                    <a:pt x="663" y="887"/>
                  </a:lnTo>
                  <a:lnTo>
                    <a:pt x="663" y="858"/>
                  </a:lnTo>
                  <a:lnTo>
                    <a:pt x="673" y="858"/>
                  </a:lnTo>
                  <a:lnTo>
                    <a:pt x="683" y="858"/>
                  </a:lnTo>
                  <a:lnTo>
                    <a:pt x="702" y="848"/>
                  </a:lnTo>
                  <a:lnTo>
                    <a:pt x="692" y="829"/>
                  </a:lnTo>
                  <a:lnTo>
                    <a:pt x="702" y="819"/>
                  </a:lnTo>
                  <a:lnTo>
                    <a:pt x="692" y="809"/>
                  </a:lnTo>
                  <a:lnTo>
                    <a:pt x="702" y="790"/>
                  </a:lnTo>
                  <a:lnTo>
                    <a:pt x="722" y="790"/>
                  </a:lnTo>
                  <a:lnTo>
                    <a:pt x="731" y="790"/>
                  </a:lnTo>
                  <a:lnTo>
                    <a:pt x="731" y="780"/>
                  </a:lnTo>
                  <a:lnTo>
                    <a:pt x="741" y="770"/>
                  </a:lnTo>
                  <a:lnTo>
                    <a:pt x="741" y="761"/>
                  </a:lnTo>
                  <a:lnTo>
                    <a:pt x="751" y="761"/>
                  </a:lnTo>
                  <a:lnTo>
                    <a:pt x="751" y="751"/>
                  </a:lnTo>
                  <a:lnTo>
                    <a:pt x="770" y="741"/>
                  </a:lnTo>
                  <a:lnTo>
                    <a:pt x="770" y="731"/>
                  </a:lnTo>
                  <a:lnTo>
                    <a:pt x="751" y="712"/>
                  </a:lnTo>
                  <a:lnTo>
                    <a:pt x="731" y="712"/>
                  </a:lnTo>
                  <a:lnTo>
                    <a:pt x="731" y="722"/>
                  </a:lnTo>
                  <a:lnTo>
                    <a:pt x="722" y="722"/>
                  </a:lnTo>
                  <a:lnTo>
                    <a:pt x="712" y="731"/>
                  </a:lnTo>
                  <a:lnTo>
                    <a:pt x="712" y="741"/>
                  </a:lnTo>
                  <a:lnTo>
                    <a:pt x="702" y="751"/>
                  </a:lnTo>
                  <a:lnTo>
                    <a:pt x="692" y="751"/>
                  </a:lnTo>
                  <a:lnTo>
                    <a:pt x="692" y="731"/>
                  </a:lnTo>
                  <a:lnTo>
                    <a:pt x="683" y="731"/>
                  </a:lnTo>
                  <a:lnTo>
                    <a:pt x="673" y="712"/>
                  </a:lnTo>
                  <a:lnTo>
                    <a:pt x="663" y="692"/>
                  </a:lnTo>
                  <a:lnTo>
                    <a:pt x="673" y="692"/>
                  </a:lnTo>
                  <a:lnTo>
                    <a:pt x="663" y="683"/>
                  </a:lnTo>
                  <a:lnTo>
                    <a:pt x="663" y="663"/>
                  </a:lnTo>
                  <a:lnTo>
                    <a:pt x="663" y="644"/>
                  </a:lnTo>
                  <a:lnTo>
                    <a:pt x="653" y="634"/>
                  </a:lnTo>
                  <a:lnTo>
                    <a:pt x="663" y="614"/>
                  </a:lnTo>
                  <a:lnTo>
                    <a:pt x="663" y="595"/>
                  </a:lnTo>
                  <a:lnTo>
                    <a:pt x="663" y="575"/>
                  </a:lnTo>
                  <a:lnTo>
                    <a:pt x="653" y="575"/>
                  </a:lnTo>
                  <a:lnTo>
                    <a:pt x="644" y="556"/>
                  </a:lnTo>
                  <a:lnTo>
                    <a:pt x="644" y="536"/>
                  </a:lnTo>
                  <a:lnTo>
                    <a:pt x="644" y="517"/>
                  </a:lnTo>
                  <a:lnTo>
                    <a:pt x="634" y="497"/>
                  </a:lnTo>
                  <a:lnTo>
                    <a:pt x="624" y="487"/>
                  </a:lnTo>
                  <a:lnTo>
                    <a:pt x="634" y="478"/>
                  </a:lnTo>
                  <a:lnTo>
                    <a:pt x="634" y="458"/>
                  </a:lnTo>
                  <a:lnTo>
                    <a:pt x="634" y="439"/>
                  </a:lnTo>
                  <a:lnTo>
                    <a:pt x="634" y="429"/>
                  </a:lnTo>
                  <a:lnTo>
                    <a:pt x="644" y="419"/>
                  </a:lnTo>
                  <a:lnTo>
                    <a:pt x="663" y="419"/>
                  </a:lnTo>
                  <a:lnTo>
                    <a:pt x="663" y="400"/>
                  </a:lnTo>
                  <a:lnTo>
                    <a:pt x="663" y="390"/>
                  </a:lnTo>
                  <a:lnTo>
                    <a:pt x="673" y="370"/>
                  </a:lnTo>
                  <a:lnTo>
                    <a:pt x="673" y="361"/>
                  </a:lnTo>
                  <a:lnTo>
                    <a:pt x="683" y="351"/>
                  </a:lnTo>
                  <a:lnTo>
                    <a:pt x="692" y="361"/>
                  </a:lnTo>
                  <a:lnTo>
                    <a:pt x="702" y="351"/>
                  </a:lnTo>
                  <a:lnTo>
                    <a:pt x="712" y="361"/>
                  </a:lnTo>
                  <a:lnTo>
                    <a:pt x="722" y="351"/>
                  </a:lnTo>
                  <a:lnTo>
                    <a:pt x="722" y="331"/>
                  </a:lnTo>
                  <a:lnTo>
                    <a:pt x="722" y="312"/>
                  </a:lnTo>
                  <a:lnTo>
                    <a:pt x="731" y="312"/>
                  </a:lnTo>
                  <a:lnTo>
                    <a:pt x="731" y="322"/>
                  </a:lnTo>
                  <a:lnTo>
                    <a:pt x="751" y="341"/>
                  </a:lnTo>
                  <a:lnTo>
                    <a:pt x="761" y="361"/>
                  </a:lnTo>
                  <a:lnTo>
                    <a:pt x="761" y="380"/>
                  </a:lnTo>
                  <a:lnTo>
                    <a:pt x="770" y="380"/>
                  </a:lnTo>
                  <a:lnTo>
                    <a:pt x="780" y="380"/>
                  </a:lnTo>
                  <a:lnTo>
                    <a:pt x="780" y="400"/>
                  </a:lnTo>
                  <a:lnTo>
                    <a:pt x="790" y="400"/>
                  </a:lnTo>
                  <a:lnTo>
                    <a:pt x="790" y="380"/>
                  </a:lnTo>
                  <a:lnTo>
                    <a:pt x="800" y="370"/>
                  </a:lnTo>
                  <a:lnTo>
                    <a:pt x="809" y="380"/>
                  </a:lnTo>
                  <a:lnTo>
                    <a:pt x="809" y="390"/>
                  </a:lnTo>
                  <a:lnTo>
                    <a:pt x="829" y="409"/>
                  </a:lnTo>
                  <a:lnTo>
                    <a:pt x="839" y="400"/>
                  </a:lnTo>
                  <a:lnTo>
                    <a:pt x="829" y="390"/>
                  </a:lnTo>
                  <a:lnTo>
                    <a:pt x="839" y="380"/>
                  </a:lnTo>
                  <a:lnTo>
                    <a:pt x="839" y="370"/>
                  </a:lnTo>
                  <a:lnTo>
                    <a:pt x="839" y="361"/>
                  </a:lnTo>
                  <a:lnTo>
                    <a:pt x="829" y="341"/>
                  </a:lnTo>
                  <a:lnTo>
                    <a:pt x="829" y="322"/>
                  </a:lnTo>
                  <a:lnTo>
                    <a:pt x="829" y="302"/>
                  </a:lnTo>
                  <a:lnTo>
                    <a:pt x="829" y="283"/>
                  </a:lnTo>
                  <a:lnTo>
                    <a:pt x="819" y="273"/>
                  </a:lnTo>
                  <a:lnTo>
                    <a:pt x="819" y="263"/>
                  </a:lnTo>
                  <a:lnTo>
                    <a:pt x="819" y="244"/>
                  </a:lnTo>
                  <a:lnTo>
                    <a:pt x="790" y="224"/>
                  </a:lnTo>
                  <a:lnTo>
                    <a:pt x="790" y="204"/>
                  </a:lnTo>
                  <a:lnTo>
                    <a:pt x="780" y="204"/>
                  </a:lnTo>
                  <a:lnTo>
                    <a:pt x="770" y="204"/>
                  </a:lnTo>
                  <a:lnTo>
                    <a:pt x="770" y="195"/>
                  </a:lnTo>
                  <a:lnTo>
                    <a:pt x="761" y="185"/>
                  </a:lnTo>
                  <a:lnTo>
                    <a:pt x="741" y="165"/>
                  </a:lnTo>
                  <a:lnTo>
                    <a:pt x="731" y="146"/>
                  </a:lnTo>
                  <a:lnTo>
                    <a:pt x="692" y="146"/>
                  </a:lnTo>
                  <a:lnTo>
                    <a:pt x="683" y="146"/>
                  </a:lnTo>
                  <a:lnTo>
                    <a:pt x="683" y="117"/>
                  </a:lnTo>
                  <a:lnTo>
                    <a:pt x="663" y="117"/>
                  </a:lnTo>
                  <a:lnTo>
                    <a:pt x="663" y="107"/>
                  </a:lnTo>
                  <a:lnTo>
                    <a:pt x="663" y="87"/>
                  </a:lnTo>
                  <a:lnTo>
                    <a:pt x="653" y="78"/>
                  </a:lnTo>
                  <a:lnTo>
                    <a:pt x="644" y="68"/>
                  </a:lnTo>
                  <a:lnTo>
                    <a:pt x="634" y="78"/>
                  </a:lnTo>
                  <a:lnTo>
                    <a:pt x="614" y="78"/>
                  </a:lnTo>
                  <a:lnTo>
                    <a:pt x="614" y="68"/>
                  </a:lnTo>
                  <a:lnTo>
                    <a:pt x="614" y="58"/>
                  </a:lnTo>
                  <a:lnTo>
                    <a:pt x="595" y="48"/>
                  </a:lnTo>
                  <a:lnTo>
                    <a:pt x="585" y="48"/>
                  </a:lnTo>
                  <a:lnTo>
                    <a:pt x="585" y="29"/>
                  </a:lnTo>
                  <a:lnTo>
                    <a:pt x="585" y="19"/>
                  </a:lnTo>
                  <a:lnTo>
                    <a:pt x="566" y="19"/>
                  </a:lnTo>
                  <a:lnTo>
                    <a:pt x="556" y="0"/>
                  </a:lnTo>
                  <a:lnTo>
                    <a:pt x="527" y="0"/>
                  </a:lnTo>
                  <a:lnTo>
                    <a:pt x="507" y="9"/>
                  </a:lnTo>
                  <a:lnTo>
                    <a:pt x="488" y="29"/>
                  </a:lnTo>
                  <a:lnTo>
                    <a:pt x="468" y="29"/>
                  </a:lnTo>
                  <a:lnTo>
                    <a:pt x="439" y="39"/>
                  </a:lnTo>
                  <a:lnTo>
                    <a:pt x="439" y="48"/>
                  </a:lnTo>
                  <a:lnTo>
                    <a:pt x="429" y="68"/>
                  </a:lnTo>
                  <a:lnTo>
                    <a:pt x="409" y="68"/>
                  </a:lnTo>
                  <a:lnTo>
                    <a:pt x="400" y="68"/>
                  </a:lnTo>
                  <a:lnTo>
                    <a:pt x="390" y="68"/>
                  </a:lnTo>
                  <a:lnTo>
                    <a:pt x="370" y="68"/>
                  </a:lnTo>
                  <a:lnTo>
                    <a:pt x="351" y="68"/>
                  </a:lnTo>
                  <a:lnTo>
                    <a:pt x="341" y="78"/>
                  </a:lnTo>
                  <a:lnTo>
                    <a:pt x="322" y="78"/>
                  </a:lnTo>
                  <a:lnTo>
                    <a:pt x="302" y="68"/>
                  </a:lnTo>
                  <a:lnTo>
                    <a:pt x="292" y="48"/>
                  </a:lnTo>
                  <a:lnTo>
                    <a:pt x="253" y="48"/>
                  </a:lnTo>
                  <a:close/>
                </a:path>
              </a:pathLst>
            </a:custGeom>
            <a:solidFill>
              <a:srgbClr val="FEE95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8789" name="Freeform 282"/>
            <p:cNvSpPr>
              <a:spLocks noChangeAspect="1"/>
            </p:cNvSpPr>
            <p:nvPr/>
          </p:nvSpPr>
          <p:spPr bwMode="auto">
            <a:xfrm>
              <a:off x="7550" y="1220"/>
              <a:ext cx="839" cy="1044"/>
            </a:xfrm>
            <a:custGeom>
              <a:avLst/>
              <a:gdLst>
                <a:gd name="T0" fmla="*/ 214 w 839"/>
                <a:gd name="T1" fmla="*/ 126 h 1044"/>
                <a:gd name="T2" fmla="*/ 156 w 839"/>
                <a:gd name="T3" fmla="*/ 175 h 1044"/>
                <a:gd name="T4" fmla="*/ 156 w 839"/>
                <a:gd name="T5" fmla="*/ 224 h 1044"/>
                <a:gd name="T6" fmla="*/ 175 w 839"/>
                <a:gd name="T7" fmla="*/ 283 h 1044"/>
                <a:gd name="T8" fmla="*/ 166 w 839"/>
                <a:gd name="T9" fmla="*/ 361 h 1044"/>
                <a:gd name="T10" fmla="*/ 214 w 839"/>
                <a:gd name="T11" fmla="*/ 429 h 1044"/>
                <a:gd name="T12" fmla="*/ 166 w 839"/>
                <a:gd name="T13" fmla="*/ 497 h 1044"/>
                <a:gd name="T14" fmla="*/ 107 w 839"/>
                <a:gd name="T15" fmla="*/ 497 h 1044"/>
                <a:gd name="T16" fmla="*/ 58 w 839"/>
                <a:gd name="T17" fmla="*/ 536 h 1044"/>
                <a:gd name="T18" fmla="*/ 88 w 839"/>
                <a:gd name="T19" fmla="*/ 585 h 1044"/>
                <a:gd name="T20" fmla="*/ 49 w 839"/>
                <a:gd name="T21" fmla="*/ 595 h 1044"/>
                <a:gd name="T22" fmla="*/ 10 w 839"/>
                <a:gd name="T23" fmla="*/ 653 h 1044"/>
                <a:gd name="T24" fmla="*/ 39 w 839"/>
                <a:gd name="T25" fmla="*/ 751 h 1044"/>
                <a:gd name="T26" fmla="*/ 78 w 839"/>
                <a:gd name="T27" fmla="*/ 829 h 1044"/>
                <a:gd name="T28" fmla="*/ 205 w 839"/>
                <a:gd name="T29" fmla="*/ 848 h 1044"/>
                <a:gd name="T30" fmla="*/ 263 w 839"/>
                <a:gd name="T31" fmla="*/ 946 h 1044"/>
                <a:gd name="T32" fmla="*/ 263 w 839"/>
                <a:gd name="T33" fmla="*/ 1014 h 1044"/>
                <a:gd name="T34" fmla="*/ 312 w 839"/>
                <a:gd name="T35" fmla="*/ 985 h 1044"/>
                <a:gd name="T36" fmla="*/ 370 w 839"/>
                <a:gd name="T37" fmla="*/ 1005 h 1044"/>
                <a:gd name="T38" fmla="*/ 409 w 839"/>
                <a:gd name="T39" fmla="*/ 1034 h 1044"/>
                <a:gd name="T40" fmla="*/ 439 w 839"/>
                <a:gd name="T41" fmla="*/ 1005 h 1044"/>
                <a:gd name="T42" fmla="*/ 488 w 839"/>
                <a:gd name="T43" fmla="*/ 985 h 1044"/>
                <a:gd name="T44" fmla="*/ 488 w 839"/>
                <a:gd name="T45" fmla="*/ 966 h 1044"/>
                <a:gd name="T46" fmla="*/ 488 w 839"/>
                <a:gd name="T47" fmla="*/ 907 h 1044"/>
                <a:gd name="T48" fmla="*/ 566 w 839"/>
                <a:gd name="T49" fmla="*/ 897 h 1044"/>
                <a:gd name="T50" fmla="*/ 595 w 839"/>
                <a:gd name="T51" fmla="*/ 858 h 1044"/>
                <a:gd name="T52" fmla="*/ 644 w 839"/>
                <a:gd name="T53" fmla="*/ 848 h 1044"/>
                <a:gd name="T54" fmla="*/ 614 w 839"/>
                <a:gd name="T55" fmla="*/ 907 h 1044"/>
                <a:gd name="T56" fmla="*/ 663 w 839"/>
                <a:gd name="T57" fmla="*/ 858 h 1044"/>
                <a:gd name="T58" fmla="*/ 692 w 839"/>
                <a:gd name="T59" fmla="*/ 829 h 1044"/>
                <a:gd name="T60" fmla="*/ 731 w 839"/>
                <a:gd name="T61" fmla="*/ 790 h 1044"/>
                <a:gd name="T62" fmla="*/ 751 w 839"/>
                <a:gd name="T63" fmla="*/ 751 h 1044"/>
                <a:gd name="T64" fmla="*/ 731 w 839"/>
                <a:gd name="T65" fmla="*/ 722 h 1044"/>
                <a:gd name="T66" fmla="*/ 692 w 839"/>
                <a:gd name="T67" fmla="*/ 751 h 1044"/>
                <a:gd name="T68" fmla="*/ 663 w 839"/>
                <a:gd name="T69" fmla="*/ 692 h 1044"/>
                <a:gd name="T70" fmla="*/ 653 w 839"/>
                <a:gd name="T71" fmla="*/ 634 h 1044"/>
                <a:gd name="T72" fmla="*/ 653 w 839"/>
                <a:gd name="T73" fmla="*/ 575 h 1044"/>
                <a:gd name="T74" fmla="*/ 624 w 839"/>
                <a:gd name="T75" fmla="*/ 487 h 1044"/>
                <a:gd name="T76" fmla="*/ 644 w 839"/>
                <a:gd name="T77" fmla="*/ 419 h 1044"/>
                <a:gd name="T78" fmla="*/ 673 w 839"/>
                <a:gd name="T79" fmla="*/ 361 h 1044"/>
                <a:gd name="T80" fmla="*/ 722 w 839"/>
                <a:gd name="T81" fmla="*/ 351 h 1044"/>
                <a:gd name="T82" fmla="*/ 751 w 839"/>
                <a:gd name="T83" fmla="*/ 341 h 1044"/>
                <a:gd name="T84" fmla="*/ 780 w 839"/>
                <a:gd name="T85" fmla="*/ 400 h 1044"/>
                <a:gd name="T86" fmla="*/ 809 w 839"/>
                <a:gd name="T87" fmla="*/ 390 h 1044"/>
                <a:gd name="T88" fmla="*/ 839 w 839"/>
                <a:gd name="T89" fmla="*/ 370 h 1044"/>
                <a:gd name="T90" fmla="*/ 829 w 839"/>
                <a:gd name="T91" fmla="*/ 302 h 1044"/>
                <a:gd name="T92" fmla="*/ 819 w 839"/>
                <a:gd name="T93" fmla="*/ 244 h 1044"/>
                <a:gd name="T94" fmla="*/ 770 w 839"/>
                <a:gd name="T95" fmla="*/ 204 h 1044"/>
                <a:gd name="T96" fmla="*/ 692 w 839"/>
                <a:gd name="T97" fmla="*/ 146 h 1044"/>
                <a:gd name="T98" fmla="*/ 663 w 839"/>
                <a:gd name="T99" fmla="*/ 87 h 1044"/>
                <a:gd name="T100" fmla="*/ 614 w 839"/>
                <a:gd name="T101" fmla="*/ 68 h 1044"/>
                <a:gd name="T102" fmla="*/ 585 w 839"/>
                <a:gd name="T103" fmla="*/ 19 h 1044"/>
                <a:gd name="T104" fmla="*/ 488 w 839"/>
                <a:gd name="T105" fmla="*/ 29 h 1044"/>
                <a:gd name="T106" fmla="*/ 409 w 839"/>
                <a:gd name="T107" fmla="*/ 68 h 1044"/>
                <a:gd name="T108" fmla="*/ 341 w 839"/>
                <a:gd name="T109" fmla="*/ 78 h 104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39"/>
                <a:gd name="T166" fmla="*/ 0 h 1044"/>
                <a:gd name="T167" fmla="*/ 839 w 839"/>
                <a:gd name="T168" fmla="*/ 1044 h 104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39" h="1044">
                  <a:moveTo>
                    <a:pt x="253" y="48"/>
                  </a:moveTo>
                  <a:lnTo>
                    <a:pt x="263" y="68"/>
                  </a:lnTo>
                  <a:lnTo>
                    <a:pt x="253" y="87"/>
                  </a:lnTo>
                  <a:lnTo>
                    <a:pt x="253" y="126"/>
                  </a:lnTo>
                  <a:lnTo>
                    <a:pt x="214" y="126"/>
                  </a:lnTo>
                  <a:lnTo>
                    <a:pt x="205" y="136"/>
                  </a:lnTo>
                  <a:lnTo>
                    <a:pt x="205" y="146"/>
                  </a:lnTo>
                  <a:lnTo>
                    <a:pt x="195" y="156"/>
                  </a:lnTo>
                  <a:lnTo>
                    <a:pt x="175" y="175"/>
                  </a:lnTo>
                  <a:lnTo>
                    <a:pt x="156" y="175"/>
                  </a:lnTo>
                  <a:lnTo>
                    <a:pt x="156" y="195"/>
                  </a:lnTo>
                  <a:lnTo>
                    <a:pt x="136" y="195"/>
                  </a:lnTo>
                  <a:lnTo>
                    <a:pt x="136" y="204"/>
                  </a:lnTo>
                  <a:lnTo>
                    <a:pt x="146" y="214"/>
                  </a:lnTo>
                  <a:lnTo>
                    <a:pt x="156" y="224"/>
                  </a:lnTo>
                  <a:lnTo>
                    <a:pt x="156" y="244"/>
                  </a:lnTo>
                  <a:lnTo>
                    <a:pt x="146" y="244"/>
                  </a:lnTo>
                  <a:lnTo>
                    <a:pt x="136" y="263"/>
                  </a:lnTo>
                  <a:lnTo>
                    <a:pt x="166" y="283"/>
                  </a:lnTo>
                  <a:lnTo>
                    <a:pt x="175" y="283"/>
                  </a:lnTo>
                  <a:lnTo>
                    <a:pt x="175" y="302"/>
                  </a:lnTo>
                  <a:lnTo>
                    <a:pt x="166" y="312"/>
                  </a:lnTo>
                  <a:lnTo>
                    <a:pt x="156" y="322"/>
                  </a:lnTo>
                  <a:lnTo>
                    <a:pt x="156" y="341"/>
                  </a:lnTo>
                  <a:lnTo>
                    <a:pt x="166" y="361"/>
                  </a:lnTo>
                  <a:lnTo>
                    <a:pt x="195" y="370"/>
                  </a:lnTo>
                  <a:lnTo>
                    <a:pt x="205" y="380"/>
                  </a:lnTo>
                  <a:lnTo>
                    <a:pt x="205" y="409"/>
                  </a:lnTo>
                  <a:lnTo>
                    <a:pt x="214" y="419"/>
                  </a:lnTo>
                  <a:lnTo>
                    <a:pt x="214" y="429"/>
                  </a:lnTo>
                  <a:lnTo>
                    <a:pt x="195" y="429"/>
                  </a:lnTo>
                  <a:lnTo>
                    <a:pt x="185" y="478"/>
                  </a:lnTo>
                  <a:lnTo>
                    <a:pt x="175" y="478"/>
                  </a:lnTo>
                  <a:lnTo>
                    <a:pt x="166" y="487"/>
                  </a:lnTo>
                  <a:lnTo>
                    <a:pt x="166" y="497"/>
                  </a:lnTo>
                  <a:lnTo>
                    <a:pt x="156" y="517"/>
                  </a:lnTo>
                  <a:lnTo>
                    <a:pt x="136" y="507"/>
                  </a:lnTo>
                  <a:lnTo>
                    <a:pt x="136" y="497"/>
                  </a:lnTo>
                  <a:lnTo>
                    <a:pt x="117" y="497"/>
                  </a:lnTo>
                  <a:lnTo>
                    <a:pt x="107" y="497"/>
                  </a:lnTo>
                  <a:lnTo>
                    <a:pt x="107" y="517"/>
                  </a:lnTo>
                  <a:lnTo>
                    <a:pt x="97" y="526"/>
                  </a:lnTo>
                  <a:lnTo>
                    <a:pt x="88" y="526"/>
                  </a:lnTo>
                  <a:lnTo>
                    <a:pt x="78" y="536"/>
                  </a:lnTo>
                  <a:lnTo>
                    <a:pt x="58" y="536"/>
                  </a:lnTo>
                  <a:lnTo>
                    <a:pt x="49" y="536"/>
                  </a:lnTo>
                  <a:lnTo>
                    <a:pt x="49" y="546"/>
                  </a:lnTo>
                  <a:lnTo>
                    <a:pt x="58" y="556"/>
                  </a:lnTo>
                  <a:lnTo>
                    <a:pt x="78" y="556"/>
                  </a:lnTo>
                  <a:lnTo>
                    <a:pt x="88" y="585"/>
                  </a:lnTo>
                  <a:lnTo>
                    <a:pt x="88" y="595"/>
                  </a:lnTo>
                  <a:lnTo>
                    <a:pt x="78" y="605"/>
                  </a:lnTo>
                  <a:lnTo>
                    <a:pt x="68" y="605"/>
                  </a:lnTo>
                  <a:lnTo>
                    <a:pt x="58" y="595"/>
                  </a:lnTo>
                  <a:lnTo>
                    <a:pt x="49" y="595"/>
                  </a:lnTo>
                  <a:lnTo>
                    <a:pt x="49" y="614"/>
                  </a:lnTo>
                  <a:lnTo>
                    <a:pt x="29" y="614"/>
                  </a:lnTo>
                  <a:lnTo>
                    <a:pt x="10" y="624"/>
                  </a:lnTo>
                  <a:lnTo>
                    <a:pt x="0" y="634"/>
                  </a:lnTo>
                  <a:lnTo>
                    <a:pt x="10" y="653"/>
                  </a:lnTo>
                  <a:lnTo>
                    <a:pt x="19" y="663"/>
                  </a:lnTo>
                  <a:lnTo>
                    <a:pt x="10" y="683"/>
                  </a:lnTo>
                  <a:lnTo>
                    <a:pt x="0" y="692"/>
                  </a:lnTo>
                  <a:lnTo>
                    <a:pt x="19" y="712"/>
                  </a:lnTo>
                  <a:lnTo>
                    <a:pt x="39" y="751"/>
                  </a:lnTo>
                  <a:lnTo>
                    <a:pt x="49" y="770"/>
                  </a:lnTo>
                  <a:lnTo>
                    <a:pt x="58" y="780"/>
                  </a:lnTo>
                  <a:lnTo>
                    <a:pt x="58" y="790"/>
                  </a:lnTo>
                  <a:lnTo>
                    <a:pt x="88" y="809"/>
                  </a:lnTo>
                  <a:lnTo>
                    <a:pt x="78" y="829"/>
                  </a:lnTo>
                  <a:lnTo>
                    <a:pt x="97" y="839"/>
                  </a:lnTo>
                  <a:lnTo>
                    <a:pt x="97" y="868"/>
                  </a:lnTo>
                  <a:lnTo>
                    <a:pt x="136" y="848"/>
                  </a:lnTo>
                  <a:lnTo>
                    <a:pt x="146" y="839"/>
                  </a:lnTo>
                  <a:lnTo>
                    <a:pt x="205" y="848"/>
                  </a:lnTo>
                  <a:lnTo>
                    <a:pt x="234" y="878"/>
                  </a:lnTo>
                  <a:lnTo>
                    <a:pt x="263" y="897"/>
                  </a:lnTo>
                  <a:lnTo>
                    <a:pt x="253" y="917"/>
                  </a:lnTo>
                  <a:lnTo>
                    <a:pt x="263" y="926"/>
                  </a:lnTo>
                  <a:lnTo>
                    <a:pt x="263" y="946"/>
                  </a:lnTo>
                  <a:lnTo>
                    <a:pt x="244" y="956"/>
                  </a:lnTo>
                  <a:lnTo>
                    <a:pt x="244" y="985"/>
                  </a:lnTo>
                  <a:lnTo>
                    <a:pt x="253" y="995"/>
                  </a:lnTo>
                  <a:lnTo>
                    <a:pt x="263" y="995"/>
                  </a:lnTo>
                  <a:lnTo>
                    <a:pt x="263" y="1014"/>
                  </a:lnTo>
                  <a:lnTo>
                    <a:pt x="273" y="1014"/>
                  </a:lnTo>
                  <a:lnTo>
                    <a:pt x="292" y="1005"/>
                  </a:lnTo>
                  <a:lnTo>
                    <a:pt x="302" y="1005"/>
                  </a:lnTo>
                  <a:lnTo>
                    <a:pt x="302" y="985"/>
                  </a:lnTo>
                  <a:lnTo>
                    <a:pt x="312" y="985"/>
                  </a:lnTo>
                  <a:lnTo>
                    <a:pt x="322" y="995"/>
                  </a:lnTo>
                  <a:lnTo>
                    <a:pt x="331" y="995"/>
                  </a:lnTo>
                  <a:lnTo>
                    <a:pt x="351" y="995"/>
                  </a:lnTo>
                  <a:lnTo>
                    <a:pt x="361" y="985"/>
                  </a:lnTo>
                  <a:lnTo>
                    <a:pt x="370" y="1005"/>
                  </a:lnTo>
                  <a:lnTo>
                    <a:pt x="380" y="1014"/>
                  </a:lnTo>
                  <a:lnTo>
                    <a:pt x="390" y="1024"/>
                  </a:lnTo>
                  <a:lnTo>
                    <a:pt x="390" y="1044"/>
                  </a:lnTo>
                  <a:lnTo>
                    <a:pt x="409" y="1034"/>
                  </a:lnTo>
                  <a:lnTo>
                    <a:pt x="419" y="1034"/>
                  </a:lnTo>
                  <a:lnTo>
                    <a:pt x="439" y="1034"/>
                  </a:lnTo>
                  <a:lnTo>
                    <a:pt x="439" y="1024"/>
                  </a:lnTo>
                  <a:lnTo>
                    <a:pt x="439" y="1014"/>
                  </a:lnTo>
                  <a:lnTo>
                    <a:pt x="439" y="1005"/>
                  </a:lnTo>
                  <a:lnTo>
                    <a:pt x="448" y="995"/>
                  </a:lnTo>
                  <a:lnTo>
                    <a:pt x="458" y="985"/>
                  </a:lnTo>
                  <a:lnTo>
                    <a:pt x="468" y="995"/>
                  </a:lnTo>
                  <a:lnTo>
                    <a:pt x="488" y="985"/>
                  </a:lnTo>
                  <a:lnTo>
                    <a:pt x="497" y="975"/>
                  </a:lnTo>
                  <a:lnTo>
                    <a:pt x="488" y="966"/>
                  </a:lnTo>
                  <a:lnTo>
                    <a:pt x="478" y="966"/>
                  </a:lnTo>
                  <a:lnTo>
                    <a:pt x="478" y="956"/>
                  </a:lnTo>
                  <a:lnTo>
                    <a:pt x="488" y="966"/>
                  </a:lnTo>
                  <a:lnTo>
                    <a:pt x="488" y="946"/>
                  </a:lnTo>
                  <a:lnTo>
                    <a:pt x="478" y="946"/>
                  </a:lnTo>
                  <a:lnTo>
                    <a:pt x="478" y="917"/>
                  </a:lnTo>
                  <a:lnTo>
                    <a:pt x="488" y="907"/>
                  </a:lnTo>
                  <a:lnTo>
                    <a:pt x="497" y="907"/>
                  </a:lnTo>
                  <a:lnTo>
                    <a:pt x="517" y="897"/>
                  </a:lnTo>
                  <a:lnTo>
                    <a:pt x="527" y="887"/>
                  </a:lnTo>
                  <a:lnTo>
                    <a:pt x="536" y="887"/>
                  </a:lnTo>
                  <a:lnTo>
                    <a:pt x="566" y="897"/>
                  </a:lnTo>
                  <a:lnTo>
                    <a:pt x="575" y="878"/>
                  </a:lnTo>
                  <a:lnTo>
                    <a:pt x="566" y="878"/>
                  </a:lnTo>
                  <a:lnTo>
                    <a:pt x="566" y="868"/>
                  </a:lnTo>
                  <a:lnTo>
                    <a:pt x="585" y="848"/>
                  </a:lnTo>
                  <a:lnTo>
                    <a:pt x="595" y="858"/>
                  </a:lnTo>
                  <a:lnTo>
                    <a:pt x="614" y="868"/>
                  </a:lnTo>
                  <a:lnTo>
                    <a:pt x="624" y="858"/>
                  </a:lnTo>
                  <a:lnTo>
                    <a:pt x="644" y="848"/>
                  </a:lnTo>
                  <a:lnTo>
                    <a:pt x="653" y="848"/>
                  </a:lnTo>
                  <a:lnTo>
                    <a:pt x="644" y="848"/>
                  </a:lnTo>
                  <a:lnTo>
                    <a:pt x="644" y="868"/>
                  </a:lnTo>
                  <a:lnTo>
                    <a:pt x="614" y="878"/>
                  </a:lnTo>
                  <a:lnTo>
                    <a:pt x="614" y="887"/>
                  </a:lnTo>
                  <a:lnTo>
                    <a:pt x="605" y="907"/>
                  </a:lnTo>
                  <a:lnTo>
                    <a:pt x="614" y="907"/>
                  </a:lnTo>
                  <a:lnTo>
                    <a:pt x="634" y="917"/>
                  </a:lnTo>
                  <a:lnTo>
                    <a:pt x="653" y="907"/>
                  </a:lnTo>
                  <a:lnTo>
                    <a:pt x="663" y="897"/>
                  </a:lnTo>
                  <a:lnTo>
                    <a:pt x="663" y="887"/>
                  </a:lnTo>
                  <a:lnTo>
                    <a:pt x="663" y="858"/>
                  </a:lnTo>
                  <a:lnTo>
                    <a:pt x="673" y="858"/>
                  </a:lnTo>
                  <a:lnTo>
                    <a:pt x="683" y="858"/>
                  </a:lnTo>
                  <a:lnTo>
                    <a:pt x="702" y="848"/>
                  </a:lnTo>
                  <a:lnTo>
                    <a:pt x="692" y="829"/>
                  </a:lnTo>
                  <a:lnTo>
                    <a:pt x="702" y="819"/>
                  </a:lnTo>
                  <a:lnTo>
                    <a:pt x="692" y="809"/>
                  </a:lnTo>
                  <a:lnTo>
                    <a:pt x="702" y="790"/>
                  </a:lnTo>
                  <a:lnTo>
                    <a:pt x="722" y="790"/>
                  </a:lnTo>
                  <a:lnTo>
                    <a:pt x="731" y="790"/>
                  </a:lnTo>
                  <a:lnTo>
                    <a:pt x="731" y="780"/>
                  </a:lnTo>
                  <a:lnTo>
                    <a:pt x="741" y="770"/>
                  </a:lnTo>
                  <a:lnTo>
                    <a:pt x="741" y="761"/>
                  </a:lnTo>
                  <a:lnTo>
                    <a:pt x="751" y="761"/>
                  </a:lnTo>
                  <a:lnTo>
                    <a:pt x="751" y="751"/>
                  </a:lnTo>
                  <a:lnTo>
                    <a:pt x="770" y="741"/>
                  </a:lnTo>
                  <a:lnTo>
                    <a:pt x="770" y="731"/>
                  </a:lnTo>
                  <a:lnTo>
                    <a:pt x="751" y="712"/>
                  </a:lnTo>
                  <a:lnTo>
                    <a:pt x="731" y="712"/>
                  </a:lnTo>
                  <a:lnTo>
                    <a:pt x="731" y="722"/>
                  </a:lnTo>
                  <a:lnTo>
                    <a:pt x="722" y="722"/>
                  </a:lnTo>
                  <a:lnTo>
                    <a:pt x="712" y="731"/>
                  </a:lnTo>
                  <a:lnTo>
                    <a:pt x="712" y="741"/>
                  </a:lnTo>
                  <a:lnTo>
                    <a:pt x="702" y="751"/>
                  </a:lnTo>
                  <a:lnTo>
                    <a:pt x="692" y="751"/>
                  </a:lnTo>
                  <a:lnTo>
                    <a:pt x="692" y="731"/>
                  </a:lnTo>
                  <a:lnTo>
                    <a:pt x="683" y="731"/>
                  </a:lnTo>
                  <a:lnTo>
                    <a:pt x="673" y="712"/>
                  </a:lnTo>
                  <a:lnTo>
                    <a:pt x="663" y="692"/>
                  </a:lnTo>
                  <a:lnTo>
                    <a:pt x="673" y="692"/>
                  </a:lnTo>
                  <a:lnTo>
                    <a:pt x="663" y="683"/>
                  </a:lnTo>
                  <a:lnTo>
                    <a:pt x="663" y="663"/>
                  </a:lnTo>
                  <a:lnTo>
                    <a:pt x="663" y="644"/>
                  </a:lnTo>
                  <a:lnTo>
                    <a:pt x="653" y="634"/>
                  </a:lnTo>
                  <a:lnTo>
                    <a:pt x="663" y="614"/>
                  </a:lnTo>
                  <a:lnTo>
                    <a:pt x="663" y="595"/>
                  </a:lnTo>
                  <a:lnTo>
                    <a:pt x="663" y="575"/>
                  </a:lnTo>
                  <a:lnTo>
                    <a:pt x="653" y="575"/>
                  </a:lnTo>
                  <a:lnTo>
                    <a:pt x="644" y="556"/>
                  </a:lnTo>
                  <a:lnTo>
                    <a:pt x="644" y="536"/>
                  </a:lnTo>
                  <a:lnTo>
                    <a:pt x="644" y="517"/>
                  </a:lnTo>
                  <a:lnTo>
                    <a:pt x="634" y="497"/>
                  </a:lnTo>
                  <a:lnTo>
                    <a:pt x="624" y="487"/>
                  </a:lnTo>
                  <a:lnTo>
                    <a:pt x="634" y="478"/>
                  </a:lnTo>
                  <a:lnTo>
                    <a:pt x="634" y="458"/>
                  </a:lnTo>
                  <a:lnTo>
                    <a:pt x="634" y="439"/>
                  </a:lnTo>
                  <a:lnTo>
                    <a:pt x="634" y="429"/>
                  </a:lnTo>
                  <a:lnTo>
                    <a:pt x="644" y="419"/>
                  </a:lnTo>
                  <a:lnTo>
                    <a:pt x="663" y="419"/>
                  </a:lnTo>
                  <a:lnTo>
                    <a:pt x="663" y="400"/>
                  </a:lnTo>
                  <a:lnTo>
                    <a:pt x="663" y="390"/>
                  </a:lnTo>
                  <a:lnTo>
                    <a:pt x="673" y="370"/>
                  </a:lnTo>
                  <a:lnTo>
                    <a:pt x="673" y="361"/>
                  </a:lnTo>
                  <a:lnTo>
                    <a:pt x="683" y="351"/>
                  </a:lnTo>
                  <a:lnTo>
                    <a:pt x="692" y="361"/>
                  </a:lnTo>
                  <a:lnTo>
                    <a:pt x="702" y="351"/>
                  </a:lnTo>
                  <a:lnTo>
                    <a:pt x="712" y="361"/>
                  </a:lnTo>
                  <a:lnTo>
                    <a:pt x="722" y="351"/>
                  </a:lnTo>
                  <a:lnTo>
                    <a:pt x="722" y="331"/>
                  </a:lnTo>
                  <a:lnTo>
                    <a:pt x="722" y="312"/>
                  </a:lnTo>
                  <a:lnTo>
                    <a:pt x="731" y="312"/>
                  </a:lnTo>
                  <a:lnTo>
                    <a:pt x="731" y="322"/>
                  </a:lnTo>
                  <a:lnTo>
                    <a:pt x="751" y="341"/>
                  </a:lnTo>
                  <a:lnTo>
                    <a:pt x="761" y="361"/>
                  </a:lnTo>
                  <a:lnTo>
                    <a:pt x="761" y="380"/>
                  </a:lnTo>
                  <a:lnTo>
                    <a:pt x="770" y="380"/>
                  </a:lnTo>
                  <a:lnTo>
                    <a:pt x="780" y="380"/>
                  </a:lnTo>
                  <a:lnTo>
                    <a:pt x="780" y="400"/>
                  </a:lnTo>
                  <a:lnTo>
                    <a:pt x="790" y="400"/>
                  </a:lnTo>
                  <a:lnTo>
                    <a:pt x="790" y="380"/>
                  </a:lnTo>
                  <a:lnTo>
                    <a:pt x="800" y="370"/>
                  </a:lnTo>
                  <a:lnTo>
                    <a:pt x="809" y="380"/>
                  </a:lnTo>
                  <a:lnTo>
                    <a:pt x="809" y="390"/>
                  </a:lnTo>
                  <a:lnTo>
                    <a:pt x="829" y="409"/>
                  </a:lnTo>
                  <a:lnTo>
                    <a:pt x="839" y="400"/>
                  </a:lnTo>
                  <a:lnTo>
                    <a:pt x="829" y="390"/>
                  </a:lnTo>
                  <a:lnTo>
                    <a:pt x="839" y="380"/>
                  </a:lnTo>
                  <a:lnTo>
                    <a:pt x="839" y="370"/>
                  </a:lnTo>
                  <a:lnTo>
                    <a:pt x="839" y="361"/>
                  </a:lnTo>
                  <a:lnTo>
                    <a:pt x="829" y="341"/>
                  </a:lnTo>
                  <a:lnTo>
                    <a:pt x="829" y="322"/>
                  </a:lnTo>
                  <a:lnTo>
                    <a:pt x="829" y="302"/>
                  </a:lnTo>
                  <a:lnTo>
                    <a:pt x="829" y="283"/>
                  </a:lnTo>
                  <a:lnTo>
                    <a:pt x="819" y="273"/>
                  </a:lnTo>
                  <a:lnTo>
                    <a:pt x="819" y="263"/>
                  </a:lnTo>
                  <a:lnTo>
                    <a:pt x="819" y="244"/>
                  </a:lnTo>
                  <a:lnTo>
                    <a:pt x="790" y="224"/>
                  </a:lnTo>
                  <a:lnTo>
                    <a:pt x="790" y="204"/>
                  </a:lnTo>
                  <a:lnTo>
                    <a:pt x="780" y="204"/>
                  </a:lnTo>
                  <a:lnTo>
                    <a:pt x="770" y="204"/>
                  </a:lnTo>
                  <a:lnTo>
                    <a:pt x="770" y="195"/>
                  </a:lnTo>
                  <a:lnTo>
                    <a:pt x="761" y="185"/>
                  </a:lnTo>
                  <a:lnTo>
                    <a:pt x="741" y="165"/>
                  </a:lnTo>
                  <a:lnTo>
                    <a:pt x="731" y="146"/>
                  </a:lnTo>
                  <a:lnTo>
                    <a:pt x="692" y="146"/>
                  </a:lnTo>
                  <a:lnTo>
                    <a:pt x="683" y="146"/>
                  </a:lnTo>
                  <a:lnTo>
                    <a:pt x="683" y="117"/>
                  </a:lnTo>
                  <a:lnTo>
                    <a:pt x="663" y="117"/>
                  </a:lnTo>
                  <a:lnTo>
                    <a:pt x="663" y="107"/>
                  </a:lnTo>
                  <a:lnTo>
                    <a:pt x="663" y="87"/>
                  </a:lnTo>
                  <a:lnTo>
                    <a:pt x="653" y="78"/>
                  </a:lnTo>
                  <a:lnTo>
                    <a:pt x="644" y="68"/>
                  </a:lnTo>
                  <a:lnTo>
                    <a:pt x="634" y="78"/>
                  </a:lnTo>
                  <a:lnTo>
                    <a:pt x="614" y="78"/>
                  </a:lnTo>
                  <a:lnTo>
                    <a:pt x="614" y="68"/>
                  </a:lnTo>
                  <a:lnTo>
                    <a:pt x="614" y="58"/>
                  </a:lnTo>
                  <a:lnTo>
                    <a:pt x="595" y="48"/>
                  </a:lnTo>
                  <a:lnTo>
                    <a:pt x="585" y="48"/>
                  </a:lnTo>
                  <a:lnTo>
                    <a:pt x="585" y="29"/>
                  </a:lnTo>
                  <a:lnTo>
                    <a:pt x="585" y="19"/>
                  </a:lnTo>
                  <a:lnTo>
                    <a:pt x="566" y="19"/>
                  </a:lnTo>
                  <a:lnTo>
                    <a:pt x="556" y="0"/>
                  </a:lnTo>
                  <a:lnTo>
                    <a:pt x="527" y="0"/>
                  </a:lnTo>
                  <a:lnTo>
                    <a:pt x="507" y="9"/>
                  </a:lnTo>
                  <a:lnTo>
                    <a:pt x="488" y="29"/>
                  </a:lnTo>
                  <a:lnTo>
                    <a:pt x="468" y="29"/>
                  </a:lnTo>
                  <a:lnTo>
                    <a:pt x="439" y="39"/>
                  </a:lnTo>
                  <a:lnTo>
                    <a:pt x="439" y="48"/>
                  </a:lnTo>
                  <a:lnTo>
                    <a:pt x="429" y="68"/>
                  </a:lnTo>
                  <a:lnTo>
                    <a:pt x="409" y="68"/>
                  </a:lnTo>
                  <a:lnTo>
                    <a:pt x="400" y="68"/>
                  </a:lnTo>
                  <a:lnTo>
                    <a:pt x="390" y="68"/>
                  </a:lnTo>
                  <a:lnTo>
                    <a:pt x="370" y="68"/>
                  </a:lnTo>
                  <a:lnTo>
                    <a:pt x="351" y="68"/>
                  </a:lnTo>
                  <a:lnTo>
                    <a:pt x="341" y="78"/>
                  </a:lnTo>
                  <a:lnTo>
                    <a:pt x="322" y="78"/>
                  </a:lnTo>
                  <a:lnTo>
                    <a:pt x="302" y="68"/>
                  </a:lnTo>
                  <a:lnTo>
                    <a:pt x="292" y="48"/>
                  </a:lnTo>
                </a:path>
              </a:pathLst>
            </a:custGeom>
            <a:noFill/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18524" name="Freeform 276"/>
          <p:cNvSpPr>
            <a:spLocks noChangeAspect="1"/>
          </p:cNvSpPr>
          <p:nvPr>
            <p:custDataLst>
              <p:tags r:id="rId90"/>
            </p:custDataLst>
          </p:nvPr>
        </p:nvSpPr>
        <p:spPr bwMode="auto">
          <a:xfrm>
            <a:off x="6950075" y="3930650"/>
            <a:ext cx="325438" cy="477838"/>
          </a:xfrm>
          <a:custGeom>
            <a:avLst/>
            <a:gdLst>
              <a:gd name="T0" fmla="*/ 19379 w 487"/>
              <a:gd name="T1" fmla="*/ 278635 h 770"/>
              <a:gd name="T2" fmla="*/ 38759 w 487"/>
              <a:gd name="T3" fmla="*/ 253812 h 770"/>
              <a:gd name="T4" fmla="*/ 58138 w 487"/>
              <a:gd name="T5" fmla="*/ 229610 h 770"/>
              <a:gd name="T6" fmla="*/ 58138 w 487"/>
              <a:gd name="T7" fmla="*/ 181206 h 770"/>
              <a:gd name="T8" fmla="*/ 32076 w 487"/>
              <a:gd name="T9" fmla="*/ 193617 h 770"/>
              <a:gd name="T10" fmla="*/ 26062 w 487"/>
              <a:gd name="T11" fmla="*/ 157004 h 770"/>
              <a:gd name="T12" fmla="*/ 52124 w 487"/>
              <a:gd name="T13" fmla="*/ 151418 h 770"/>
              <a:gd name="T14" fmla="*/ 58138 w 487"/>
              <a:gd name="T15" fmla="*/ 96809 h 770"/>
              <a:gd name="T16" fmla="*/ 38759 w 487"/>
              <a:gd name="T17" fmla="*/ 66401 h 770"/>
              <a:gd name="T18" fmla="*/ 52124 w 487"/>
              <a:gd name="T19" fmla="*/ 42199 h 770"/>
              <a:gd name="T20" fmla="*/ 84200 w 487"/>
              <a:gd name="T21" fmla="*/ 24202 h 770"/>
              <a:gd name="T22" fmla="*/ 116944 w 487"/>
              <a:gd name="T23" fmla="*/ 5585 h 770"/>
              <a:gd name="T24" fmla="*/ 136323 w 487"/>
              <a:gd name="T25" fmla="*/ 17996 h 770"/>
              <a:gd name="T26" fmla="*/ 156371 w 487"/>
              <a:gd name="T27" fmla="*/ 11791 h 770"/>
              <a:gd name="T28" fmla="*/ 169067 w 487"/>
              <a:gd name="T29" fmla="*/ 17996 h 770"/>
              <a:gd name="T30" fmla="*/ 195129 w 487"/>
              <a:gd name="T31" fmla="*/ 24202 h 770"/>
              <a:gd name="T32" fmla="*/ 195129 w 487"/>
              <a:gd name="T33" fmla="*/ 48404 h 770"/>
              <a:gd name="T34" fmla="*/ 169067 w 487"/>
              <a:gd name="T35" fmla="*/ 42199 h 770"/>
              <a:gd name="T36" fmla="*/ 162385 w 487"/>
              <a:gd name="T37" fmla="*/ 24202 h 770"/>
              <a:gd name="T38" fmla="*/ 162385 w 487"/>
              <a:gd name="T39" fmla="*/ 48404 h 770"/>
              <a:gd name="T40" fmla="*/ 169067 w 487"/>
              <a:gd name="T41" fmla="*/ 72606 h 770"/>
              <a:gd name="T42" fmla="*/ 188447 w 487"/>
              <a:gd name="T43" fmla="*/ 103014 h 770"/>
              <a:gd name="T44" fmla="*/ 214508 w 487"/>
              <a:gd name="T45" fmla="*/ 121011 h 770"/>
              <a:gd name="T46" fmla="*/ 253935 w 487"/>
              <a:gd name="T47" fmla="*/ 132801 h 770"/>
              <a:gd name="T48" fmla="*/ 253935 w 487"/>
              <a:gd name="T49" fmla="*/ 157004 h 770"/>
              <a:gd name="T50" fmla="*/ 234556 w 487"/>
              <a:gd name="T51" fmla="*/ 169415 h 770"/>
              <a:gd name="T52" fmla="*/ 227873 w 487"/>
              <a:gd name="T53" fmla="*/ 193617 h 770"/>
              <a:gd name="T54" fmla="*/ 234556 w 487"/>
              <a:gd name="T55" fmla="*/ 211614 h 770"/>
              <a:gd name="T56" fmla="*/ 240570 w 487"/>
              <a:gd name="T57" fmla="*/ 235816 h 770"/>
              <a:gd name="T58" fmla="*/ 247253 w 487"/>
              <a:gd name="T59" fmla="*/ 248227 h 770"/>
              <a:gd name="T60" fmla="*/ 260618 w 487"/>
              <a:gd name="T61" fmla="*/ 248227 h 770"/>
              <a:gd name="T62" fmla="*/ 292694 w 487"/>
              <a:gd name="T63" fmla="*/ 266223 h 770"/>
              <a:gd name="T64" fmla="*/ 286679 w 487"/>
              <a:gd name="T65" fmla="*/ 272429 h 770"/>
              <a:gd name="T66" fmla="*/ 273314 w 487"/>
              <a:gd name="T67" fmla="*/ 290426 h 770"/>
              <a:gd name="T68" fmla="*/ 273314 w 487"/>
              <a:gd name="T69" fmla="*/ 308422 h 770"/>
              <a:gd name="T70" fmla="*/ 253935 w 487"/>
              <a:gd name="T71" fmla="*/ 320833 h 770"/>
              <a:gd name="T72" fmla="*/ 260618 w 487"/>
              <a:gd name="T73" fmla="*/ 327039 h 770"/>
              <a:gd name="T74" fmla="*/ 279997 w 487"/>
              <a:gd name="T75" fmla="*/ 338830 h 770"/>
              <a:gd name="T76" fmla="*/ 286679 w 487"/>
              <a:gd name="T77" fmla="*/ 345036 h 770"/>
              <a:gd name="T78" fmla="*/ 299376 w 487"/>
              <a:gd name="T79" fmla="*/ 356826 h 770"/>
              <a:gd name="T80" fmla="*/ 306059 w 487"/>
              <a:gd name="T81" fmla="*/ 369238 h 770"/>
              <a:gd name="T82" fmla="*/ 312741 w 487"/>
              <a:gd name="T83" fmla="*/ 381028 h 770"/>
              <a:gd name="T84" fmla="*/ 318755 w 487"/>
              <a:gd name="T85" fmla="*/ 399646 h 770"/>
              <a:gd name="T86" fmla="*/ 318755 w 487"/>
              <a:gd name="T87" fmla="*/ 417642 h 770"/>
              <a:gd name="T88" fmla="*/ 325438 w 487"/>
              <a:gd name="T89" fmla="*/ 435638 h 770"/>
              <a:gd name="T90" fmla="*/ 325438 w 487"/>
              <a:gd name="T91" fmla="*/ 466046 h 770"/>
              <a:gd name="T92" fmla="*/ 325438 w 487"/>
              <a:gd name="T93" fmla="*/ 477837 h 770"/>
              <a:gd name="T94" fmla="*/ 306059 w 487"/>
              <a:gd name="T95" fmla="*/ 466046 h 770"/>
              <a:gd name="T96" fmla="*/ 279997 w 487"/>
              <a:gd name="T97" fmla="*/ 459841 h 770"/>
              <a:gd name="T98" fmla="*/ 253935 w 487"/>
              <a:gd name="T99" fmla="*/ 435638 h 770"/>
              <a:gd name="T100" fmla="*/ 221191 w 487"/>
              <a:gd name="T101" fmla="*/ 411436 h 770"/>
              <a:gd name="T102" fmla="*/ 175750 w 487"/>
              <a:gd name="T103" fmla="*/ 393440 h 770"/>
              <a:gd name="T104" fmla="*/ 84200 w 487"/>
              <a:gd name="T105" fmla="*/ 345036 h 770"/>
              <a:gd name="T106" fmla="*/ 38759 w 487"/>
              <a:gd name="T107" fmla="*/ 314628 h 770"/>
              <a:gd name="T108" fmla="*/ 0 w 487"/>
              <a:gd name="T109" fmla="*/ 284220 h 77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487"/>
              <a:gd name="T166" fmla="*/ 0 h 770"/>
              <a:gd name="T167" fmla="*/ 487 w 487"/>
              <a:gd name="T168" fmla="*/ 770 h 770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487" h="770">
                <a:moveTo>
                  <a:pt x="0" y="458"/>
                </a:moveTo>
                <a:lnTo>
                  <a:pt x="9" y="449"/>
                </a:lnTo>
                <a:lnTo>
                  <a:pt x="29" y="449"/>
                </a:lnTo>
                <a:lnTo>
                  <a:pt x="39" y="439"/>
                </a:lnTo>
                <a:lnTo>
                  <a:pt x="48" y="429"/>
                </a:lnTo>
                <a:lnTo>
                  <a:pt x="58" y="409"/>
                </a:lnTo>
                <a:lnTo>
                  <a:pt x="58" y="390"/>
                </a:lnTo>
                <a:lnTo>
                  <a:pt x="78" y="390"/>
                </a:lnTo>
                <a:lnTo>
                  <a:pt x="87" y="370"/>
                </a:lnTo>
                <a:lnTo>
                  <a:pt x="97" y="361"/>
                </a:lnTo>
                <a:lnTo>
                  <a:pt x="97" y="292"/>
                </a:lnTo>
                <a:lnTo>
                  <a:pt x="87" y="292"/>
                </a:lnTo>
                <a:lnTo>
                  <a:pt x="68" y="302"/>
                </a:lnTo>
                <a:lnTo>
                  <a:pt x="58" y="312"/>
                </a:lnTo>
                <a:lnTo>
                  <a:pt x="48" y="312"/>
                </a:lnTo>
                <a:lnTo>
                  <a:pt x="39" y="302"/>
                </a:lnTo>
                <a:lnTo>
                  <a:pt x="29" y="292"/>
                </a:lnTo>
                <a:lnTo>
                  <a:pt x="39" y="253"/>
                </a:lnTo>
                <a:lnTo>
                  <a:pt x="68" y="244"/>
                </a:lnTo>
                <a:lnTo>
                  <a:pt x="78" y="244"/>
                </a:lnTo>
                <a:lnTo>
                  <a:pt x="97" y="185"/>
                </a:lnTo>
                <a:lnTo>
                  <a:pt x="97" y="175"/>
                </a:lnTo>
                <a:lnTo>
                  <a:pt x="87" y="156"/>
                </a:lnTo>
                <a:lnTo>
                  <a:pt x="78" y="146"/>
                </a:lnTo>
                <a:lnTo>
                  <a:pt x="78" y="127"/>
                </a:lnTo>
                <a:lnTo>
                  <a:pt x="58" y="107"/>
                </a:lnTo>
                <a:lnTo>
                  <a:pt x="58" y="97"/>
                </a:lnTo>
                <a:lnTo>
                  <a:pt x="58" y="88"/>
                </a:lnTo>
                <a:lnTo>
                  <a:pt x="78" y="68"/>
                </a:lnTo>
                <a:lnTo>
                  <a:pt x="107" y="58"/>
                </a:lnTo>
                <a:lnTo>
                  <a:pt x="117" y="58"/>
                </a:lnTo>
                <a:lnTo>
                  <a:pt x="126" y="39"/>
                </a:lnTo>
                <a:lnTo>
                  <a:pt x="146" y="19"/>
                </a:lnTo>
                <a:lnTo>
                  <a:pt x="156" y="0"/>
                </a:lnTo>
                <a:lnTo>
                  <a:pt x="175" y="9"/>
                </a:lnTo>
                <a:lnTo>
                  <a:pt x="185" y="19"/>
                </a:lnTo>
                <a:lnTo>
                  <a:pt x="195" y="19"/>
                </a:lnTo>
                <a:lnTo>
                  <a:pt x="204" y="29"/>
                </a:lnTo>
                <a:lnTo>
                  <a:pt x="214" y="39"/>
                </a:lnTo>
                <a:lnTo>
                  <a:pt x="224" y="39"/>
                </a:lnTo>
                <a:lnTo>
                  <a:pt x="234" y="19"/>
                </a:lnTo>
                <a:lnTo>
                  <a:pt x="243" y="19"/>
                </a:lnTo>
                <a:lnTo>
                  <a:pt x="253" y="29"/>
                </a:lnTo>
                <a:lnTo>
                  <a:pt x="263" y="39"/>
                </a:lnTo>
                <a:lnTo>
                  <a:pt x="273" y="39"/>
                </a:lnTo>
                <a:lnTo>
                  <a:pt x="292" y="39"/>
                </a:lnTo>
                <a:lnTo>
                  <a:pt x="292" y="58"/>
                </a:lnTo>
                <a:lnTo>
                  <a:pt x="292" y="78"/>
                </a:lnTo>
                <a:lnTo>
                  <a:pt x="273" y="78"/>
                </a:lnTo>
                <a:lnTo>
                  <a:pt x="263" y="78"/>
                </a:lnTo>
                <a:lnTo>
                  <a:pt x="253" y="68"/>
                </a:lnTo>
                <a:lnTo>
                  <a:pt x="253" y="58"/>
                </a:lnTo>
                <a:lnTo>
                  <a:pt x="253" y="39"/>
                </a:lnTo>
                <a:lnTo>
                  <a:pt x="243" y="39"/>
                </a:lnTo>
                <a:lnTo>
                  <a:pt x="243" y="58"/>
                </a:lnTo>
                <a:lnTo>
                  <a:pt x="243" y="68"/>
                </a:lnTo>
                <a:lnTo>
                  <a:pt x="243" y="78"/>
                </a:lnTo>
                <a:lnTo>
                  <a:pt x="253" y="88"/>
                </a:lnTo>
                <a:lnTo>
                  <a:pt x="253" y="97"/>
                </a:lnTo>
                <a:lnTo>
                  <a:pt x="253" y="117"/>
                </a:lnTo>
                <a:lnTo>
                  <a:pt x="253" y="127"/>
                </a:lnTo>
                <a:lnTo>
                  <a:pt x="263" y="136"/>
                </a:lnTo>
                <a:lnTo>
                  <a:pt x="282" y="166"/>
                </a:lnTo>
                <a:lnTo>
                  <a:pt x="292" y="175"/>
                </a:lnTo>
                <a:lnTo>
                  <a:pt x="302" y="185"/>
                </a:lnTo>
                <a:lnTo>
                  <a:pt x="321" y="195"/>
                </a:lnTo>
                <a:lnTo>
                  <a:pt x="341" y="195"/>
                </a:lnTo>
                <a:lnTo>
                  <a:pt x="360" y="205"/>
                </a:lnTo>
                <a:lnTo>
                  <a:pt x="380" y="214"/>
                </a:lnTo>
                <a:lnTo>
                  <a:pt x="380" y="224"/>
                </a:lnTo>
                <a:lnTo>
                  <a:pt x="380" y="234"/>
                </a:lnTo>
                <a:lnTo>
                  <a:pt x="380" y="253"/>
                </a:lnTo>
                <a:lnTo>
                  <a:pt x="380" y="263"/>
                </a:lnTo>
                <a:lnTo>
                  <a:pt x="370" y="273"/>
                </a:lnTo>
                <a:lnTo>
                  <a:pt x="351" y="273"/>
                </a:lnTo>
                <a:lnTo>
                  <a:pt x="351" y="283"/>
                </a:lnTo>
                <a:lnTo>
                  <a:pt x="351" y="302"/>
                </a:lnTo>
                <a:lnTo>
                  <a:pt x="341" y="312"/>
                </a:lnTo>
                <a:lnTo>
                  <a:pt x="341" y="322"/>
                </a:lnTo>
                <a:lnTo>
                  <a:pt x="351" y="341"/>
                </a:lnTo>
                <a:lnTo>
                  <a:pt x="351" y="351"/>
                </a:lnTo>
                <a:lnTo>
                  <a:pt x="351" y="361"/>
                </a:lnTo>
                <a:lnTo>
                  <a:pt x="360" y="380"/>
                </a:lnTo>
                <a:lnTo>
                  <a:pt x="370" y="390"/>
                </a:lnTo>
                <a:lnTo>
                  <a:pt x="370" y="400"/>
                </a:lnTo>
                <a:lnTo>
                  <a:pt x="380" y="400"/>
                </a:lnTo>
                <a:lnTo>
                  <a:pt x="380" y="409"/>
                </a:lnTo>
                <a:lnTo>
                  <a:pt x="390" y="400"/>
                </a:lnTo>
                <a:lnTo>
                  <a:pt x="399" y="409"/>
                </a:lnTo>
                <a:lnTo>
                  <a:pt x="419" y="429"/>
                </a:lnTo>
                <a:lnTo>
                  <a:pt x="438" y="429"/>
                </a:lnTo>
                <a:lnTo>
                  <a:pt x="448" y="429"/>
                </a:lnTo>
                <a:lnTo>
                  <a:pt x="438" y="439"/>
                </a:lnTo>
                <a:lnTo>
                  <a:pt x="429" y="439"/>
                </a:lnTo>
                <a:lnTo>
                  <a:pt x="419" y="439"/>
                </a:lnTo>
                <a:lnTo>
                  <a:pt x="409" y="449"/>
                </a:lnTo>
                <a:lnTo>
                  <a:pt x="409" y="468"/>
                </a:lnTo>
                <a:lnTo>
                  <a:pt x="399" y="468"/>
                </a:lnTo>
                <a:lnTo>
                  <a:pt x="399" y="488"/>
                </a:lnTo>
                <a:lnTo>
                  <a:pt x="409" y="497"/>
                </a:lnTo>
                <a:lnTo>
                  <a:pt x="399" y="507"/>
                </a:lnTo>
                <a:lnTo>
                  <a:pt x="399" y="517"/>
                </a:lnTo>
                <a:lnTo>
                  <a:pt x="380" y="517"/>
                </a:lnTo>
                <a:lnTo>
                  <a:pt x="380" y="527"/>
                </a:lnTo>
                <a:lnTo>
                  <a:pt x="390" y="527"/>
                </a:lnTo>
                <a:lnTo>
                  <a:pt x="399" y="527"/>
                </a:lnTo>
                <a:lnTo>
                  <a:pt x="409" y="536"/>
                </a:lnTo>
                <a:lnTo>
                  <a:pt x="419" y="546"/>
                </a:lnTo>
                <a:lnTo>
                  <a:pt x="419" y="556"/>
                </a:lnTo>
                <a:lnTo>
                  <a:pt x="429" y="556"/>
                </a:lnTo>
                <a:lnTo>
                  <a:pt x="438" y="566"/>
                </a:lnTo>
                <a:lnTo>
                  <a:pt x="448" y="566"/>
                </a:lnTo>
                <a:lnTo>
                  <a:pt x="448" y="575"/>
                </a:lnTo>
                <a:lnTo>
                  <a:pt x="448" y="585"/>
                </a:lnTo>
                <a:lnTo>
                  <a:pt x="448" y="595"/>
                </a:lnTo>
                <a:lnTo>
                  <a:pt x="458" y="595"/>
                </a:lnTo>
                <a:lnTo>
                  <a:pt x="458" y="605"/>
                </a:lnTo>
                <a:lnTo>
                  <a:pt x="468" y="614"/>
                </a:lnTo>
                <a:lnTo>
                  <a:pt x="468" y="624"/>
                </a:lnTo>
                <a:lnTo>
                  <a:pt x="477" y="634"/>
                </a:lnTo>
                <a:lnTo>
                  <a:pt x="477" y="644"/>
                </a:lnTo>
                <a:lnTo>
                  <a:pt x="487" y="653"/>
                </a:lnTo>
                <a:lnTo>
                  <a:pt x="487" y="663"/>
                </a:lnTo>
                <a:lnTo>
                  <a:pt x="477" y="673"/>
                </a:lnTo>
                <a:lnTo>
                  <a:pt x="477" y="692"/>
                </a:lnTo>
                <a:lnTo>
                  <a:pt x="487" y="692"/>
                </a:lnTo>
                <a:lnTo>
                  <a:pt x="487" y="702"/>
                </a:lnTo>
                <a:lnTo>
                  <a:pt x="487" y="722"/>
                </a:lnTo>
                <a:lnTo>
                  <a:pt x="487" y="741"/>
                </a:lnTo>
                <a:lnTo>
                  <a:pt x="487" y="751"/>
                </a:lnTo>
                <a:lnTo>
                  <a:pt x="487" y="761"/>
                </a:lnTo>
                <a:lnTo>
                  <a:pt x="487" y="770"/>
                </a:lnTo>
                <a:lnTo>
                  <a:pt x="477" y="761"/>
                </a:lnTo>
                <a:lnTo>
                  <a:pt x="468" y="761"/>
                </a:lnTo>
                <a:lnTo>
                  <a:pt x="458" y="751"/>
                </a:lnTo>
                <a:lnTo>
                  <a:pt x="448" y="751"/>
                </a:lnTo>
                <a:lnTo>
                  <a:pt x="429" y="751"/>
                </a:lnTo>
                <a:lnTo>
                  <a:pt x="419" y="741"/>
                </a:lnTo>
                <a:lnTo>
                  <a:pt x="399" y="731"/>
                </a:lnTo>
                <a:lnTo>
                  <a:pt x="390" y="712"/>
                </a:lnTo>
                <a:lnTo>
                  <a:pt x="380" y="702"/>
                </a:lnTo>
                <a:lnTo>
                  <a:pt x="351" y="683"/>
                </a:lnTo>
                <a:lnTo>
                  <a:pt x="331" y="673"/>
                </a:lnTo>
                <a:lnTo>
                  <a:pt x="331" y="663"/>
                </a:lnTo>
                <a:lnTo>
                  <a:pt x="312" y="673"/>
                </a:lnTo>
                <a:lnTo>
                  <a:pt x="292" y="663"/>
                </a:lnTo>
                <a:lnTo>
                  <a:pt x="263" y="634"/>
                </a:lnTo>
                <a:lnTo>
                  <a:pt x="234" y="614"/>
                </a:lnTo>
                <a:lnTo>
                  <a:pt x="195" y="585"/>
                </a:lnTo>
                <a:lnTo>
                  <a:pt x="126" y="556"/>
                </a:lnTo>
                <a:lnTo>
                  <a:pt x="107" y="536"/>
                </a:lnTo>
                <a:lnTo>
                  <a:pt x="78" y="527"/>
                </a:lnTo>
                <a:lnTo>
                  <a:pt x="58" y="507"/>
                </a:lnTo>
                <a:lnTo>
                  <a:pt x="39" y="488"/>
                </a:lnTo>
                <a:lnTo>
                  <a:pt x="19" y="468"/>
                </a:lnTo>
                <a:lnTo>
                  <a:pt x="0" y="458"/>
                </a:lnTo>
                <a:close/>
              </a:path>
            </a:pathLst>
          </a:custGeom>
          <a:solidFill>
            <a:srgbClr val="969696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grpSp>
        <p:nvGrpSpPr>
          <p:cNvPr id="18525" name="Group 273"/>
          <p:cNvGrpSpPr>
            <a:grpSpLocks noChangeAspect="1"/>
          </p:cNvGrpSpPr>
          <p:nvPr>
            <p:custDataLst>
              <p:tags r:id="rId91"/>
            </p:custDataLst>
          </p:nvPr>
        </p:nvGrpSpPr>
        <p:grpSpPr bwMode="auto">
          <a:xfrm>
            <a:off x="6950075" y="3930650"/>
            <a:ext cx="325438" cy="477838"/>
            <a:chOff x="8633" y="1737"/>
            <a:chExt cx="487" cy="770"/>
          </a:xfrm>
        </p:grpSpPr>
        <p:sp>
          <p:nvSpPr>
            <p:cNvPr id="18786" name="Freeform 275"/>
            <p:cNvSpPr>
              <a:spLocks noChangeAspect="1"/>
            </p:cNvSpPr>
            <p:nvPr/>
          </p:nvSpPr>
          <p:spPr bwMode="auto">
            <a:xfrm>
              <a:off x="8633" y="1737"/>
              <a:ext cx="487" cy="770"/>
            </a:xfrm>
            <a:custGeom>
              <a:avLst/>
              <a:gdLst>
                <a:gd name="T0" fmla="*/ 29 w 487"/>
                <a:gd name="T1" fmla="*/ 449 h 770"/>
                <a:gd name="T2" fmla="*/ 48 w 487"/>
                <a:gd name="T3" fmla="*/ 409 h 770"/>
                <a:gd name="T4" fmla="*/ 87 w 487"/>
                <a:gd name="T5" fmla="*/ 370 h 770"/>
                <a:gd name="T6" fmla="*/ 87 w 487"/>
                <a:gd name="T7" fmla="*/ 292 h 770"/>
                <a:gd name="T8" fmla="*/ 48 w 487"/>
                <a:gd name="T9" fmla="*/ 312 h 770"/>
                <a:gd name="T10" fmla="*/ 39 w 487"/>
                <a:gd name="T11" fmla="*/ 253 h 770"/>
                <a:gd name="T12" fmla="*/ 78 w 487"/>
                <a:gd name="T13" fmla="*/ 244 h 770"/>
                <a:gd name="T14" fmla="*/ 87 w 487"/>
                <a:gd name="T15" fmla="*/ 156 h 770"/>
                <a:gd name="T16" fmla="*/ 58 w 487"/>
                <a:gd name="T17" fmla="*/ 107 h 770"/>
                <a:gd name="T18" fmla="*/ 78 w 487"/>
                <a:gd name="T19" fmla="*/ 68 h 770"/>
                <a:gd name="T20" fmla="*/ 126 w 487"/>
                <a:gd name="T21" fmla="*/ 39 h 770"/>
                <a:gd name="T22" fmla="*/ 175 w 487"/>
                <a:gd name="T23" fmla="*/ 9 h 770"/>
                <a:gd name="T24" fmla="*/ 204 w 487"/>
                <a:gd name="T25" fmla="*/ 29 h 770"/>
                <a:gd name="T26" fmla="*/ 234 w 487"/>
                <a:gd name="T27" fmla="*/ 19 h 770"/>
                <a:gd name="T28" fmla="*/ 253 w 487"/>
                <a:gd name="T29" fmla="*/ 29 h 770"/>
                <a:gd name="T30" fmla="*/ 292 w 487"/>
                <a:gd name="T31" fmla="*/ 39 h 770"/>
                <a:gd name="T32" fmla="*/ 292 w 487"/>
                <a:gd name="T33" fmla="*/ 78 h 770"/>
                <a:gd name="T34" fmla="*/ 253 w 487"/>
                <a:gd name="T35" fmla="*/ 68 h 770"/>
                <a:gd name="T36" fmla="*/ 243 w 487"/>
                <a:gd name="T37" fmla="*/ 39 h 770"/>
                <a:gd name="T38" fmla="*/ 243 w 487"/>
                <a:gd name="T39" fmla="*/ 78 h 770"/>
                <a:gd name="T40" fmla="*/ 253 w 487"/>
                <a:gd name="T41" fmla="*/ 117 h 770"/>
                <a:gd name="T42" fmla="*/ 282 w 487"/>
                <a:gd name="T43" fmla="*/ 166 h 770"/>
                <a:gd name="T44" fmla="*/ 321 w 487"/>
                <a:gd name="T45" fmla="*/ 195 h 770"/>
                <a:gd name="T46" fmla="*/ 380 w 487"/>
                <a:gd name="T47" fmla="*/ 214 h 770"/>
                <a:gd name="T48" fmla="*/ 380 w 487"/>
                <a:gd name="T49" fmla="*/ 253 h 770"/>
                <a:gd name="T50" fmla="*/ 351 w 487"/>
                <a:gd name="T51" fmla="*/ 273 h 770"/>
                <a:gd name="T52" fmla="*/ 341 w 487"/>
                <a:gd name="T53" fmla="*/ 312 h 770"/>
                <a:gd name="T54" fmla="*/ 351 w 487"/>
                <a:gd name="T55" fmla="*/ 341 h 770"/>
                <a:gd name="T56" fmla="*/ 360 w 487"/>
                <a:gd name="T57" fmla="*/ 380 h 770"/>
                <a:gd name="T58" fmla="*/ 370 w 487"/>
                <a:gd name="T59" fmla="*/ 400 h 770"/>
                <a:gd name="T60" fmla="*/ 390 w 487"/>
                <a:gd name="T61" fmla="*/ 400 h 770"/>
                <a:gd name="T62" fmla="*/ 438 w 487"/>
                <a:gd name="T63" fmla="*/ 429 h 770"/>
                <a:gd name="T64" fmla="*/ 429 w 487"/>
                <a:gd name="T65" fmla="*/ 439 h 770"/>
                <a:gd name="T66" fmla="*/ 409 w 487"/>
                <a:gd name="T67" fmla="*/ 468 h 770"/>
                <a:gd name="T68" fmla="*/ 409 w 487"/>
                <a:gd name="T69" fmla="*/ 497 h 770"/>
                <a:gd name="T70" fmla="*/ 390 w 487"/>
                <a:gd name="T71" fmla="*/ 517 h 770"/>
                <a:gd name="T72" fmla="*/ 390 w 487"/>
                <a:gd name="T73" fmla="*/ 527 h 770"/>
                <a:gd name="T74" fmla="*/ 419 w 487"/>
                <a:gd name="T75" fmla="*/ 546 h 770"/>
                <a:gd name="T76" fmla="*/ 429 w 487"/>
                <a:gd name="T77" fmla="*/ 556 h 770"/>
                <a:gd name="T78" fmla="*/ 448 w 487"/>
                <a:gd name="T79" fmla="*/ 575 h 770"/>
                <a:gd name="T80" fmla="*/ 458 w 487"/>
                <a:gd name="T81" fmla="*/ 595 h 770"/>
                <a:gd name="T82" fmla="*/ 468 w 487"/>
                <a:gd name="T83" fmla="*/ 614 h 770"/>
                <a:gd name="T84" fmla="*/ 477 w 487"/>
                <a:gd name="T85" fmla="*/ 644 h 770"/>
                <a:gd name="T86" fmla="*/ 477 w 487"/>
                <a:gd name="T87" fmla="*/ 673 h 770"/>
                <a:gd name="T88" fmla="*/ 487 w 487"/>
                <a:gd name="T89" fmla="*/ 702 h 770"/>
                <a:gd name="T90" fmla="*/ 487 w 487"/>
                <a:gd name="T91" fmla="*/ 751 h 770"/>
                <a:gd name="T92" fmla="*/ 487 w 487"/>
                <a:gd name="T93" fmla="*/ 770 h 770"/>
                <a:gd name="T94" fmla="*/ 458 w 487"/>
                <a:gd name="T95" fmla="*/ 761 h 770"/>
                <a:gd name="T96" fmla="*/ 419 w 487"/>
                <a:gd name="T97" fmla="*/ 741 h 770"/>
                <a:gd name="T98" fmla="*/ 380 w 487"/>
                <a:gd name="T99" fmla="*/ 702 h 770"/>
                <a:gd name="T100" fmla="*/ 331 w 487"/>
                <a:gd name="T101" fmla="*/ 663 h 770"/>
                <a:gd name="T102" fmla="*/ 263 w 487"/>
                <a:gd name="T103" fmla="*/ 644 h 770"/>
                <a:gd name="T104" fmla="*/ 126 w 487"/>
                <a:gd name="T105" fmla="*/ 556 h 770"/>
                <a:gd name="T106" fmla="*/ 58 w 487"/>
                <a:gd name="T107" fmla="*/ 507 h 770"/>
                <a:gd name="T108" fmla="*/ 0 w 487"/>
                <a:gd name="T109" fmla="*/ 458 h 77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487"/>
                <a:gd name="T166" fmla="*/ 0 h 770"/>
                <a:gd name="T167" fmla="*/ 487 w 487"/>
                <a:gd name="T168" fmla="*/ 770 h 77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487" h="770">
                  <a:moveTo>
                    <a:pt x="0" y="458"/>
                  </a:moveTo>
                  <a:lnTo>
                    <a:pt x="9" y="449"/>
                  </a:lnTo>
                  <a:lnTo>
                    <a:pt x="29" y="449"/>
                  </a:lnTo>
                  <a:lnTo>
                    <a:pt x="39" y="439"/>
                  </a:lnTo>
                  <a:lnTo>
                    <a:pt x="48" y="429"/>
                  </a:lnTo>
                  <a:lnTo>
                    <a:pt x="48" y="409"/>
                  </a:lnTo>
                  <a:lnTo>
                    <a:pt x="58" y="390"/>
                  </a:lnTo>
                  <a:lnTo>
                    <a:pt x="78" y="390"/>
                  </a:lnTo>
                  <a:lnTo>
                    <a:pt x="87" y="370"/>
                  </a:lnTo>
                  <a:lnTo>
                    <a:pt x="97" y="370"/>
                  </a:lnTo>
                  <a:lnTo>
                    <a:pt x="97" y="292"/>
                  </a:lnTo>
                  <a:lnTo>
                    <a:pt x="87" y="292"/>
                  </a:lnTo>
                  <a:lnTo>
                    <a:pt x="68" y="302"/>
                  </a:lnTo>
                  <a:lnTo>
                    <a:pt x="48" y="312"/>
                  </a:lnTo>
                  <a:lnTo>
                    <a:pt x="39" y="302"/>
                  </a:lnTo>
                  <a:lnTo>
                    <a:pt x="29" y="292"/>
                  </a:lnTo>
                  <a:lnTo>
                    <a:pt x="39" y="253"/>
                  </a:lnTo>
                  <a:lnTo>
                    <a:pt x="68" y="244"/>
                  </a:lnTo>
                  <a:lnTo>
                    <a:pt x="78" y="244"/>
                  </a:lnTo>
                  <a:lnTo>
                    <a:pt x="97" y="185"/>
                  </a:lnTo>
                  <a:lnTo>
                    <a:pt x="97" y="175"/>
                  </a:lnTo>
                  <a:lnTo>
                    <a:pt x="87" y="156"/>
                  </a:lnTo>
                  <a:lnTo>
                    <a:pt x="78" y="146"/>
                  </a:lnTo>
                  <a:lnTo>
                    <a:pt x="78" y="127"/>
                  </a:lnTo>
                  <a:lnTo>
                    <a:pt x="58" y="107"/>
                  </a:lnTo>
                  <a:lnTo>
                    <a:pt x="58" y="97"/>
                  </a:lnTo>
                  <a:lnTo>
                    <a:pt x="58" y="88"/>
                  </a:lnTo>
                  <a:lnTo>
                    <a:pt x="78" y="68"/>
                  </a:lnTo>
                  <a:lnTo>
                    <a:pt x="107" y="58"/>
                  </a:lnTo>
                  <a:lnTo>
                    <a:pt x="117" y="58"/>
                  </a:lnTo>
                  <a:lnTo>
                    <a:pt x="126" y="39"/>
                  </a:lnTo>
                  <a:lnTo>
                    <a:pt x="146" y="19"/>
                  </a:lnTo>
                  <a:lnTo>
                    <a:pt x="156" y="0"/>
                  </a:lnTo>
                  <a:lnTo>
                    <a:pt x="175" y="9"/>
                  </a:lnTo>
                  <a:lnTo>
                    <a:pt x="185" y="19"/>
                  </a:lnTo>
                  <a:lnTo>
                    <a:pt x="195" y="19"/>
                  </a:lnTo>
                  <a:lnTo>
                    <a:pt x="204" y="29"/>
                  </a:lnTo>
                  <a:lnTo>
                    <a:pt x="214" y="39"/>
                  </a:lnTo>
                  <a:lnTo>
                    <a:pt x="224" y="39"/>
                  </a:lnTo>
                  <a:lnTo>
                    <a:pt x="234" y="19"/>
                  </a:lnTo>
                  <a:lnTo>
                    <a:pt x="243" y="19"/>
                  </a:lnTo>
                  <a:lnTo>
                    <a:pt x="253" y="29"/>
                  </a:lnTo>
                  <a:lnTo>
                    <a:pt x="263" y="39"/>
                  </a:lnTo>
                  <a:lnTo>
                    <a:pt x="273" y="39"/>
                  </a:lnTo>
                  <a:lnTo>
                    <a:pt x="292" y="39"/>
                  </a:lnTo>
                  <a:lnTo>
                    <a:pt x="292" y="58"/>
                  </a:lnTo>
                  <a:lnTo>
                    <a:pt x="292" y="78"/>
                  </a:lnTo>
                  <a:lnTo>
                    <a:pt x="273" y="78"/>
                  </a:lnTo>
                  <a:lnTo>
                    <a:pt x="263" y="78"/>
                  </a:lnTo>
                  <a:lnTo>
                    <a:pt x="253" y="68"/>
                  </a:lnTo>
                  <a:lnTo>
                    <a:pt x="253" y="58"/>
                  </a:lnTo>
                  <a:lnTo>
                    <a:pt x="253" y="39"/>
                  </a:lnTo>
                  <a:lnTo>
                    <a:pt x="243" y="39"/>
                  </a:lnTo>
                  <a:lnTo>
                    <a:pt x="243" y="58"/>
                  </a:lnTo>
                  <a:lnTo>
                    <a:pt x="243" y="68"/>
                  </a:lnTo>
                  <a:lnTo>
                    <a:pt x="243" y="78"/>
                  </a:lnTo>
                  <a:lnTo>
                    <a:pt x="253" y="88"/>
                  </a:lnTo>
                  <a:lnTo>
                    <a:pt x="253" y="97"/>
                  </a:lnTo>
                  <a:lnTo>
                    <a:pt x="253" y="117"/>
                  </a:lnTo>
                  <a:lnTo>
                    <a:pt x="253" y="127"/>
                  </a:lnTo>
                  <a:lnTo>
                    <a:pt x="263" y="136"/>
                  </a:lnTo>
                  <a:lnTo>
                    <a:pt x="282" y="166"/>
                  </a:lnTo>
                  <a:lnTo>
                    <a:pt x="292" y="175"/>
                  </a:lnTo>
                  <a:lnTo>
                    <a:pt x="302" y="185"/>
                  </a:lnTo>
                  <a:lnTo>
                    <a:pt x="321" y="195"/>
                  </a:lnTo>
                  <a:lnTo>
                    <a:pt x="341" y="195"/>
                  </a:lnTo>
                  <a:lnTo>
                    <a:pt x="360" y="205"/>
                  </a:lnTo>
                  <a:lnTo>
                    <a:pt x="380" y="214"/>
                  </a:lnTo>
                  <a:lnTo>
                    <a:pt x="380" y="224"/>
                  </a:lnTo>
                  <a:lnTo>
                    <a:pt x="380" y="234"/>
                  </a:lnTo>
                  <a:lnTo>
                    <a:pt x="380" y="253"/>
                  </a:lnTo>
                  <a:lnTo>
                    <a:pt x="380" y="263"/>
                  </a:lnTo>
                  <a:lnTo>
                    <a:pt x="370" y="273"/>
                  </a:lnTo>
                  <a:lnTo>
                    <a:pt x="351" y="273"/>
                  </a:lnTo>
                  <a:lnTo>
                    <a:pt x="341" y="283"/>
                  </a:lnTo>
                  <a:lnTo>
                    <a:pt x="341" y="302"/>
                  </a:lnTo>
                  <a:lnTo>
                    <a:pt x="341" y="312"/>
                  </a:lnTo>
                  <a:lnTo>
                    <a:pt x="341" y="322"/>
                  </a:lnTo>
                  <a:lnTo>
                    <a:pt x="341" y="341"/>
                  </a:lnTo>
                  <a:lnTo>
                    <a:pt x="351" y="341"/>
                  </a:lnTo>
                  <a:lnTo>
                    <a:pt x="351" y="351"/>
                  </a:lnTo>
                  <a:lnTo>
                    <a:pt x="351" y="361"/>
                  </a:lnTo>
                  <a:lnTo>
                    <a:pt x="360" y="380"/>
                  </a:lnTo>
                  <a:lnTo>
                    <a:pt x="370" y="390"/>
                  </a:lnTo>
                  <a:lnTo>
                    <a:pt x="370" y="400"/>
                  </a:lnTo>
                  <a:lnTo>
                    <a:pt x="380" y="400"/>
                  </a:lnTo>
                  <a:lnTo>
                    <a:pt x="380" y="409"/>
                  </a:lnTo>
                  <a:lnTo>
                    <a:pt x="390" y="400"/>
                  </a:lnTo>
                  <a:lnTo>
                    <a:pt x="399" y="409"/>
                  </a:lnTo>
                  <a:lnTo>
                    <a:pt x="419" y="429"/>
                  </a:lnTo>
                  <a:lnTo>
                    <a:pt x="438" y="429"/>
                  </a:lnTo>
                  <a:lnTo>
                    <a:pt x="448" y="429"/>
                  </a:lnTo>
                  <a:lnTo>
                    <a:pt x="438" y="439"/>
                  </a:lnTo>
                  <a:lnTo>
                    <a:pt x="429" y="439"/>
                  </a:lnTo>
                  <a:lnTo>
                    <a:pt x="419" y="439"/>
                  </a:lnTo>
                  <a:lnTo>
                    <a:pt x="409" y="449"/>
                  </a:lnTo>
                  <a:lnTo>
                    <a:pt x="409" y="468"/>
                  </a:lnTo>
                  <a:lnTo>
                    <a:pt x="399" y="468"/>
                  </a:lnTo>
                  <a:lnTo>
                    <a:pt x="399" y="488"/>
                  </a:lnTo>
                  <a:lnTo>
                    <a:pt x="409" y="497"/>
                  </a:lnTo>
                  <a:lnTo>
                    <a:pt x="399" y="507"/>
                  </a:lnTo>
                  <a:lnTo>
                    <a:pt x="399" y="517"/>
                  </a:lnTo>
                  <a:lnTo>
                    <a:pt x="390" y="517"/>
                  </a:lnTo>
                  <a:lnTo>
                    <a:pt x="380" y="527"/>
                  </a:lnTo>
                  <a:lnTo>
                    <a:pt x="390" y="527"/>
                  </a:lnTo>
                  <a:lnTo>
                    <a:pt x="399" y="527"/>
                  </a:lnTo>
                  <a:lnTo>
                    <a:pt x="409" y="536"/>
                  </a:lnTo>
                  <a:lnTo>
                    <a:pt x="419" y="546"/>
                  </a:lnTo>
                  <a:lnTo>
                    <a:pt x="419" y="556"/>
                  </a:lnTo>
                  <a:lnTo>
                    <a:pt x="429" y="556"/>
                  </a:lnTo>
                  <a:lnTo>
                    <a:pt x="438" y="566"/>
                  </a:lnTo>
                  <a:lnTo>
                    <a:pt x="448" y="566"/>
                  </a:lnTo>
                  <a:lnTo>
                    <a:pt x="448" y="575"/>
                  </a:lnTo>
                  <a:lnTo>
                    <a:pt x="448" y="585"/>
                  </a:lnTo>
                  <a:lnTo>
                    <a:pt x="448" y="595"/>
                  </a:lnTo>
                  <a:lnTo>
                    <a:pt x="458" y="595"/>
                  </a:lnTo>
                  <a:lnTo>
                    <a:pt x="458" y="605"/>
                  </a:lnTo>
                  <a:lnTo>
                    <a:pt x="468" y="614"/>
                  </a:lnTo>
                  <a:lnTo>
                    <a:pt x="468" y="624"/>
                  </a:lnTo>
                  <a:lnTo>
                    <a:pt x="477" y="634"/>
                  </a:lnTo>
                  <a:lnTo>
                    <a:pt x="477" y="644"/>
                  </a:lnTo>
                  <a:lnTo>
                    <a:pt x="487" y="653"/>
                  </a:lnTo>
                  <a:lnTo>
                    <a:pt x="487" y="663"/>
                  </a:lnTo>
                  <a:lnTo>
                    <a:pt x="477" y="673"/>
                  </a:lnTo>
                  <a:lnTo>
                    <a:pt x="477" y="692"/>
                  </a:lnTo>
                  <a:lnTo>
                    <a:pt x="487" y="702"/>
                  </a:lnTo>
                  <a:lnTo>
                    <a:pt x="487" y="722"/>
                  </a:lnTo>
                  <a:lnTo>
                    <a:pt x="487" y="741"/>
                  </a:lnTo>
                  <a:lnTo>
                    <a:pt x="487" y="751"/>
                  </a:lnTo>
                  <a:lnTo>
                    <a:pt x="487" y="761"/>
                  </a:lnTo>
                  <a:lnTo>
                    <a:pt x="487" y="770"/>
                  </a:lnTo>
                  <a:lnTo>
                    <a:pt x="477" y="761"/>
                  </a:lnTo>
                  <a:lnTo>
                    <a:pt x="468" y="761"/>
                  </a:lnTo>
                  <a:lnTo>
                    <a:pt x="458" y="761"/>
                  </a:lnTo>
                  <a:lnTo>
                    <a:pt x="448" y="761"/>
                  </a:lnTo>
                  <a:lnTo>
                    <a:pt x="429" y="751"/>
                  </a:lnTo>
                  <a:lnTo>
                    <a:pt x="419" y="741"/>
                  </a:lnTo>
                  <a:lnTo>
                    <a:pt x="399" y="731"/>
                  </a:lnTo>
                  <a:lnTo>
                    <a:pt x="390" y="712"/>
                  </a:lnTo>
                  <a:lnTo>
                    <a:pt x="380" y="702"/>
                  </a:lnTo>
                  <a:lnTo>
                    <a:pt x="351" y="683"/>
                  </a:lnTo>
                  <a:lnTo>
                    <a:pt x="331" y="673"/>
                  </a:lnTo>
                  <a:lnTo>
                    <a:pt x="331" y="663"/>
                  </a:lnTo>
                  <a:lnTo>
                    <a:pt x="312" y="673"/>
                  </a:lnTo>
                  <a:lnTo>
                    <a:pt x="292" y="663"/>
                  </a:lnTo>
                  <a:lnTo>
                    <a:pt x="263" y="644"/>
                  </a:lnTo>
                  <a:lnTo>
                    <a:pt x="234" y="614"/>
                  </a:lnTo>
                  <a:lnTo>
                    <a:pt x="195" y="585"/>
                  </a:lnTo>
                  <a:lnTo>
                    <a:pt x="126" y="556"/>
                  </a:lnTo>
                  <a:lnTo>
                    <a:pt x="107" y="536"/>
                  </a:lnTo>
                  <a:lnTo>
                    <a:pt x="78" y="527"/>
                  </a:lnTo>
                  <a:lnTo>
                    <a:pt x="58" y="507"/>
                  </a:lnTo>
                  <a:lnTo>
                    <a:pt x="39" y="488"/>
                  </a:lnTo>
                  <a:lnTo>
                    <a:pt x="19" y="468"/>
                  </a:lnTo>
                  <a:lnTo>
                    <a:pt x="0" y="458"/>
                  </a:lnTo>
                  <a:close/>
                </a:path>
              </a:pathLst>
            </a:custGeom>
            <a:solidFill>
              <a:srgbClr val="96969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8787" name="Freeform 274"/>
            <p:cNvSpPr>
              <a:spLocks noChangeAspect="1"/>
            </p:cNvSpPr>
            <p:nvPr/>
          </p:nvSpPr>
          <p:spPr bwMode="auto">
            <a:xfrm>
              <a:off x="8633" y="1737"/>
              <a:ext cx="487" cy="770"/>
            </a:xfrm>
            <a:custGeom>
              <a:avLst/>
              <a:gdLst>
                <a:gd name="T0" fmla="*/ 29 w 487"/>
                <a:gd name="T1" fmla="*/ 449 h 770"/>
                <a:gd name="T2" fmla="*/ 48 w 487"/>
                <a:gd name="T3" fmla="*/ 409 h 770"/>
                <a:gd name="T4" fmla="*/ 87 w 487"/>
                <a:gd name="T5" fmla="*/ 370 h 770"/>
                <a:gd name="T6" fmla="*/ 87 w 487"/>
                <a:gd name="T7" fmla="*/ 292 h 770"/>
                <a:gd name="T8" fmla="*/ 48 w 487"/>
                <a:gd name="T9" fmla="*/ 312 h 770"/>
                <a:gd name="T10" fmla="*/ 39 w 487"/>
                <a:gd name="T11" fmla="*/ 253 h 770"/>
                <a:gd name="T12" fmla="*/ 78 w 487"/>
                <a:gd name="T13" fmla="*/ 244 h 770"/>
                <a:gd name="T14" fmla="*/ 87 w 487"/>
                <a:gd name="T15" fmla="*/ 156 h 770"/>
                <a:gd name="T16" fmla="*/ 58 w 487"/>
                <a:gd name="T17" fmla="*/ 107 h 770"/>
                <a:gd name="T18" fmla="*/ 78 w 487"/>
                <a:gd name="T19" fmla="*/ 68 h 770"/>
                <a:gd name="T20" fmla="*/ 126 w 487"/>
                <a:gd name="T21" fmla="*/ 39 h 770"/>
                <a:gd name="T22" fmla="*/ 175 w 487"/>
                <a:gd name="T23" fmla="*/ 9 h 770"/>
                <a:gd name="T24" fmla="*/ 204 w 487"/>
                <a:gd name="T25" fmla="*/ 29 h 770"/>
                <a:gd name="T26" fmla="*/ 234 w 487"/>
                <a:gd name="T27" fmla="*/ 19 h 770"/>
                <a:gd name="T28" fmla="*/ 253 w 487"/>
                <a:gd name="T29" fmla="*/ 29 h 770"/>
                <a:gd name="T30" fmla="*/ 292 w 487"/>
                <a:gd name="T31" fmla="*/ 39 h 770"/>
                <a:gd name="T32" fmla="*/ 292 w 487"/>
                <a:gd name="T33" fmla="*/ 78 h 770"/>
                <a:gd name="T34" fmla="*/ 253 w 487"/>
                <a:gd name="T35" fmla="*/ 68 h 770"/>
                <a:gd name="T36" fmla="*/ 243 w 487"/>
                <a:gd name="T37" fmla="*/ 39 h 770"/>
                <a:gd name="T38" fmla="*/ 243 w 487"/>
                <a:gd name="T39" fmla="*/ 78 h 770"/>
                <a:gd name="T40" fmla="*/ 253 w 487"/>
                <a:gd name="T41" fmla="*/ 117 h 770"/>
                <a:gd name="T42" fmla="*/ 282 w 487"/>
                <a:gd name="T43" fmla="*/ 166 h 770"/>
                <a:gd name="T44" fmla="*/ 321 w 487"/>
                <a:gd name="T45" fmla="*/ 195 h 770"/>
                <a:gd name="T46" fmla="*/ 380 w 487"/>
                <a:gd name="T47" fmla="*/ 214 h 770"/>
                <a:gd name="T48" fmla="*/ 380 w 487"/>
                <a:gd name="T49" fmla="*/ 253 h 770"/>
                <a:gd name="T50" fmla="*/ 351 w 487"/>
                <a:gd name="T51" fmla="*/ 273 h 770"/>
                <a:gd name="T52" fmla="*/ 341 w 487"/>
                <a:gd name="T53" fmla="*/ 312 h 770"/>
                <a:gd name="T54" fmla="*/ 351 w 487"/>
                <a:gd name="T55" fmla="*/ 341 h 770"/>
                <a:gd name="T56" fmla="*/ 360 w 487"/>
                <a:gd name="T57" fmla="*/ 380 h 770"/>
                <a:gd name="T58" fmla="*/ 370 w 487"/>
                <a:gd name="T59" fmla="*/ 400 h 770"/>
                <a:gd name="T60" fmla="*/ 390 w 487"/>
                <a:gd name="T61" fmla="*/ 400 h 770"/>
                <a:gd name="T62" fmla="*/ 438 w 487"/>
                <a:gd name="T63" fmla="*/ 429 h 770"/>
                <a:gd name="T64" fmla="*/ 429 w 487"/>
                <a:gd name="T65" fmla="*/ 439 h 770"/>
                <a:gd name="T66" fmla="*/ 409 w 487"/>
                <a:gd name="T67" fmla="*/ 468 h 770"/>
                <a:gd name="T68" fmla="*/ 409 w 487"/>
                <a:gd name="T69" fmla="*/ 497 h 770"/>
                <a:gd name="T70" fmla="*/ 390 w 487"/>
                <a:gd name="T71" fmla="*/ 517 h 770"/>
                <a:gd name="T72" fmla="*/ 390 w 487"/>
                <a:gd name="T73" fmla="*/ 527 h 770"/>
                <a:gd name="T74" fmla="*/ 419 w 487"/>
                <a:gd name="T75" fmla="*/ 546 h 770"/>
                <a:gd name="T76" fmla="*/ 429 w 487"/>
                <a:gd name="T77" fmla="*/ 556 h 770"/>
                <a:gd name="T78" fmla="*/ 448 w 487"/>
                <a:gd name="T79" fmla="*/ 575 h 770"/>
                <a:gd name="T80" fmla="*/ 458 w 487"/>
                <a:gd name="T81" fmla="*/ 595 h 770"/>
                <a:gd name="T82" fmla="*/ 468 w 487"/>
                <a:gd name="T83" fmla="*/ 614 h 770"/>
                <a:gd name="T84" fmla="*/ 477 w 487"/>
                <a:gd name="T85" fmla="*/ 644 h 770"/>
                <a:gd name="T86" fmla="*/ 477 w 487"/>
                <a:gd name="T87" fmla="*/ 673 h 770"/>
                <a:gd name="T88" fmla="*/ 487 w 487"/>
                <a:gd name="T89" fmla="*/ 702 h 770"/>
                <a:gd name="T90" fmla="*/ 487 w 487"/>
                <a:gd name="T91" fmla="*/ 751 h 770"/>
                <a:gd name="T92" fmla="*/ 487 w 487"/>
                <a:gd name="T93" fmla="*/ 770 h 770"/>
                <a:gd name="T94" fmla="*/ 458 w 487"/>
                <a:gd name="T95" fmla="*/ 761 h 770"/>
                <a:gd name="T96" fmla="*/ 419 w 487"/>
                <a:gd name="T97" fmla="*/ 741 h 770"/>
                <a:gd name="T98" fmla="*/ 380 w 487"/>
                <a:gd name="T99" fmla="*/ 702 h 770"/>
                <a:gd name="T100" fmla="*/ 331 w 487"/>
                <a:gd name="T101" fmla="*/ 663 h 770"/>
                <a:gd name="T102" fmla="*/ 263 w 487"/>
                <a:gd name="T103" fmla="*/ 644 h 770"/>
                <a:gd name="T104" fmla="*/ 126 w 487"/>
                <a:gd name="T105" fmla="*/ 556 h 770"/>
                <a:gd name="T106" fmla="*/ 58 w 487"/>
                <a:gd name="T107" fmla="*/ 507 h 770"/>
                <a:gd name="T108" fmla="*/ 0 w 487"/>
                <a:gd name="T109" fmla="*/ 458 h 77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487"/>
                <a:gd name="T166" fmla="*/ 0 h 770"/>
                <a:gd name="T167" fmla="*/ 487 w 487"/>
                <a:gd name="T168" fmla="*/ 770 h 77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487" h="770">
                  <a:moveTo>
                    <a:pt x="0" y="458"/>
                  </a:moveTo>
                  <a:lnTo>
                    <a:pt x="9" y="449"/>
                  </a:lnTo>
                  <a:lnTo>
                    <a:pt x="29" y="449"/>
                  </a:lnTo>
                  <a:lnTo>
                    <a:pt x="39" y="439"/>
                  </a:lnTo>
                  <a:lnTo>
                    <a:pt x="48" y="429"/>
                  </a:lnTo>
                  <a:lnTo>
                    <a:pt x="48" y="409"/>
                  </a:lnTo>
                  <a:lnTo>
                    <a:pt x="58" y="390"/>
                  </a:lnTo>
                  <a:lnTo>
                    <a:pt x="78" y="390"/>
                  </a:lnTo>
                  <a:lnTo>
                    <a:pt x="87" y="370"/>
                  </a:lnTo>
                  <a:lnTo>
                    <a:pt x="97" y="370"/>
                  </a:lnTo>
                  <a:lnTo>
                    <a:pt x="97" y="292"/>
                  </a:lnTo>
                  <a:lnTo>
                    <a:pt x="87" y="292"/>
                  </a:lnTo>
                  <a:lnTo>
                    <a:pt x="68" y="302"/>
                  </a:lnTo>
                  <a:lnTo>
                    <a:pt x="48" y="312"/>
                  </a:lnTo>
                  <a:lnTo>
                    <a:pt x="39" y="302"/>
                  </a:lnTo>
                  <a:lnTo>
                    <a:pt x="29" y="292"/>
                  </a:lnTo>
                  <a:lnTo>
                    <a:pt x="39" y="253"/>
                  </a:lnTo>
                  <a:lnTo>
                    <a:pt x="68" y="244"/>
                  </a:lnTo>
                  <a:lnTo>
                    <a:pt x="78" y="244"/>
                  </a:lnTo>
                  <a:lnTo>
                    <a:pt x="97" y="185"/>
                  </a:lnTo>
                  <a:lnTo>
                    <a:pt x="97" y="175"/>
                  </a:lnTo>
                  <a:lnTo>
                    <a:pt x="87" y="156"/>
                  </a:lnTo>
                  <a:lnTo>
                    <a:pt x="78" y="146"/>
                  </a:lnTo>
                  <a:lnTo>
                    <a:pt x="78" y="127"/>
                  </a:lnTo>
                  <a:lnTo>
                    <a:pt x="58" y="107"/>
                  </a:lnTo>
                  <a:lnTo>
                    <a:pt x="58" y="97"/>
                  </a:lnTo>
                  <a:lnTo>
                    <a:pt x="58" y="88"/>
                  </a:lnTo>
                  <a:lnTo>
                    <a:pt x="78" y="68"/>
                  </a:lnTo>
                  <a:lnTo>
                    <a:pt x="107" y="58"/>
                  </a:lnTo>
                  <a:lnTo>
                    <a:pt x="117" y="58"/>
                  </a:lnTo>
                  <a:lnTo>
                    <a:pt x="126" y="39"/>
                  </a:lnTo>
                  <a:lnTo>
                    <a:pt x="146" y="19"/>
                  </a:lnTo>
                  <a:lnTo>
                    <a:pt x="156" y="0"/>
                  </a:lnTo>
                  <a:lnTo>
                    <a:pt x="175" y="9"/>
                  </a:lnTo>
                  <a:lnTo>
                    <a:pt x="185" y="19"/>
                  </a:lnTo>
                  <a:lnTo>
                    <a:pt x="195" y="19"/>
                  </a:lnTo>
                  <a:lnTo>
                    <a:pt x="204" y="29"/>
                  </a:lnTo>
                  <a:lnTo>
                    <a:pt x="214" y="39"/>
                  </a:lnTo>
                  <a:lnTo>
                    <a:pt x="224" y="39"/>
                  </a:lnTo>
                  <a:lnTo>
                    <a:pt x="234" y="19"/>
                  </a:lnTo>
                  <a:lnTo>
                    <a:pt x="243" y="19"/>
                  </a:lnTo>
                  <a:lnTo>
                    <a:pt x="253" y="29"/>
                  </a:lnTo>
                  <a:lnTo>
                    <a:pt x="263" y="39"/>
                  </a:lnTo>
                  <a:lnTo>
                    <a:pt x="273" y="39"/>
                  </a:lnTo>
                  <a:lnTo>
                    <a:pt x="292" y="39"/>
                  </a:lnTo>
                  <a:lnTo>
                    <a:pt x="292" y="58"/>
                  </a:lnTo>
                  <a:lnTo>
                    <a:pt x="292" y="78"/>
                  </a:lnTo>
                  <a:lnTo>
                    <a:pt x="273" y="78"/>
                  </a:lnTo>
                  <a:lnTo>
                    <a:pt x="263" y="78"/>
                  </a:lnTo>
                  <a:lnTo>
                    <a:pt x="253" y="68"/>
                  </a:lnTo>
                  <a:lnTo>
                    <a:pt x="253" y="58"/>
                  </a:lnTo>
                  <a:lnTo>
                    <a:pt x="253" y="39"/>
                  </a:lnTo>
                  <a:lnTo>
                    <a:pt x="243" y="39"/>
                  </a:lnTo>
                  <a:lnTo>
                    <a:pt x="243" y="58"/>
                  </a:lnTo>
                  <a:lnTo>
                    <a:pt x="243" y="68"/>
                  </a:lnTo>
                  <a:lnTo>
                    <a:pt x="243" y="78"/>
                  </a:lnTo>
                  <a:lnTo>
                    <a:pt x="253" y="88"/>
                  </a:lnTo>
                  <a:lnTo>
                    <a:pt x="253" y="97"/>
                  </a:lnTo>
                  <a:lnTo>
                    <a:pt x="253" y="117"/>
                  </a:lnTo>
                  <a:lnTo>
                    <a:pt x="253" y="127"/>
                  </a:lnTo>
                  <a:lnTo>
                    <a:pt x="263" y="136"/>
                  </a:lnTo>
                  <a:lnTo>
                    <a:pt x="282" y="166"/>
                  </a:lnTo>
                  <a:lnTo>
                    <a:pt x="292" y="175"/>
                  </a:lnTo>
                  <a:lnTo>
                    <a:pt x="302" y="185"/>
                  </a:lnTo>
                  <a:lnTo>
                    <a:pt x="321" y="195"/>
                  </a:lnTo>
                  <a:lnTo>
                    <a:pt x="341" y="195"/>
                  </a:lnTo>
                  <a:lnTo>
                    <a:pt x="360" y="205"/>
                  </a:lnTo>
                  <a:lnTo>
                    <a:pt x="380" y="214"/>
                  </a:lnTo>
                  <a:lnTo>
                    <a:pt x="380" y="224"/>
                  </a:lnTo>
                  <a:lnTo>
                    <a:pt x="380" y="234"/>
                  </a:lnTo>
                  <a:lnTo>
                    <a:pt x="380" y="253"/>
                  </a:lnTo>
                  <a:lnTo>
                    <a:pt x="380" y="263"/>
                  </a:lnTo>
                  <a:lnTo>
                    <a:pt x="370" y="273"/>
                  </a:lnTo>
                  <a:lnTo>
                    <a:pt x="351" y="273"/>
                  </a:lnTo>
                  <a:lnTo>
                    <a:pt x="341" y="283"/>
                  </a:lnTo>
                  <a:lnTo>
                    <a:pt x="341" y="302"/>
                  </a:lnTo>
                  <a:lnTo>
                    <a:pt x="341" y="312"/>
                  </a:lnTo>
                  <a:lnTo>
                    <a:pt x="341" y="322"/>
                  </a:lnTo>
                  <a:lnTo>
                    <a:pt x="341" y="341"/>
                  </a:lnTo>
                  <a:lnTo>
                    <a:pt x="351" y="341"/>
                  </a:lnTo>
                  <a:lnTo>
                    <a:pt x="351" y="351"/>
                  </a:lnTo>
                  <a:lnTo>
                    <a:pt x="351" y="361"/>
                  </a:lnTo>
                  <a:lnTo>
                    <a:pt x="360" y="380"/>
                  </a:lnTo>
                  <a:lnTo>
                    <a:pt x="370" y="390"/>
                  </a:lnTo>
                  <a:lnTo>
                    <a:pt x="370" y="400"/>
                  </a:lnTo>
                  <a:lnTo>
                    <a:pt x="380" y="400"/>
                  </a:lnTo>
                  <a:lnTo>
                    <a:pt x="380" y="409"/>
                  </a:lnTo>
                  <a:lnTo>
                    <a:pt x="390" y="400"/>
                  </a:lnTo>
                  <a:lnTo>
                    <a:pt x="399" y="409"/>
                  </a:lnTo>
                  <a:lnTo>
                    <a:pt x="419" y="429"/>
                  </a:lnTo>
                  <a:lnTo>
                    <a:pt x="438" y="429"/>
                  </a:lnTo>
                  <a:lnTo>
                    <a:pt x="448" y="429"/>
                  </a:lnTo>
                  <a:lnTo>
                    <a:pt x="438" y="439"/>
                  </a:lnTo>
                  <a:lnTo>
                    <a:pt x="429" y="439"/>
                  </a:lnTo>
                  <a:lnTo>
                    <a:pt x="419" y="439"/>
                  </a:lnTo>
                  <a:lnTo>
                    <a:pt x="409" y="449"/>
                  </a:lnTo>
                  <a:lnTo>
                    <a:pt x="409" y="468"/>
                  </a:lnTo>
                  <a:lnTo>
                    <a:pt x="399" y="468"/>
                  </a:lnTo>
                  <a:lnTo>
                    <a:pt x="399" y="488"/>
                  </a:lnTo>
                  <a:lnTo>
                    <a:pt x="409" y="497"/>
                  </a:lnTo>
                  <a:lnTo>
                    <a:pt x="399" y="507"/>
                  </a:lnTo>
                  <a:lnTo>
                    <a:pt x="399" y="517"/>
                  </a:lnTo>
                  <a:lnTo>
                    <a:pt x="390" y="517"/>
                  </a:lnTo>
                  <a:lnTo>
                    <a:pt x="380" y="527"/>
                  </a:lnTo>
                  <a:lnTo>
                    <a:pt x="390" y="527"/>
                  </a:lnTo>
                  <a:lnTo>
                    <a:pt x="399" y="527"/>
                  </a:lnTo>
                  <a:lnTo>
                    <a:pt x="409" y="536"/>
                  </a:lnTo>
                  <a:lnTo>
                    <a:pt x="419" y="546"/>
                  </a:lnTo>
                  <a:lnTo>
                    <a:pt x="419" y="556"/>
                  </a:lnTo>
                  <a:lnTo>
                    <a:pt x="429" y="556"/>
                  </a:lnTo>
                  <a:lnTo>
                    <a:pt x="438" y="566"/>
                  </a:lnTo>
                  <a:lnTo>
                    <a:pt x="448" y="566"/>
                  </a:lnTo>
                  <a:lnTo>
                    <a:pt x="448" y="575"/>
                  </a:lnTo>
                  <a:lnTo>
                    <a:pt x="448" y="585"/>
                  </a:lnTo>
                  <a:lnTo>
                    <a:pt x="448" y="595"/>
                  </a:lnTo>
                  <a:lnTo>
                    <a:pt x="458" y="595"/>
                  </a:lnTo>
                  <a:lnTo>
                    <a:pt x="458" y="605"/>
                  </a:lnTo>
                  <a:lnTo>
                    <a:pt x="468" y="614"/>
                  </a:lnTo>
                  <a:lnTo>
                    <a:pt x="468" y="624"/>
                  </a:lnTo>
                  <a:lnTo>
                    <a:pt x="477" y="634"/>
                  </a:lnTo>
                  <a:lnTo>
                    <a:pt x="477" y="644"/>
                  </a:lnTo>
                  <a:lnTo>
                    <a:pt x="487" y="653"/>
                  </a:lnTo>
                  <a:lnTo>
                    <a:pt x="487" y="663"/>
                  </a:lnTo>
                  <a:lnTo>
                    <a:pt x="477" y="673"/>
                  </a:lnTo>
                  <a:lnTo>
                    <a:pt x="477" y="692"/>
                  </a:lnTo>
                  <a:lnTo>
                    <a:pt x="487" y="702"/>
                  </a:lnTo>
                  <a:lnTo>
                    <a:pt x="487" y="722"/>
                  </a:lnTo>
                  <a:lnTo>
                    <a:pt x="487" y="741"/>
                  </a:lnTo>
                  <a:lnTo>
                    <a:pt x="487" y="751"/>
                  </a:lnTo>
                  <a:lnTo>
                    <a:pt x="487" y="761"/>
                  </a:lnTo>
                  <a:lnTo>
                    <a:pt x="487" y="770"/>
                  </a:lnTo>
                  <a:lnTo>
                    <a:pt x="477" y="761"/>
                  </a:lnTo>
                  <a:lnTo>
                    <a:pt x="468" y="761"/>
                  </a:lnTo>
                  <a:lnTo>
                    <a:pt x="458" y="761"/>
                  </a:lnTo>
                  <a:lnTo>
                    <a:pt x="448" y="761"/>
                  </a:lnTo>
                  <a:lnTo>
                    <a:pt x="429" y="751"/>
                  </a:lnTo>
                  <a:lnTo>
                    <a:pt x="419" y="741"/>
                  </a:lnTo>
                  <a:lnTo>
                    <a:pt x="399" y="731"/>
                  </a:lnTo>
                  <a:lnTo>
                    <a:pt x="390" y="712"/>
                  </a:lnTo>
                  <a:lnTo>
                    <a:pt x="380" y="702"/>
                  </a:lnTo>
                  <a:lnTo>
                    <a:pt x="351" y="683"/>
                  </a:lnTo>
                  <a:lnTo>
                    <a:pt x="331" y="673"/>
                  </a:lnTo>
                  <a:lnTo>
                    <a:pt x="331" y="663"/>
                  </a:lnTo>
                  <a:lnTo>
                    <a:pt x="312" y="673"/>
                  </a:lnTo>
                  <a:lnTo>
                    <a:pt x="292" y="663"/>
                  </a:lnTo>
                  <a:lnTo>
                    <a:pt x="263" y="644"/>
                  </a:lnTo>
                  <a:lnTo>
                    <a:pt x="234" y="614"/>
                  </a:lnTo>
                  <a:lnTo>
                    <a:pt x="195" y="585"/>
                  </a:lnTo>
                  <a:lnTo>
                    <a:pt x="126" y="556"/>
                  </a:lnTo>
                  <a:lnTo>
                    <a:pt x="107" y="536"/>
                  </a:lnTo>
                  <a:lnTo>
                    <a:pt x="78" y="527"/>
                  </a:lnTo>
                  <a:lnTo>
                    <a:pt x="58" y="507"/>
                  </a:lnTo>
                  <a:lnTo>
                    <a:pt x="39" y="488"/>
                  </a:lnTo>
                  <a:lnTo>
                    <a:pt x="19" y="468"/>
                  </a:lnTo>
                  <a:lnTo>
                    <a:pt x="0" y="458"/>
                  </a:lnTo>
                </a:path>
              </a:pathLst>
            </a:custGeom>
            <a:solidFill>
              <a:srgbClr val="969696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18526" name="Freeform 272"/>
          <p:cNvSpPr>
            <a:spLocks noChangeAspect="1"/>
          </p:cNvSpPr>
          <p:nvPr>
            <p:custDataLst>
              <p:tags r:id="rId92"/>
            </p:custDataLst>
          </p:nvPr>
        </p:nvSpPr>
        <p:spPr bwMode="auto">
          <a:xfrm>
            <a:off x="3654425" y="3578225"/>
            <a:ext cx="631825" cy="392113"/>
          </a:xfrm>
          <a:custGeom>
            <a:avLst/>
            <a:gdLst>
              <a:gd name="T0" fmla="*/ 188345 w 946"/>
              <a:gd name="T1" fmla="*/ 241205 h 634"/>
              <a:gd name="T2" fmla="*/ 247120 w 946"/>
              <a:gd name="T3" fmla="*/ 265325 h 634"/>
              <a:gd name="T4" fmla="*/ 331942 w 946"/>
              <a:gd name="T5" fmla="*/ 325935 h 634"/>
              <a:gd name="T6" fmla="*/ 442812 w 946"/>
              <a:gd name="T7" fmla="*/ 392112 h 634"/>
              <a:gd name="T8" fmla="*/ 494907 w 946"/>
              <a:gd name="T9" fmla="*/ 379743 h 634"/>
              <a:gd name="T10" fmla="*/ 527634 w 946"/>
              <a:gd name="T11" fmla="*/ 367992 h 634"/>
              <a:gd name="T12" fmla="*/ 559693 w 946"/>
              <a:gd name="T13" fmla="*/ 361807 h 634"/>
              <a:gd name="T14" fmla="*/ 599098 w 946"/>
              <a:gd name="T15" fmla="*/ 361807 h 634"/>
              <a:gd name="T16" fmla="*/ 605777 w 946"/>
              <a:gd name="T17" fmla="*/ 319751 h 634"/>
              <a:gd name="T18" fmla="*/ 631825 w 946"/>
              <a:gd name="T19" fmla="*/ 319751 h 634"/>
              <a:gd name="T20" fmla="*/ 631825 w 946"/>
              <a:gd name="T21" fmla="*/ 307381 h 634"/>
              <a:gd name="T22" fmla="*/ 611788 w 946"/>
              <a:gd name="T23" fmla="*/ 271510 h 634"/>
              <a:gd name="T24" fmla="*/ 553682 w 946"/>
              <a:gd name="T25" fmla="*/ 223269 h 634"/>
              <a:gd name="T26" fmla="*/ 520955 w 946"/>
              <a:gd name="T27" fmla="*/ 229454 h 634"/>
              <a:gd name="T28" fmla="*/ 514276 w 946"/>
              <a:gd name="T29" fmla="*/ 259140 h 634"/>
              <a:gd name="T30" fmla="*/ 488228 w 946"/>
              <a:gd name="T31" fmla="*/ 283261 h 634"/>
              <a:gd name="T32" fmla="*/ 468860 w 946"/>
              <a:gd name="T33" fmla="*/ 283261 h 634"/>
              <a:gd name="T34" fmla="*/ 449491 w 946"/>
              <a:gd name="T35" fmla="*/ 283261 h 634"/>
              <a:gd name="T36" fmla="*/ 468860 w 946"/>
              <a:gd name="T37" fmla="*/ 265325 h 634"/>
              <a:gd name="T38" fmla="*/ 475539 w 946"/>
              <a:gd name="T39" fmla="*/ 247389 h 634"/>
              <a:gd name="T40" fmla="*/ 449491 w 946"/>
              <a:gd name="T41" fmla="*/ 247389 h 634"/>
              <a:gd name="T42" fmla="*/ 436133 w 946"/>
              <a:gd name="T43" fmla="*/ 241205 h 634"/>
              <a:gd name="T44" fmla="*/ 416764 w 946"/>
              <a:gd name="T45" fmla="*/ 247389 h 634"/>
              <a:gd name="T46" fmla="*/ 390716 w 946"/>
              <a:gd name="T47" fmla="*/ 223269 h 634"/>
              <a:gd name="T48" fmla="*/ 351311 w 946"/>
              <a:gd name="T49" fmla="*/ 210899 h 634"/>
              <a:gd name="T50" fmla="*/ 331942 w 946"/>
              <a:gd name="T51" fmla="*/ 210899 h 634"/>
              <a:gd name="T52" fmla="*/ 305894 w 946"/>
              <a:gd name="T53" fmla="*/ 192964 h 634"/>
              <a:gd name="T54" fmla="*/ 331942 w 946"/>
              <a:gd name="T55" fmla="*/ 192964 h 634"/>
              <a:gd name="T56" fmla="*/ 345300 w 946"/>
              <a:gd name="T57" fmla="*/ 168843 h 634"/>
              <a:gd name="T58" fmla="*/ 338621 w 946"/>
              <a:gd name="T59" fmla="*/ 156474 h 634"/>
              <a:gd name="T60" fmla="*/ 299215 w 946"/>
              <a:gd name="T61" fmla="*/ 162658 h 634"/>
              <a:gd name="T62" fmla="*/ 279846 w 946"/>
              <a:gd name="T63" fmla="*/ 175028 h 634"/>
              <a:gd name="T64" fmla="*/ 273167 w 946"/>
              <a:gd name="T65" fmla="*/ 150907 h 634"/>
              <a:gd name="T66" fmla="*/ 214393 w 946"/>
              <a:gd name="T67" fmla="*/ 144723 h 634"/>
              <a:gd name="T68" fmla="*/ 175655 w 946"/>
              <a:gd name="T69" fmla="*/ 138538 h 634"/>
              <a:gd name="T70" fmla="*/ 142929 w 946"/>
              <a:gd name="T71" fmla="*/ 132353 h 634"/>
              <a:gd name="T72" fmla="*/ 104191 w 946"/>
              <a:gd name="T73" fmla="*/ 156474 h 634"/>
              <a:gd name="T74" fmla="*/ 58107 w 946"/>
              <a:gd name="T75" fmla="*/ 126787 h 634"/>
              <a:gd name="T76" fmla="*/ 71464 w 946"/>
              <a:gd name="T77" fmla="*/ 96482 h 634"/>
              <a:gd name="T78" fmla="*/ 90833 w 946"/>
              <a:gd name="T79" fmla="*/ 84112 h 634"/>
              <a:gd name="T80" fmla="*/ 123560 w 946"/>
              <a:gd name="T81" fmla="*/ 90297 h 634"/>
              <a:gd name="T82" fmla="*/ 149608 w 946"/>
              <a:gd name="T83" fmla="*/ 72361 h 634"/>
              <a:gd name="T84" fmla="*/ 149608 w 946"/>
              <a:gd name="T85" fmla="*/ 35871 h 634"/>
              <a:gd name="T86" fmla="*/ 123560 w 946"/>
              <a:gd name="T87" fmla="*/ 0 h 634"/>
              <a:gd name="T88" fmla="*/ 110202 w 946"/>
              <a:gd name="T89" fmla="*/ 17936 h 634"/>
              <a:gd name="T90" fmla="*/ 84154 w 946"/>
              <a:gd name="T91" fmla="*/ 42056 h 634"/>
              <a:gd name="T92" fmla="*/ 64785 w 946"/>
              <a:gd name="T93" fmla="*/ 54426 h 634"/>
              <a:gd name="T94" fmla="*/ 38738 w 946"/>
              <a:gd name="T95" fmla="*/ 72361 h 634"/>
              <a:gd name="T96" fmla="*/ 32059 w 946"/>
              <a:gd name="T97" fmla="*/ 102667 h 634"/>
              <a:gd name="T98" fmla="*/ 0 w 946"/>
              <a:gd name="T99" fmla="*/ 114418 h 634"/>
              <a:gd name="T100" fmla="*/ 19369 w 946"/>
              <a:gd name="T101" fmla="*/ 186779 h 634"/>
              <a:gd name="T102" fmla="*/ 64785 w 946"/>
              <a:gd name="T103" fmla="*/ 205333 h 634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946"/>
              <a:gd name="T157" fmla="*/ 0 h 634"/>
              <a:gd name="T158" fmla="*/ 946 w 946"/>
              <a:gd name="T159" fmla="*/ 634 h 634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946" h="634">
                <a:moveTo>
                  <a:pt x="136" y="361"/>
                </a:moveTo>
                <a:lnTo>
                  <a:pt x="185" y="371"/>
                </a:lnTo>
                <a:lnTo>
                  <a:pt x="253" y="380"/>
                </a:lnTo>
                <a:lnTo>
                  <a:pt x="282" y="390"/>
                </a:lnTo>
                <a:lnTo>
                  <a:pt x="302" y="380"/>
                </a:lnTo>
                <a:lnTo>
                  <a:pt x="331" y="390"/>
                </a:lnTo>
                <a:lnTo>
                  <a:pt x="351" y="410"/>
                </a:lnTo>
                <a:lnTo>
                  <a:pt x="370" y="429"/>
                </a:lnTo>
                <a:lnTo>
                  <a:pt x="409" y="458"/>
                </a:lnTo>
                <a:lnTo>
                  <a:pt x="419" y="478"/>
                </a:lnTo>
                <a:lnTo>
                  <a:pt x="438" y="488"/>
                </a:lnTo>
                <a:lnTo>
                  <a:pt x="497" y="527"/>
                </a:lnTo>
                <a:lnTo>
                  <a:pt x="546" y="556"/>
                </a:lnTo>
                <a:lnTo>
                  <a:pt x="595" y="595"/>
                </a:lnTo>
                <a:lnTo>
                  <a:pt x="643" y="634"/>
                </a:lnTo>
                <a:lnTo>
                  <a:pt x="663" y="634"/>
                </a:lnTo>
                <a:lnTo>
                  <a:pt x="682" y="634"/>
                </a:lnTo>
                <a:lnTo>
                  <a:pt x="702" y="634"/>
                </a:lnTo>
                <a:lnTo>
                  <a:pt x="721" y="624"/>
                </a:lnTo>
                <a:lnTo>
                  <a:pt x="741" y="614"/>
                </a:lnTo>
                <a:lnTo>
                  <a:pt x="751" y="614"/>
                </a:lnTo>
                <a:lnTo>
                  <a:pt x="760" y="595"/>
                </a:lnTo>
                <a:lnTo>
                  <a:pt x="770" y="595"/>
                </a:lnTo>
                <a:lnTo>
                  <a:pt x="790" y="595"/>
                </a:lnTo>
                <a:lnTo>
                  <a:pt x="799" y="605"/>
                </a:lnTo>
                <a:lnTo>
                  <a:pt x="819" y="605"/>
                </a:lnTo>
                <a:lnTo>
                  <a:pt x="819" y="595"/>
                </a:lnTo>
                <a:lnTo>
                  <a:pt x="838" y="585"/>
                </a:lnTo>
                <a:lnTo>
                  <a:pt x="848" y="575"/>
                </a:lnTo>
                <a:lnTo>
                  <a:pt x="858" y="575"/>
                </a:lnTo>
                <a:lnTo>
                  <a:pt x="887" y="575"/>
                </a:lnTo>
                <a:lnTo>
                  <a:pt x="897" y="585"/>
                </a:lnTo>
                <a:lnTo>
                  <a:pt x="907" y="575"/>
                </a:lnTo>
                <a:lnTo>
                  <a:pt x="916" y="556"/>
                </a:lnTo>
                <a:lnTo>
                  <a:pt x="916" y="536"/>
                </a:lnTo>
                <a:lnTo>
                  <a:pt x="907" y="517"/>
                </a:lnTo>
                <a:lnTo>
                  <a:pt x="916" y="507"/>
                </a:lnTo>
                <a:lnTo>
                  <a:pt x="936" y="517"/>
                </a:lnTo>
                <a:lnTo>
                  <a:pt x="946" y="517"/>
                </a:lnTo>
                <a:lnTo>
                  <a:pt x="946" y="507"/>
                </a:lnTo>
                <a:lnTo>
                  <a:pt x="926" y="497"/>
                </a:lnTo>
                <a:lnTo>
                  <a:pt x="946" y="497"/>
                </a:lnTo>
                <a:lnTo>
                  <a:pt x="926" y="478"/>
                </a:lnTo>
                <a:lnTo>
                  <a:pt x="926" y="458"/>
                </a:lnTo>
                <a:lnTo>
                  <a:pt x="916" y="458"/>
                </a:lnTo>
                <a:lnTo>
                  <a:pt x="916" y="439"/>
                </a:lnTo>
                <a:lnTo>
                  <a:pt x="877" y="410"/>
                </a:lnTo>
                <a:lnTo>
                  <a:pt x="848" y="380"/>
                </a:lnTo>
                <a:lnTo>
                  <a:pt x="848" y="371"/>
                </a:lnTo>
                <a:lnTo>
                  <a:pt x="829" y="361"/>
                </a:lnTo>
                <a:lnTo>
                  <a:pt x="819" y="361"/>
                </a:lnTo>
                <a:lnTo>
                  <a:pt x="809" y="371"/>
                </a:lnTo>
                <a:lnTo>
                  <a:pt x="799" y="361"/>
                </a:lnTo>
                <a:lnTo>
                  <a:pt x="780" y="371"/>
                </a:lnTo>
                <a:lnTo>
                  <a:pt x="780" y="390"/>
                </a:lnTo>
                <a:lnTo>
                  <a:pt x="780" y="400"/>
                </a:lnTo>
                <a:lnTo>
                  <a:pt x="770" y="410"/>
                </a:lnTo>
                <a:lnTo>
                  <a:pt x="770" y="419"/>
                </a:lnTo>
                <a:lnTo>
                  <a:pt x="780" y="429"/>
                </a:lnTo>
                <a:lnTo>
                  <a:pt x="770" y="439"/>
                </a:lnTo>
                <a:lnTo>
                  <a:pt x="770" y="449"/>
                </a:lnTo>
                <a:lnTo>
                  <a:pt x="731" y="458"/>
                </a:lnTo>
                <a:lnTo>
                  <a:pt x="721" y="439"/>
                </a:lnTo>
                <a:lnTo>
                  <a:pt x="712" y="439"/>
                </a:lnTo>
                <a:lnTo>
                  <a:pt x="702" y="449"/>
                </a:lnTo>
                <a:lnTo>
                  <a:pt x="702" y="458"/>
                </a:lnTo>
                <a:lnTo>
                  <a:pt x="702" y="468"/>
                </a:lnTo>
                <a:lnTo>
                  <a:pt x="682" y="468"/>
                </a:lnTo>
                <a:lnTo>
                  <a:pt x="673" y="458"/>
                </a:lnTo>
                <a:lnTo>
                  <a:pt x="673" y="449"/>
                </a:lnTo>
                <a:lnTo>
                  <a:pt x="673" y="429"/>
                </a:lnTo>
                <a:lnTo>
                  <a:pt x="692" y="429"/>
                </a:lnTo>
                <a:lnTo>
                  <a:pt x="702" y="429"/>
                </a:lnTo>
                <a:lnTo>
                  <a:pt x="702" y="419"/>
                </a:lnTo>
                <a:lnTo>
                  <a:pt x="702" y="400"/>
                </a:lnTo>
                <a:lnTo>
                  <a:pt x="712" y="400"/>
                </a:lnTo>
                <a:lnTo>
                  <a:pt x="702" y="390"/>
                </a:lnTo>
                <a:lnTo>
                  <a:pt x="682" y="380"/>
                </a:lnTo>
                <a:lnTo>
                  <a:pt x="673" y="380"/>
                </a:lnTo>
                <a:lnTo>
                  <a:pt x="673" y="400"/>
                </a:lnTo>
                <a:lnTo>
                  <a:pt x="663" y="400"/>
                </a:lnTo>
                <a:lnTo>
                  <a:pt x="663" y="390"/>
                </a:lnTo>
                <a:lnTo>
                  <a:pt x="653" y="390"/>
                </a:lnTo>
                <a:lnTo>
                  <a:pt x="643" y="400"/>
                </a:lnTo>
                <a:lnTo>
                  <a:pt x="643" y="390"/>
                </a:lnTo>
                <a:lnTo>
                  <a:pt x="634" y="390"/>
                </a:lnTo>
                <a:lnTo>
                  <a:pt x="624" y="400"/>
                </a:lnTo>
                <a:lnTo>
                  <a:pt x="614" y="390"/>
                </a:lnTo>
                <a:lnTo>
                  <a:pt x="604" y="380"/>
                </a:lnTo>
                <a:lnTo>
                  <a:pt x="595" y="371"/>
                </a:lnTo>
                <a:lnTo>
                  <a:pt x="585" y="361"/>
                </a:lnTo>
                <a:lnTo>
                  <a:pt x="575" y="351"/>
                </a:lnTo>
                <a:lnTo>
                  <a:pt x="565" y="351"/>
                </a:lnTo>
                <a:lnTo>
                  <a:pt x="546" y="341"/>
                </a:lnTo>
                <a:lnTo>
                  <a:pt x="526" y="341"/>
                </a:lnTo>
                <a:lnTo>
                  <a:pt x="517" y="351"/>
                </a:lnTo>
                <a:lnTo>
                  <a:pt x="507" y="361"/>
                </a:lnTo>
                <a:lnTo>
                  <a:pt x="497" y="361"/>
                </a:lnTo>
                <a:lnTo>
                  <a:pt x="497" y="341"/>
                </a:lnTo>
                <a:lnTo>
                  <a:pt x="478" y="341"/>
                </a:lnTo>
                <a:lnTo>
                  <a:pt x="468" y="332"/>
                </a:lnTo>
                <a:lnTo>
                  <a:pt x="458" y="312"/>
                </a:lnTo>
                <a:lnTo>
                  <a:pt x="468" y="312"/>
                </a:lnTo>
                <a:lnTo>
                  <a:pt x="478" y="312"/>
                </a:lnTo>
                <a:lnTo>
                  <a:pt x="487" y="322"/>
                </a:lnTo>
                <a:lnTo>
                  <a:pt x="497" y="312"/>
                </a:lnTo>
                <a:lnTo>
                  <a:pt x="497" y="302"/>
                </a:lnTo>
                <a:lnTo>
                  <a:pt x="517" y="283"/>
                </a:lnTo>
                <a:lnTo>
                  <a:pt x="517" y="273"/>
                </a:lnTo>
                <a:lnTo>
                  <a:pt x="536" y="283"/>
                </a:lnTo>
                <a:lnTo>
                  <a:pt x="546" y="283"/>
                </a:lnTo>
                <a:lnTo>
                  <a:pt x="526" y="263"/>
                </a:lnTo>
                <a:lnTo>
                  <a:pt x="507" y="253"/>
                </a:lnTo>
                <a:lnTo>
                  <a:pt x="458" y="253"/>
                </a:lnTo>
                <a:lnTo>
                  <a:pt x="448" y="253"/>
                </a:lnTo>
                <a:lnTo>
                  <a:pt x="458" y="263"/>
                </a:lnTo>
                <a:lnTo>
                  <a:pt x="448" y="263"/>
                </a:lnTo>
                <a:lnTo>
                  <a:pt x="458" y="283"/>
                </a:lnTo>
                <a:lnTo>
                  <a:pt x="448" y="283"/>
                </a:lnTo>
                <a:lnTo>
                  <a:pt x="438" y="283"/>
                </a:lnTo>
                <a:lnTo>
                  <a:pt x="419" y="283"/>
                </a:lnTo>
                <a:lnTo>
                  <a:pt x="438" y="273"/>
                </a:lnTo>
                <a:lnTo>
                  <a:pt x="438" y="253"/>
                </a:lnTo>
                <a:lnTo>
                  <a:pt x="419" y="253"/>
                </a:lnTo>
                <a:lnTo>
                  <a:pt x="409" y="244"/>
                </a:lnTo>
                <a:lnTo>
                  <a:pt x="390" y="244"/>
                </a:lnTo>
                <a:lnTo>
                  <a:pt x="380" y="234"/>
                </a:lnTo>
                <a:lnTo>
                  <a:pt x="360" y="234"/>
                </a:lnTo>
                <a:lnTo>
                  <a:pt x="321" y="234"/>
                </a:lnTo>
                <a:lnTo>
                  <a:pt x="292" y="234"/>
                </a:lnTo>
                <a:lnTo>
                  <a:pt x="273" y="224"/>
                </a:lnTo>
                <a:lnTo>
                  <a:pt x="273" y="214"/>
                </a:lnTo>
                <a:lnTo>
                  <a:pt x="263" y="224"/>
                </a:lnTo>
                <a:lnTo>
                  <a:pt x="263" y="234"/>
                </a:lnTo>
                <a:lnTo>
                  <a:pt x="243" y="224"/>
                </a:lnTo>
                <a:lnTo>
                  <a:pt x="234" y="214"/>
                </a:lnTo>
                <a:lnTo>
                  <a:pt x="214" y="214"/>
                </a:lnTo>
                <a:lnTo>
                  <a:pt x="214" y="224"/>
                </a:lnTo>
                <a:lnTo>
                  <a:pt x="175" y="234"/>
                </a:lnTo>
                <a:lnTo>
                  <a:pt x="175" y="253"/>
                </a:lnTo>
                <a:lnTo>
                  <a:pt x="156" y="253"/>
                </a:lnTo>
                <a:lnTo>
                  <a:pt x="146" y="253"/>
                </a:lnTo>
                <a:lnTo>
                  <a:pt x="107" y="234"/>
                </a:lnTo>
                <a:lnTo>
                  <a:pt x="107" y="224"/>
                </a:lnTo>
                <a:lnTo>
                  <a:pt x="87" y="205"/>
                </a:lnTo>
                <a:lnTo>
                  <a:pt x="97" y="195"/>
                </a:lnTo>
                <a:lnTo>
                  <a:pt x="97" y="185"/>
                </a:lnTo>
                <a:lnTo>
                  <a:pt x="107" y="175"/>
                </a:lnTo>
                <a:lnTo>
                  <a:pt x="107" y="156"/>
                </a:lnTo>
                <a:lnTo>
                  <a:pt x="107" y="146"/>
                </a:lnTo>
                <a:lnTo>
                  <a:pt x="117" y="136"/>
                </a:lnTo>
                <a:lnTo>
                  <a:pt x="136" y="136"/>
                </a:lnTo>
                <a:lnTo>
                  <a:pt x="146" y="127"/>
                </a:lnTo>
                <a:lnTo>
                  <a:pt x="156" y="127"/>
                </a:lnTo>
                <a:lnTo>
                  <a:pt x="175" y="136"/>
                </a:lnTo>
                <a:lnTo>
                  <a:pt x="185" y="146"/>
                </a:lnTo>
                <a:lnTo>
                  <a:pt x="195" y="166"/>
                </a:lnTo>
                <a:lnTo>
                  <a:pt x="204" y="146"/>
                </a:lnTo>
                <a:lnTo>
                  <a:pt x="214" y="136"/>
                </a:lnTo>
                <a:lnTo>
                  <a:pt x="224" y="117"/>
                </a:lnTo>
                <a:lnTo>
                  <a:pt x="214" y="97"/>
                </a:lnTo>
                <a:lnTo>
                  <a:pt x="224" y="88"/>
                </a:lnTo>
                <a:lnTo>
                  <a:pt x="224" y="78"/>
                </a:lnTo>
                <a:lnTo>
                  <a:pt x="224" y="58"/>
                </a:lnTo>
                <a:lnTo>
                  <a:pt x="214" y="49"/>
                </a:lnTo>
                <a:lnTo>
                  <a:pt x="195" y="29"/>
                </a:lnTo>
                <a:lnTo>
                  <a:pt x="185" y="19"/>
                </a:lnTo>
                <a:lnTo>
                  <a:pt x="185" y="0"/>
                </a:lnTo>
                <a:lnTo>
                  <a:pt x="175" y="0"/>
                </a:lnTo>
                <a:lnTo>
                  <a:pt x="165" y="10"/>
                </a:lnTo>
                <a:lnTo>
                  <a:pt x="165" y="29"/>
                </a:lnTo>
                <a:lnTo>
                  <a:pt x="165" y="49"/>
                </a:lnTo>
                <a:lnTo>
                  <a:pt x="156" y="58"/>
                </a:lnTo>
                <a:lnTo>
                  <a:pt x="136" y="58"/>
                </a:lnTo>
                <a:lnTo>
                  <a:pt x="126" y="68"/>
                </a:lnTo>
                <a:lnTo>
                  <a:pt x="136" y="78"/>
                </a:lnTo>
                <a:lnTo>
                  <a:pt x="117" y="78"/>
                </a:lnTo>
                <a:lnTo>
                  <a:pt x="107" y="88"/>
                </a:lnTo>
                <a:lnTo>
                  <a:pt x="97" y="88"/>
                </a:lnTo>
                <a:lnTo>
                  <a:pt x="78" y="97"/>
                </a:lnTo>
                <a:lnTo>
                  <a:pt x="68" y="107"/>
                </a:lnTo>
                <a:lnTo>
                  <a:pt x="58" y="107"/>
                </a:lnTo>
                <a:lnTo>
                  <a:pt x="58" y="117"/>
                </a:lnTo>
                <a:lnTo>
                  <a:pt x="68" y="127"/>
                </a:lnTo>
                <a:lnTo>
                  <a:pt x="58" y="136"/>
                </a:lnTo>
                <a:lnTo>
                  <a:pt x="58" y="156"/>
                </a:lnTo>
                <a:lnTo>
                  <a:pt x="48" y="166"/>
                </a:lnTo>
                <a:lnTo>
                  <a:pt x="39" y="166"/>
                </a:lnTo>
                <a:lnTo>
                  <a:pt x="29" y="175"/>
                </a:lnTo>
                <a:lnTo>
                  <a:pt x="19" y="185"/>
                </a:lnTo>
                <a:lnTo>
                  <a:pt x="0" y="185"/>
                </a:lnTo>
                <a:lnTo>
                  <a:pt x="9" y="214"/>
                </a:lnTo>
                <a:lnTo>
                  <a:pt x="19" y="253"/>
                </a:lnTo>
                <a:lnTo>
                  <a:pt x="29" y="273"/>
                </a:lnTo>
                <a:lnTo>
                  <a:pt x="29" y="302"/>
                </a:lnTo>
                <a:lnTo>
                  <a:pt x="39" y="322"/>
                </a:lnTo>
                <a:lnTo>
                  <a:pt x="48" y="322"/>
                </a:lnTo>
                <a:lnTo>
                  <a:pt x="68" y="341"/>
                </a:lnTo>
                <a:lnTo>
                  <a:pt x="97" y="332"/>
                </a:lnTo>
                <a:lnTo>
                  <a:pt x="117" y="351"/>
                </a:lnTo>
                <a:lnTo>
                  <a:pt x="136" y="361"/>
                </a:lnTo>
                <a:close/>
              </a:path>
            </a:pathLst>
          </a:custGeom>
          <a:solidFill>
            <a:srgbClr val="FFCC99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527" name="Freeform 271"/>
          <p:cNvSpPr>
            <a:spLocks noChangeAspect="1"/>
          </p:cNvSpPr>
          <p:nvPr>
            <p:custDataLst>
              <p:tags r:id="rId93"/>
            </p:custDataLst>
          </p:nvPr>
        </p:nvSpPr>
        <p:spPr bwMode="auto">
          <a:xfrm>
            <a:off x="2168525" y="4632325"/>
            <a:ext cx="117475" cy="85725"/>
          </a:xfrm>
          <a:custGeom>
            <a:avLst/>
            <a:gdLst>
              <a:gd name="T0" fmla="*/ 45647 w 175"/>
              <a:gd name="T1" fmla="*/ 85725 h 137"/>
              <a:gd name="T2" fmla="*/ 65115 w 175"/>
              <a:gd name="T3" fmla="*/ 79468 h 137"/>
              <a:gd name="T4" fmla="*/ 71828 w 175"/>
              <a:gd name="T5" fmla="*/ 79468 h 137"/>
              <a:gd name="T6" fmla="*/ 98008 w 175"/>
              <a:gd name="T7" fmla="*/ 79468 h 137"/>
              <a:gd name="T8" fmla="*/ 98008 w 175"/>
              <a:gd name="T9" fmla="*/ 67579 h 137"/>
              <a:gd name="T10" fmla="*/ 98008 w 175"/>
              <a:gd name="T11" fmla="*/ 61322 h 137"/>
              <a:gd name="T12" fmla="*/ 91295 w 175"/>
              <a:gd name="T13" fmla="*/ 55064 h 137"/>
              <a:gd name="T14" fmla="*/ 91295 w 175"/>
              <a:gd name="T15" fmla="*/ 49433 h 137"/>
              <a:gd name="T16" fmla="*/ 91295 w 175"/>
              <a:gd name="T17" fmla="*/ 49433 h 137"/>
              <a:gd name="T18" fmla="*/ 104721 w 175"/>
              <a:gd name="T19" fmla="*/ 49433 h 137"/>
              <a:gd name="T20" fmla="*/ 117475 w 175"/>
              <a:gd name="T21" fmla="*/ 49433 h 137"/>
              <a:gd name="T22" fmla="*/ 117475 w 175"/>
              <a:gd name="T23" fmla="*/ 36918 h 137"/>
              <a:gd name="T24" fmla="*/ 110762 w 175"/>
              <a:gd name="T25" fmla="*/ 30661 h 137"/>
              <a:gd name="T26" fmla="*/ 104721 w 175"/>
              <a:gd name="T27" fmla="*/ 30661 h 137"/>
              <a:gd name="T28" fmla="*/ 98008 w 175"/>
              <a:gd name="T29" fmla="*/ 18772 h 137"/>
              <a:gd name="T30" fmla="*/ 98008 w 175"/>
              <a:gd name="T31" fmla="*/ 6257 h 137"/>
              <a:gd name="T32" fmla="*/ 84582 w 175"/>
              <a:gd name="T33" fmla="*/ 6257 h 137"/>
              <a:gd name="T34" fmla="*/ 84582 w 175"/>
              <a:gd name="T35" fmla="*/ 18772 h 137"/>
              <a:gd name="T36" fmla="*/ 65115 w 175"/>
              <a:gd name="T37" fmla="*/ 18772 h 137"/>
              <a:gd name="T38" fmla="*/ 58402 w 175"/>
              <a:gd name="T39" fmla="*/ 25029 h 137"/>
              <a:gd name="T40" fmla="*/ 52360 w 175"/>
              <a:gd name="T41" fmla="*/ 18772 h 137"/>
              <a:gd name="T42" fmla="*/ 58402 w 175"/>
              <a:gd name="T43" fmla="*/ 6257 h 137"/>
              <a:gd name="T44" fmla="*/ 45647 w 175"/>
              <a:gd name="T45" fmla="*/ 0 h 137"/>
              <a:gd name="T46" fmla="*/ 32222 w 175"/>
              <a:gd name="T47" fmla="*/ 0 h 137"/>
              <a:gd name="T48" fmla="*/ 19467 w 175"/>
              <a:gd name="T49" fmla="*/ 0 h 137"/>
              <a:gd name="T50" fmla="*/ 0 w 175"/>
              <a:gd name="T51" fmla="*/ 12515 h 137"/>
              <a:gd name="T52" fmla="*/ 6042 w 175"/>
              <a:gd name="T53" fmla="*/ 25029 h 137"/>
              <a:gd name="T54" fmla="*/ 12754 w 175"/>
              <a:gd name="T55" fmla="*/ 36918 h 137"/>
              <a:gd name="T56" fmla="*/ 19467 w 175"/>
              <a:gd name="T57" fmla="*/ 49433 h 137"/>
              <a:gd name="T58" fmla="*/ 19467 w 175"/>
              <a:gd name="T59" fmla="*/ 61322 h 137"/>
              <a:gd name="T60" fmla="*/ 26180 w 175"/>
              <a:gd name="T61" fmla="*/ 67579 h 137"/>
              <a:gd name="T62" fmla="*/ 32222 w 175"/>
              <a:gd name="T63" fmla="*/ 67579 h 137"/>
              <a:gd name="T64" fmla="*/ 38935 w 175"/>
              <a:gd name="T65" fmla="*/ 73836 h 137"/>
              <a:gd name="T66" fmla="*/ 45647 w 175"/>
              <a:gd name="T67" fmla="*/ 85725 h 137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175"/>
              <a:gd name="T103" fmla="*/ 0 h 137"/>
              <a:gd name="T104" fmla="*/ 175 w 175"/>
              <a:gd name="T105" fmla="*/ 137 h 137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175" h="137">
                <a:moveTo>
                  <a:pt x="68" y="137"/>
                </a:moveTo>
                <a:lnTo>
                  <a:pt x="97" y="127"/>
                </a:lnTo>
                <a:lnTo>
                  <a:pt x="107" y="127"/>
                </a:lnTo>
                <a:lnTo>
                  <a:pt x="146" y="127"/>
                </a:lnTo>
                <a:lnTo>
                  <a:pt x="146" y="108"/>
                </a:lnTo>
                <a:lnTo>
                  <a:pt x="146" y="98"/>
                </a:lnTo>
                <a:lnTo>
                  <a:pt x="136" y="88"/>
                </a:lnTo>
                <a:lnTo>
                  <a:pt x="136" y="79"/>
                </a:lnTo>
                <a:lnTo>
                  <a:pt x="156" y="79"/>
                </a:lnTo>
                <a:lnTo>
                  <a:pt x="175" y="79"/>
                </a:lnTo>
                <a:lnTo>
                  <a:pt x="175" y="59"/>
                </a:lnTo>
                <a:lnTo>
                  <a:pt x="165" y="49"/>
                </a:lnTo>
                <a:lnTo>
                  <a:pt x="156" y="49"/>
                </a:lnTo>
                <a:lnTo>
                  <a:pt x="146" y="30"/>
                </a:lnTo>
                <a:lnTo>
                  <a:pt x="146" y="10"/>
                </a:lnTo>
                <a:lnTo>
                  <a:pt x="126" y="10"/>
                </a:lnTo>
                <a:lnTo>
                  <a:pt x="126" y="30"/>
                </a:lnTo>
                <a:lnTo>
                  <a:pt x="97" y="30"/>
                </a:lnTo>
                <a:lnTo>
                  <a:pt x="87" y="40"/>
                </a:lnTo>
                <a:lnTo>
                  <a:pt x="78" y="30"/>
                </a:lnTo>
                <a:lnTo>
                  <a:pt x="87" y="10"/>
                </a:lnTo>
                <a:lnTo>
                  <a:pt x="68" y="0"/>
                </a:lnTo>
                <a:lnTo>
                  <a:pt x="48" y="0"/>
                </a:lnTo>
                <a:lnTo>
                  <a:pt x="29" y="0"/>
                </a:lnTo>
                <a:lnTo>
                  <a:pt x="0" y="20"/>
                </a:lnTo>
                <a:lnTo>
                  <a:pt x="9" y="40"/>
                </a:lnTo>
                <a:lnTo>
                  <a:pt x="19" y="59"/>
                </a:lnTo>
                <a:lnTo>
                  <a:pt x="29" y="79"/>
                </a:lnTo>
                <a:lnTo>
                  <a:pt x="29" y="98"/>
                </a:lnTo>
                <a:lnTo>
                  <a:pt x="39" y="108"/>
                </a:lnTo>
                <a:lnTo>
                  <a:pt x="48" y="108"/>
                </a:lnTo>
                <a:lnTo>
                  <a:pt x="58" y="118"/>
                </a:lnTo>
                <a:lnTo>
                  <a:pt x="68" y="137"/>
                </a:lnTo>
                <a:close/>
              </a:path>
            </a:pathLst>
          </a:custGeom>
          <a:solidFill>
            <a:srgbClr val="99C7BC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528" name="Freeform 270"/>
          <p:cNvSpPr>
            <a:spLocks noChangeAspect="1"/>
          </p:cNvSpPr>
          <p:nvPr>
            <p:custDataLst>
              <p:tags r:id="rId94"/>
            </p:custDataLst>
          </p:nvPr>
        </p:nvSpPr>
        <p:spPr bwMode="auto">
          <a:xfrm>
            <a:off x="3484563" y="4133850"/>
            <a:ext cx="142875" cy="201613"/>
          </a:xfrm>
          <a:custGeom>
            <a:avLst/>
            <a:gdLst>
              <a:gd name="T0" fmla="*/ 38543 w 215"/>
              <a:gd name="T1" fmla="*/ 98302 h 322"/>
              <a:gd name="T2" fmla="*/ 45188 w 215"/>
              <a:gd name="T3" fmla="*/ 98302 h 322"/>
              <a:gd name="T4" fmla="*/ 58479 w 215"/>
              <a:gd name="T5" fmla="*/ 85779 h 322"/>
              <a:gd name="T6" fmla="*/ 64460 w 215"/>
              <a:gd name="T7" fmla="*/ 79518 h 322"/>
              <a:gd name="T8" fmla="*/ 64460 w 215"/>
              <a:gd name="T9" fmla="*/ 67621 h 322"/>
              <a:gd name="T10" fmla="*/ 51834 w 215"/>
              <a:gd name="T11" fmla="*/ 67621 h 322"/>
              <a:gd name="T12" fmla="*/ 38543 w 215"/>
              <a:gd name="T13" fmla="*/ 48838 h 322"/>
              <a:gd name="T14" fmla="*/ 32562 w 215"/>
              <a:gd name="T15" fmla="*/ 43203 h 322"/>
              <a:gd name="T16" fmla="*/ 45188 w 215"/>
              <a:gd name="T17" fmla="*/ 36941 h 322"/>
              <a:gd name="T18" fmla="*/ 45188 w 215"/>
              <a:gd name="T19" fmla="*/ 12522 h 322"/>
              <a:gd name="T20" fmla="*/ 51834 w 215"/>
              <a:gd name="T21" fmla="*/ 0 h 322"/>
              <a:gd name="T22" fmla="*/ 64460 w 215"/>
              <a:gd name="T23" fmla="*/ 6261 h 322"/>
              <a:gd name="T24" fmla="*/ 71105 w 215"/>
              <a:gd name="T25" fmla="*/ 6261 h 322"/>
              <a:gd name="T26" fmla="*/ 77751 w 215"/>
              <a:gd name="T27" fmla="*/ 12522 h 322"/>
              <a:gd name="T28" fmla="*/ 90377 w 215"/>
              <a:gd name="T29" fmla="*/ 6261 h 322"/>
              <a:gd name="T30" fmla="*/ 110313 w 215"/>
              <a:gd name="T31" fmla="*/ 18784 h 322"/>
              <a:gd name="T32" fmla="*/ 103667 w 215"/>
              <a:gd name="T33" fmla="*/ 30680 h 322"/>
              <a:gd name="T34" fmla="*/ 110313 w 215"/>
              <a:gd name="T35" fmla="*/ 43203 h 322"/>
              <a:gd name="T36" fmla="*/ 122939 w 215"/>
              <a:gd name="T37" fmla="*/ 36941 h 322"/>
              <a:gd name="T38" fmla="*/ 142875 w 215"/>
              <a:gd name="T39" fmla="*/ 67621 h 322"/>
              <a:gd name="T40" fmla="*/ 142875 w 215"/>
              <a:gd name="T41" fmla="*/ 79518 h 322"/>
              <a:gd name="T42" fmla="*/ 136230 w 215"/>
              <a:gd name="T43" fmla="*/ 79518 h 322"/>
              <a:gd name="T44" fmla="*/ 129584 w 215"/>
              <a:gd name="T45" fmla="*/ 85779 h 322"/>
              <a:gd name="T46" fmla="*/ 122939 w 215"/>
              <a:gd name="T47" fmla="*/ 92040 h 322"/>
              <a:gd name="T48" fmla="*/ 129584 w 215"/>
              <a:gd name="T49" fmla="*/ 98302 h 322"/>
              <a:gd name="T50" fmla="*/ 122939 w 215"/>
              <a:gd name="T51" fmla="*/ 110198 h 322"/>
              <a:gd name="T52" fmla="*/ 122939 w 215"/>
              <a:gd name="T53" fmla="*/ 116459 h 322"/>
              <a:gd name="T54" fmla="*/ 122939 w 215"/>
              <a:gd name="T55" fmla="*/ 122720 h 322"/>
              <a:gd name="T56" fmla="*/ 116958 w 215"/>
              <a:gd name="T57" fmla="*/ 128355 h 322"/>
              <a:gd name="T58" fmla="*/ 110313 w 215"/>
              <a:gd name="T59" fmla="*/ 122720 h 322"/>
              <a:gd name="T60" fmla="*/ 110313 w 215"/>
              <a:gd name="T61" fmla="*/ 128355 h 322"/>
              <a:gd name="T62" fmla="*/ 103667 w 215"/>
              <a:gd name="T63" fmla="*/ 134617 h 322"/>
              <a:gd name="T64" fmla="*/ 103667 w 215"/>
              <a:gd name="T65" fmla="*/ 140878 h 322"/>
              <a:gd name="T66" fmla="*/ 97022 w 215"/>
              <a:gd name="T67" fmla="*/ 147139 h 322"/>
              <a:gd name="T68" fmla="*/ 90377 w 215"/>
              <a:gd name="T69" fmla="*/ 147139 h 322"/>
              <a:gd name="T70" fmla="*/ 90377 w 215"/>
              <a:gd name="T71" fmla="*/ 152774 h 322"/>
              <a:gd name="T72" fmla="*/ 90377 w 215"/>
              <a:gd name="T73" fmla="*/ 159036 h 322"/>
              <a:gd name="T74" fmla="*/ 84396 w 215"/>
              <a:gd name="T75" fmla="*/ 165297 h 322"/>
              <a:gd name="T76" fmla="*/ 84396 w 215"/>
              <a:gd name="T77" fmla="*/ 171558 h 322"/>
              <a:gd name="T78" fmla="*/ 97022 w 215"/>
              <a:gd name="T79" fmla="*/ 183454 h 322"/>
              <a:gd name="T80" fmla="*/ 97022 w 215"/>
              <a:gd name="T81" fmla="*/ 189716 h 322"/>
              <a:gd name="T82" fmla="*/ 97022 w 215"/>
              <a:gd name="T83" fmla="*/ 195977 h 322"/>
              <a:gd name="T84" fmla="*/ 90377 w 215"/>
              <a:gd name="T85" fmla="*/ 201612 h 322"/>
              <a:gd name="T86" fmla="*/ 84396 w 215"/>
              <a:gd name="T87" fmla="*/ 195977 h 322"/>
              <a:gd name="T88" fmla="*/ 71105 w 215"/>
              <a:gd name="T89" fmla="*/ 195977 h 322"/>
              <a:gd name="T90" fmla="*/ 51834 w 215"/>
              <a:gd name="T91" fmla="*/ 195977 h 322"/>
              <a:gd name="T92" fmla="*/ 38543 w 215"/>
              <a:gd name="T93" fmla="*/ 177193 h 322"/>
              <a:gd name="T94" fmla="*/ 32562 w 215"/>
              <a:gd name="T95" fmla="*/ 183454 h 322"/>
              <a:gd name="T96" fmla="*/ 32562 w 215"/>
              <a:gd name="T97" fmla="*/ 189716 h 322"/>
              <a:gd name="T98" fmla="*/ 12626 w 215"/>
              <a:gd name="T99" fmla="*/ 189716 h 322"/>
              <a:gd name="T100" fmla="*/ 6645 w 215"/>
              <a:gd name="T101" fmla="*/ 183454 h 322"/>
              <a:gd name="T102" fmla="*/ 0 w 215"/>
              <a:gd name="T103" fmla="*/ 165297 h 322"/>
              <a:gd name="T104" fmla="*/ 0 w 215"/>
              <a:gd name="T105" fmla="*/ 152774 h 322"/>
              <a:gd name="T106" fmla="*/ 6645 w 215"/>
              <a:gd name="T107" fmla="*/ 140878 h 322"/>
              <a:gd name="T108" fmla="*/ 12626 w 215"/>
              <a:gd name="T109" fmla="*/ 134617 h 322"/>
              <a:gd name="T110" fmla="*/ 6645 w 215"/>
              <a:gd name="T111" fmla="*/ 128355 h 322"/>
              <a:gd name="T112" fmla="*/ 6645 w 215"/>
              <a:gd name="T113" fmla="*/ 122720 h 322"/>
              <a:gd name="T114" fmla="*/ 12626 w 215"/>
              <a:gd name="T115" fmla="*/ 116459 h 322"/>
              <a:gd name="T116" fmla="*/ 38543 w 215"/>
              <a:gd name="T117" fmla="*/ 98302 h 322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215"/>
              <a:gd name="T178" fmla="*/ 0 h 322"/>
              <a:gd name="T179" fmla="*/ 215 w 215"/>
              <a:gd name="T180" fmla="*/ 322 h 322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215" h="322">
                <a:moveTo>
                  <a:pt x="58" y="157"/>
                </a:moveTo>
                <a:lnTo>
                  <a:pt x="68" y="157"/>
                </a:lnTo>
                <a:lnTo>
                  <a:pt x="88" y="137"/>
                </a:lnTo>
                <a:lnTo>
                  <a:pt x="97" y="127"/>
                </a:lnTo>
                <a:lnTo>
                  <a:pt x="97" y="108"/>
                </a:lnTo>
                <a:lnTo>
                  <a:pt x="78" y="108"/>
                </a:lnTo>
                <a:lnTo>
                  <a:pt x="58" y="78"/>
                </a:lnTo>
                <a:lnTo>
                  <a:pt x="49" y="69"/>
                </a:lnTo>
                <a:lnTo>
                  <a:pt x="68" y="59"/>
                </a:lnTo>
                <a:lnTo>
                  <a:pt x="68" y="20"/>
                </a:lnTo>
                <a:lnTo>
                  <a:pt x="78" y="0"/>
                </a:lnTo>
                <a:lnTo>
                  <a:pt x="97" y="10"/>
                </a:lnTo>
                <a:lnTo>
                  <a:pt x="107" y="10"/>
                </a:lnTo>
                <a:lnTo>
                  <a:pt x="117" y="20"/>
                </a:lnTo>
                <a:lnTo>
                  <a:pt x="136" y="10"/>
                </a:lnTo>
                <a:lnTo>
                  <a:pt x="166" y="30"/>
                </a:lnTo>
                <a:lnTo>
                  <a:pt x="156" y="49"/>
                </a:lnTo>
                <a:lnTo>
                  <a:pt x="166" y="69"/>
                </a:lnTo>
                <a:lnTo>
                  <a:pt x="185" y="59"/>
                </a:lnTo>
                <a:lnTo>
                  <a:pt x="215" y="108"/>
                </a:lnTo>
                <a:lnTo>
                  <a:pt x="215" y="127"/>
                </a:lnTo>
                <a:lnTo>
                  <a:pt x="205" y="127"/>
                </a:lnTo>
                <a:lnTo>
                  <a:pt x="195" y="137"/>
                </a:lnTo>
                <a:lnTo>
                  <a:pt x="185" y="147"/>
                </a:lnTo>
                <a:lnTo>
                  <a:pt x="195" y="157"/>
                </a:lnTo>
                <a:lnTo>
                  <a:pt x="185" y="176"/>
                </a:lnTo>
                <a:lnTo>
                  <a:pt x="185" y="186"/>
                </a:lnTo>
                <a:lnTo>
                  <a:pt x="185" y="196"/>
                </a:lnTo>
                <a:lnTo>
                  <a:pt x="176" y="205"/>
                </a:lnTo>
                <a:lnTo>
                  <a:pt x="166" y="196"/>
                </a:lnTo>
                <a:lnTo>
                  <a:pt x="166" y="205"/>
                </a:lnTo>
                <a:lnTo>
                  <a:pt x="156" y="215"/>
                </a:lnTo>
                <a:lnTo>
                  <a:pt x="156" y="225"/>
                </a:lnTo>
                <a:lnTo>
                  <a:pt x="146" y="235"/>
                </a:lnTo>
                <a:lnTo>
                  <a:pt x="136" y="235"/>
                </a:lnTo>
                <a:lnTo>
                  <a:pt x="136" y="244"/>
                </a:lnTo>
                <a:lnTo>
                  <a:pt x="136" y="254"/>
                </a:lnTo>
                <a:lnTo>
                  <a:pt x="127" y="264"/>
                </a:lnTo>
                <a:lnTo>
                  <a:pt x="127" y="274"/>
                </a:lnTo>
                <a:lnTo>
                  <a:pt x="146" y="293"/>
                </a:lnTo>
                <a:lnTo>
                  <a:pt x="146" y="303"/>
                </a:lnTo>
                <a:lnTo>
                  <a:pt x="146" y="313"/>
                </a:lnTo>
                <a:lnTo>
                  <a:pt x="136" y="322"/>
                </a:lnTo>
                <a:lnTo>
                  <a:pt x="127" y="313"/>
                </a:lnTo>
                <a:lnTo>
                  <a:pt x="107" y="313"/>
                </a:lnTo>
                <a:lnTo>
                  <a:pt x="78" y="313"/>
                </a:lnTo>
                <a:lnTo>
                  <a:pt x="58" y="283"/>
                </a:lnTo>
                <a:lnTo>
                  <a:pt x="49" y="293"/>
                </a:lnTo>
                <a:lnTo>
                  <a:pt x="49" y="303"/>
                </a:lnTo>
                <a:lnTo>
                  <a:pt x="19" y="303"/>
                </a:lnTo>
                <a:lnTo>
                  <a:pt x="10" y="293"/>
                </a:lnTo>
                <a:lnTo>
                  <a:pt x="0" y="264"/>
                </a:lnTo>
                <a:lnTo>
                  <a:pt x="0" y="244"/>
                </a:lnTo>
                <a:lnTo>
                  <a:pt x="10" y="225"/>
                </a:lnTo>
                <a:lnTo>
                  <a:pt x="19" y="215"/>
                </a:lnTo>
                <a:lnTo>
                  <a:pt x="10" y="205"/>
                </a:lnTo>
                <a:lnTo>
                  <a:pt x="10" y="196"/>
                </a:lnTo>
                <a:lnTo>
                  <a:pt x="19" y="186"/>
                </a:lnTo>
                <a:lnTo>
                  <a:pt x="58" y="157"/>
                </a:lnTo>
                <a:close/>
              </a:path>
            </a:pathLst>
          </a:custGeom>
          <a:solidFill>
            <a:srgbClr val="DEC2B3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529" name="Freeform 269"/>
          <p:cNvSpPr>
            <a:spLocks noChangeAspect="1"/>
          </p:cNvSpPr>
          <p:nvPr>
            <p:custDataLst>
              <p:tags r:id="rId95"/>
            </p:custDataLst>
          </p:nvPr>
        </p:nvSpPr>
        <p:spPr bwMode="auto">
          <a:xfrm>
            <a:off x="4430713" y="5238750"/>
            <a:ext cx="285750" cy="244475"/>
          </a:xfrm>
          <a:custGeom>
            <a:avLst/>
            <a:gdLst>
              <a:gd name="T0" fmla="*/ 195163 w 429"/>
              <a:gd name="T1" fmla="*/ 18179 h 390"/>
              <a:gd name="T2" fmla="*/ 214479 w 429"/>
              <a:gd name="T3" fmla="*/ 12537 h 390"/>
              <a:gd name="T4" fmla="*/ 233795 w 429"/>
              <a:gd name="T5" fmla="*/ 30716 h 390"/>
              <a:gd name="T6" fmla="*/ 221140 w 429"/>
              <a:gd name="T7" fmla="*/ 42626 h 390"/>
              <a:gd name="T8" fmla="*/ 207818 w 429"/>
              <a:gd name="T9" fmla="*/ 48895 h 390"/>
              <a:gd name="T10" fmla="*/ 207818 w 429"/>
              <a:gd name="T11" fmla="*/ 61432 h 390"/>
              <a:gd name="T12" fmla="*/ 207818 w 429"/>
              <a:gd name="T13" fmla="*/ 73342 h 390"/>
              <a:gd name="T14" fmla="*/ 221140 w 429"/>
              <a:gd name="T15" fmla="*/ 92148 h 390"/>
              <a:gd name="T16" fmla="*/ 247117 w 429"/>
              <a:gd name="T17" fmla="*/ 92148 h 390"/>
              <a:gd name="T18" fmla="*/ 247117 w 429"/>
              <a:gd name="T19" fmla="*/ 104059 h 390"/>
              <a:gd name="T20" fmla="*/ 247117 w 429"/>
              <a:gd name="T21" fmla="*/ 128506 h 390"/>
              <a:gd name="T22" fmla="*/ 266434 w 429"/>
              <a:gd name="T23" fmla="*/ 146685 h 390"/>
              <a:gd name="T24" fmla="*/ 285750 w 429"/>
              <a:gd name="T25" fmla="*/ 177401 h 390"/>
              <a:gd name="T26" fmla="*/ 273094 w 429"/>
              <a:gd name="T27" fmla="*/ 171133 h 390"/>
              <a:gd name="T28" fmla="*/ 266434 w 429"/>
              <a:gd name="T29" fmla="*/ 177401 h 390"/>
              <a:gd name="T30" fmla="*/ 247117 w 429"/>
              <a:gd name="T31" fmla="*/ 183670 h 390"/>
              <a:gd name="T32" fmla="*/ 259773 w 429"/>
              <a:gd name="T33" fmla="*/ 189938 h 390"/>
              <a:gd name="T34" fmla="*/ 266434 w 429"/>
              <a:gd name="T35" fmla="*/ 201849 h 390"/>
              <a:gd name="T36" fmla="*/ 266434 w 429"/>
              <a:gd name="T37" fmla="*/ 208117 h 390"/>
              <a:gd name="T38" fmla="*/ 273094 w 429"/>
              <a:gd name="T39" fmla="*/ 214386 h 390"/>
              <a:gd name="T40" fmla="*/ 266434 w 429"/>
              <a:gd name="T41" fmla="*/ 226296 h 390"/>
              <a:gd name="T42" fmla="*/ 233795 w 429"/>
              <a:gd name="T43" fmla="*/ 232565 h 390"/>
              <a:gd name="T44" fmla="*/ 195163 w 429"/>
              <a:gd name="T45" fmla="*/ 232565 h 390"/>
              <a:gd name="T46" fmla="*/ 181841 w 429"/>
              <a:gd name="T47" fmla="*/ 244475 h 390"/>
              <a:gd name="T48" fmla="*/ 155864 w 429"/>
              <a:gd name="T49" fmla="*/ 244475 h 390"/>
              <a:gd name="T50" fmla="*/ 136547 w 429"/>
              <a:gd name="T51" fmla="*/ 244475 h 390"/>
              <a:gd name="T52" fmla="*/ 123892 w 429"/>
              <a:gd name="T53" fmla="*/ 232565 h 390"/>
              <a:gd name="T54" fmla="*/ 117231 w 429"/>
              <a:gd name="T55" fmla="*/ 208117 h 390"/>
              <a:gd name="T56" fmla="*/ 117231 w 429"/>
              <a:gd name="T57" fmla="*/ 201849 h 390"/>
              <a:gd name="T58" fmla="*/ 117231 w 429"/>
              <a:gd name="T59" fmla="*/ 195580 h 390"/>
              <a:gd name="T60" fmla="*/ 97914 w 429"/>
              <a:gd name="T61" fmla="*/ 201849 h 390"/>
              <a:gd name="T62" fmla="*/ 71937 w 429"/>
              <a:gd name="T63" fmla="*/ 201849 h 390"/>
              <a:gd name="T64" fmla="*/ 51955 w 429"/>
              <a:gd name="T65" fmla="*/ 195580 h 390"/>
              <a:gd name="T66" fmla="*/ 39299 w 429"/>
              <a:gd name="T67" fmla="*/ 189938 h 390"/>
              <a:gd name="T68" fmla="*/ 32638 w 429"/>
              <a:gd name="T69" fmla="*/ 171133 h 390"/>
              <a:gd name="T70" fmla="*/ 32638 w 429"/>
              <a:gd name="T71" fmla="*/ 159222 h 390"/>
              <a:gd name="T72" fmla="*/ 19983 w 429"/>
              <a:gd name="T73" fmla="*/ 141043 h 390"/>
              <a:gd name="T74" fmla="*/ 6661 w 429"/>
              <a:gd name="T75" fmla="*/ 134775 h 390"/>
              <a:gd name="T76" fmla="*/ 6661 w 429"/>
              <a:gd name="T77" fmla="*/ 110327 h 390"/>
              <a:gd name="T78" fmla="*/ 6661 w 429"/>
              <a:gd name="T79" fmla="*/ 104059 h 390"/>
              <a:gd name="T80" fmla="*/ 19983 w 429"/>
              <a:gd name="T81" fmla="*/ 97790 h 390"/>
              <a:gd name="T82" fmla="*/ 19983 w 429"/>
              <a:gd name="T83" fmla="*/ 85880 h 390"/>
              <a:gd name="T84" fmla="*/ 6661 w 429"/>
              <a:gd name="T85" fmla="*/ 67074 h 390"/>
              <a:gd name="T86" fmla="*/ 25977 w 429"/>
              <a:gd name="T87" fmla="*/ 67074 h 390"/>
              <a:gd name="T88" fmla="*/ 65276 w 429"/>
              <a:gd name="T89" fmla="*/ 55164 h 390"/>
              <a:gd name="T90" fmla="*/ 97914 w 429"/>
              <a:gd name="T91" fmla="*/ 48895 h 390"/>
              <a:gd name="T92" fmla="*/ 110570 w 429"/>
              <a:gd name="T93" fmla="*/ 30716 h 390"/>
              <a:gd name="T94" fmla="*/ 129886 w 429"/>
              <a:gd name="T95" fmla="*/ 24448 h 390"/>
              <a:gd name="T96" fmla="*/ 143208 w 429"/>
              <a:gd name="T97" fmla="*/ 18179 h 390"/>
              <a:gd name="T98" fmla="*/ 155864 w 429"/>
              <a:gd name="T99" fmla="*/ 12537 h 390"/>
              <a:gd name="T100" fmla="*/ 169185 w 429"/>
              <a:gd name="T101" fmla="*/ 0 h 390"/>
              <a:gd name="T102" fmla="*/ 181841 w 429"/>
              <a:gd name="T103" fmla="*/ 6269 h 390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429"/>
              <a:gd name="T157" fmla="*/ 0 h 390"/>
              <a:gd name="T158" fmla="*/ 429 w 429"/>
              <a:gd name="T159" fmla="*/ 390 h 390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429" h="390">
                <a:moveTo>
                  <a:pt x="273" y="10"/>
                </a:moveTo>
                <a:lnTo>
                  <a:pt x="293" y="29"/>
                </a:lnTo>
                <a:lnTo>
                  <a:pt x="312" y="20"/>
                </a:lnTo>
                <a:lnTo>
                  <a:pt x="322" y="20"/>
                </a:lnTo>
                <a:lnTo>
                  <a:pt x="342" y="39"/>
                </a:lnTo>
                <a:lnTo>
                  <a:pt x="351" y="49"/>
                </a:lnTo>
                <a:lnTo>
                  <a:pt x="342" y="68"/>
                </a:lnTo>
                <a:lnTo>
                  <a:pt x="332" y="68"/>
                </a:lnTo>
                <a:lnTo>
                  <a:pt x="322" y="68"/>
                </a:lnTo>
                <a:lnTo>
                  <a:pt x="312" y="78"/>
                </a:lnTo>
                <a:lnTo>
                  <a:pt x="303" y="88"/>
                </a:lnTo>
                <a:lnTo>
                  <a:pt x="312" y="98"/>
                </a:lnTo>
                <a:lnTo>
                  <a:pt x="322" y="107"/>
                </a:lnTo>
                <a:lnTo>
                  <a:pt x="312" y="117"/>
                </a:lnTo>
                <a:lnTo>
                  <a:pt x="312" y="127"/>
                </a:lnTo>
                <a:lnTo>
                  <a:pt x="332" y="147"/>
                </a:lnTo>
                <a:lnTo>
                  <a:pt x="351" y="137"/>
                </a:lnTo>
                <a:lnTo>
                  <a:pt x="371" y="147"/>
                </a:lnTo>
                <a:lnTo>
                  <a:pt x="371" y="156"/>
                </a:lnTo>
                <a:lnTo>
                  <a:pt x="371" y="166"/>
                </a:lnTo>
                <a:lnTo>
                  <a:pt x="361" y="186"/>
                </a:lnTo>
                <a:lnTo>
                  <a:pt x="371" y="205"/>
                </a:lnTo>
                <a:lnTo>
                  <a:pt x="381" y="215"/>
                </a:lnTo>
                <a:lnTo>
                  <a:pt x="400" y="234"/>
                </a:lnTo>
                <a:lnTo>
                  <a:pt x="420" y="264"/>
                </a:lnTo>
                <a:lnTo>
                  <a:pt x="429" y="283"/>
                </a:lnTo>
                <a:lnTo>
                  <a:pt x="420" y="283"/>
                </a:lnTo>
                <a:lnTo>
                  <a:pt x="410" y="273"/>
                </a:lnTo>
                <a:lnTo>
                  <a:pt x="400" y="273"/>
                </a:lnTo>
                <a:lnTo>
                  <a:pt x="400" y="283"/>
                </a:lnTo>
                <a:lnTo>
                  <a:pt x="390" y="283"/>
                </a:lnTo>
                <a:lnTo>
                  <a:pt x="371" y="293"/>
                </a:lnTo>
                <a:lnTo>
                  <a:pt x="371" y="303"/>
                </a:lnTo>
                <a:lnTo>
                  <a:pt x="390" y="303"/>
                </a:lnTo>
                <a:lnTo>
                  <a:pt x="400" y="312"/>
                </a:lnTo>
                <a:lnTo>
                  <a:pt x="400" y="322"/>
                </a:lnTo>
                <a:lnTo>
                  <a:pt x="400" y="332"/>
                </a:lnTo>
                <a:lnTo>
                  <a:pt x="410" y="342"/>
                </a:lnTo>
                <a:lnTo>
                  <a:pt x="410" y="351"/>
                </a:lnTo>
                <a:lnTo>
                  <a:pt x="400" y="361"/>
                </a:lnTo>
                <a:lnTo>
                  <a:pt x="381" y="361"/>
                </a:lnTo>
                <a:lnTo>
                  <a:pt x="351" y="371"/>
                </a:lnTo>
                <a:lnTo>
                  <a:pt x="312" y="371"/>
                </a:lnTo>
                <a:lnTo>
                  <a:pt x="293" y="371"/>
                </a:lnTo>
                <a:lnTo>
                  <a:pt x="283" y="371"/>
                </a:lnTo>
                <a:lnTo>
                  <a:pt x="273" y="390"/>
                </a:lnTo>
                <a:lnTo>
                  <a:pt x="254" y="390"/>
                </a:lnTo>
                <a:lnTo>
                  <a:pt x="234" y="390"/>
                </a:lnTo>
                <a:lnTo>
                  <a:pt x="205" y="390"/>
                </a:lnTo>
                <a:lnTo>
                  <a:pt x="195" y="371"/>
                </a:lnTo>
                <a:lnTo>
                  <a:pt x="186" y="371"/>
                </a:lnTo>
                <a:lnTo>
                  <a:pt x="186" y="351"/>
                </a:lnTo>
                <a:lnTo>
                  <a:pt x="176" y="332"/>
                </a:lnTo>
                <a:lnTo>
                  <a:pt x="166" y="332"/>
                </a:lnTo>
                <a:lnTo>
                  <a:pt x="176" y="322"/>
                </a:lnTo>
                <a:lnTo>
                  <a:pt x="186" y="312"/>
                </a:lnTo>
                <a:lnTo>
                  <a:pt x="176" y="312"/>
                </a:lnTo>
                <a:lnTo>
                  <a:pt x="156" y="322"/>
                </a:lnTo>
                <a:lnTo>
                  <a:pt x="147" y="322"/>
                </a:lnTo>
                <a:lnTo>
                  <a:pt x="127" y="332"/>
                </a:lnTo>
                <a:lnTo>
                  <a:pt x="108" y="322"/>
                </a:lnTo>
                <a:lnTo>
                  <a:pt x="98" y="312"/>
                </a:lnTo>
                <a:lnTo>
                  <a:pt x="78" y="312"/>
                </a:lnTo>
                <a:lnTo>
                  <a:pt x="69" y="312"/>
                </a:lnTo>
                <a:lnTo>
                  <a:pt x="59" y="303"/>
                </a:lnTo>
                <a:lnTo>
                  <a:pt x="59" y="283"/>
                </a:lnTo>
                <a:lnTo>
                  <a:pt x="49" y="273"/>
                </a:lnTo>
                <a:lnTo>
                  <a:pt x="49" y="264"/>
                </a:lnTo>
                <a:lnTo>
                  <a:pt x="49" y="254"/>
                </a:lnTo>
                <a:lnTo>
                  <a:pt x="39" y="244"/>
                </a:lnTo>
                <a:lnTo>
                  <a:pt x="30" y="225"/>
                </a:lnTo>
                <a:lnTo>
                  <a:pt x="10" y="225"/>
                </a:lnTo>
                <a:lnTo>
                  <a:pt x="10" y="215"/>
                </a:lnTo>
                <a:lnTo>
                  <a:pt x="10" y="195"/>
                </a:lnTo>
                <a:lnTo>
                  <a:pt x="10" y="176"/>
                </a:lnTo>
                <a:lnTo>
                  <a:pt x="0" y="166"/>
                </a:lnTo>
                <a:lnTo>
                  <a:pt x="10" y="166"/>
                </a:lnTo>
                <a:lnTo>
                  <a:pt x="20" y="156"/>
                </a:lnTo>
                <a:lnTo>
                  <a:pt x="30" y="156"/>
                </a:lnTo>
                <a:lnTo>
                  <a:pt x="30" y="137"/>
                </a:lnTo>
                <a:lnTo>
                  <a:pt x="10" y="127"/>
                </a:lnTo>
                <a:lnTo>
                  <a:pt x="10" y="107"/>
                </a:lnTo>
                <a:lnTo>
                  <a:pt x="39" y="107"/>
                </a:lnTo>
                <a:lnTo>
                  <a:pt x="69" y="98"/>
                </a:lnTo>
                <a:lnTo>
                  <a:pt x="98" y="88"/>
                </a:lnTo>
                <a:lnTo>
                  <a:pt x="117" y="78"/>
                </a:lnTo>
                <a:lnTo>
                  <a:pt x="147" y="78"/>
                </a:lnTo>
                <a:lnTo>
                  <a:pt x="166" y="59"/>
                </a:lnTo>
                <a:lnTo>
                  <a:pt x="166" y="49"/>
                </a:lnTo>
                <a:lnTo>
                  <a:pt x="176" y="39"/>
                </a:lnTo>
                <a:lnTo>
                  <a:pt x="195" y="39"/>
                </a:lnTo>
                <a:lnTo>
                  <a:pt x="205" y="39"/>
                </a:lnTo>
                <a:lnTo>
                  <a:pt x="215" y="29"/>
                </a:lnTo>
                <a:lnTo>
                  <a:pt x="234" y="29"/>
                </a:lnTo>
                <a:lnTo>
                  <a:pt x="234" y="20"/>
                </a:lnTo>
                <a:lnTo>
                  <a:pt x="234" y="0"/>
                </a:lnTo>
                <a:lnTo>
                  <a:pt x="254" y="0"/>
                </a:lnTo>
                <a:lnTo>
                  <a:pt x="273" y="10"/>
                </a:lnTo>
                <a:close/>
              </a:path>
            </a:pathLst>
          </a:custGeom>
          <a:solidFill>
            <a:srgbClr val="C0C0C0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530" name="Freeform 268"/>
          <p:cNvSpPr>
            <a:spLocks noChangeAspect="1"/>
          </p:cNvSpPr>
          <p:nvPr>
            <p:custDataLst>
              <p:tags r:id="rId96"/>
            </p:custDataLst>
          </p:nvPr>
        </p:nvSpPr>
        <p:spPr bwMode="auto">
          <a:xfrm>
            <a:off x="3817938" y="4057650"/>
            <a:ext cx="877887" cy="636588"/>
          </a:xfrm>
          <a:custGeom>
            <a:avLst/>
            <a:gdLst>
              <a:gd name="T0" fmla="*/ 448609 w 1317"/>
              <a:gd name="T1" fmla="*/ 612342 h 1024"/>
              <a:gd name="T2" fmla="*/ 487937 w 1317"/>
              <a:gd name="T3" fmla="*/ 588097 h 1024"/>
              <a:gd name="T4" fmla="*/ 513934 w 1317"/>
              <a:gd name="T5" fmla="*/ 563852 h 1024"/>
              <a:gd name="T6" fmla="*/ 539930 w 1317"/>
              <a:gd name="T7" fmla="*/ 533390 h 1024"/>
              <a:gd name="T8" fmla="*/ 565927 w 1317"/>
              <a:gd name="T9" fmla="*/ 521579 h 1024"/>
              <a:gd name="T10" fmla="*/ 591924 w 1317"/>
              <a:gd name="T11" fmla="*/ 533390 h 1024"/>
              <a:gd name="T12" fmla="*/ 650583 w 1317"/>
              <a:gd name="T13" fmla="*/ 563852 h 1024"/>
              <a:gd name="T14" fmla="*/ 683245 w 1317"/>
              <a:gd name="T15" fmla="*/ 557635 h 1024"/>
              <a:gd name="T16" fmla="*/ 709242 w 1317"/>
              <a:gd name="T17" fmla="*/ 581880 h 1024"/>
              <a:gd name="T18" fmla="*/ 735239 w 1317"/>
              <a:gd name="T19" fmla="*/ 581880 h 1024"/>
              <a:gd name="T20" fmla="*/ 787232 w 1317"/>
              <a:gd name="T21" fmla="*/ 575664 h 1024"/>
              <a:gd name="T22" fmla="*/ 832560 w 1317"/>
              <a:gd name="T23" fmla="*/ 581880 h 1024"/>
              <a:gd name="T24" fmla="*/ 877887 w 1317"/>
              <a:gd name="T25" fmla="*/ 545824 h 1024"/>
              <a:gd name="T26" fmla="*/ 839225 w 1317"/>
              <a:gd name="T27" fmla="*/ 515362 h 1024"/>
              <a:gd name="T28" fmla="*/ 832560 w 1317"/>
              <a:gd name="T29" fmla="*/ 466872 h 1024"/>
              <a:gd name="T30" fmla="*/ 793231 w 1317"/>
              <a:gd name="T31" fmla="*/ 448844 h 1024"/>
              <a:gd name="T32" fmla="*/ 761235 w 1317"/>
              <a:gd name="T33" fmla="*/ 442627 h 1024"/>
              <a:gd name="T34" fmla="*/ 735239 w 1317"/>
              <a:gd name="T35" fmla="*/ 405949 h 1024"/>
              <a:gd name="T36" fmla="*/ 702576 w 1317"/>
              <a:gd name="T37" fmla="*/ 418382 h 1024"/>
              <a:gd name="T38" fmla="*/ 669914 w 1317"/>
              <a:gd name="T39" fmla="*/ 424599 h 1024"/>
              <a:gd name="T40" fmla="*/ 617920 w 1317"/>
              <a:gd name="T41" fmla="*/ 412165 h 1024"/>
              <a:gd name="T42" fmla="*/ 598590 w 1317"/>
              <a:gd name="T43" fmla="*/ 369892 h 1024"/>
              <a:gd name="T44" fmla="*/ 546596 w 1317"/>
              <a:gd name="T45" fmla="*/ 345647 h 1024"/>
              <a:gd name="T46" fmla="*/ 494603 w 1317"/>
              <a:gd name="T47" fmla="*/ 321402 h 1024"/>
              <a:gd name="T48" fmla="*/ 468606 w 1317"/>
              <a:gd name="T49" fmla="*/ 302752 h 1024"/>
              <a:gd name="T50" fmla="*/ 435944 w 1317"/>
              <a:gd name="T51" fmla="*/ 290940 h 1024"/>
              <a:gd name="T52" fmla="*/ 435944 w 1317"/>
              <a:gd name="T53" fmla="*/ 266695 h 1024"/>
              <a:gd name="T54" fmla="*/ 442610 w 1317"/>
              <a:gd name="T55" fmla="*/ 218205 h 1024"/>
              <a:gd name="T56" fmla="*/ 422612 w 1317"/>
              <a:gd name="T57" fmla="*/ 205772 h 1024"/>
              <a:gd name="T58" fmla="*/ 390616 w 1317"/>
              <a:gd name="T59" fmla="*/ 181527 h 1024"/>
              <a:gd name="T60" fmla="*/ 364620 w 1317"/>
              <a:gd name="T61" fmla="*/ 181527 h 1024"/>
              <a:gd name="T62" fmla="*/ 318626 w 1317"/>
              <a:gd name="T63" fmla="*/ 163498 h 1024"/>
              <a:gd name="T64" fmla="*/ 318626 w 1317"/>
              <a:gd name="T65" fmla="*/ 139253 h 1024"/>
              <a:gd name="T66" fmla="*/ 266632 w 1317"/>
              <a:gd name="T67" fmla="*/ 115008 h 1024"/>
              <a:gd name="T68" fmla="*/ 227971 w 1317"/>
              <a:gd name="T69" fmla="*/ 102575 h 1024"/>
              <a:gd name="T70" fmla="*/ 201974 w 1317"/>
              <a:gd name="T71" fmla="*/ 78330 h 1024"/>
              <a:gd name="T72" fmla="*/ 240636 w 1317"/>
              <a:gd name="T73" fmla="*/ 36057 h 1024"/>
              <a:gd name="T74" fmla="*/ 247301 w 1317"/>
              <a:gd name="T75" fmla="*/ 0 h 1024"/>
              <a:gd name="T76" fmla="*/ 188642 w 1317"/>
              <a:gd name="T77" fmla="*/ 18028 h 1024"/>
              <a:gd name="T78" fmla="*/ 143315 w 1317"/>
              <a:gd name="T79" fmla="*/ 5595 h 1024"/>
              <a:gd name="T80" fmla="*/ 123984 w 1317"/>
              <a:gd name="T81" fmla="*/ 36057 h 1024"/>
              <a:gd name="T82" fmla="*/ 91322 w 1317"/>
              <a:gd name="T83" fmla="*/ 78330 h 1024"/>
              <a:gd name="T84" fmla="*/ 32662 w 1317"/>
              <a:gd name="T85" fmla="*/ 139253 h 1024"/>
              <a:gd name="T86" fmla="*/ 0 w 1317"/>
              <a:gd name="T87" fmla="*/ 181527 h 1024"/>
              <a:gd name="T88" fmla="*/ 6666 w 1317"/>
              <a:gd name="T89" fmla="*/ 205772 h 1024"/>
              <a:gd name="T90" fmla="*/ 71991 w 1317"/>
              <a:gd name="T91" fmla="*/ 284723 h 1024"/>
              <a:gd name="T92" fmla="*/ 51993 w 1317"/>
              <a:gd name="T93" fmla="*/ 345647 h 1024"/>
              <a:gd name="T94" fmla="*/ 51993 w 1317"/>
              <a:gd name="T95" fmla="*/ 424599 h 1024"/>
              <a:gd name="T96" fmla="*/ 71991 w 1317"/>
              <a:gd name="T97" fmla="*/ 491117 h 1024"/>
              <a:gd name="T98" fmla="*/ 123984 w 1317"/>
              <a:gd name="T99" fmla="*/ 491117 h 1024"/>
              <a:gd name="T100" fmla="*/ 169312 w 1317"/>
              <a:gd name="T101" fmla="*/ 497334 h 1024"/>
              <a:gd name="T102" fmla="*/ 208640 w 1317"/>
              <a:gd name="T103" fmla="*/ 491117 h 1024"/>
              <a:gd name="T104" fmla="*/ 240636 w 1317"/>
              <a:gd name="T105" fmla="*/ 466872 h 1024"/>
              <a:gd name="T106" fmla="*/ 273298 w 1317"/>
              <a:gd name="T107" fmla="*/ 484900 h 1024"/>
              <a:gd name="T108" fmla="*/ 331957 w 1317"/>
              <a:gd name="T109" fmla="*/ 539607 h 1024"/>
              <a:gd name="T110" fmla="*/ 344622 w 1317"/>
              <a:gd name="T111" fmla="*/ 575664 h 1024"/>
              <a:gd name="T112" fmla="*/ 357954 w 1317"/>
              <a:gd name="T113" fmla="*/ 606125 h 1024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317"/>
              <a:gd name="T172" fmla="*/ 0 h 1024"/>
              <a:gd name="T173" fmla="*/ 1317 w 1317"/>
              <a:gd name="T174" fmla="*/ 1024 h 1024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317" h="1024">
                <a:moveTo>
                  <a:pt x="625" y="1024"/>
                </a:moveTo>
                <a:lnTo>
                  <a:pt x="654" y="1014"/>
                </a:lnTo>
                <a:lnTo>
                  <a:pt x="673" y="1005"/>
                </a:lnTo>
                <a:lnTo>
                  <a:pt x="673" y="985"/>
                </a:lnTo>
                <a:lnTo>
                  <a:pt x="683" y="975"/>
                </a:lnTo>
                <a:lnTo>
                  <a:pt x="703" y="966"/>
                </a:lnTo>
                <a:lnTo>
                  <a:pt x="703" y="956"/>
                </a:lnTo>
                <a:lnTo>
                  <a:pt x="732" y="946"/>
                </a:lnTo>
                <a:lnTo>
                  <a:pt x="751" y="946"/>
                </a:lnTo>
                <a:lnTo>
                  <a:pt x="761" y="946"/>
                </a:lnTo>
                <a:lnTo>
                  <a:pt x="771" y="936"/>
                </a:lnTo>
                <a:lnTo>
                  <a:pt x="771" y="907"/>
                </a:lnTo>
                <a:lnTo>
                  <a:pt x="790" y="887"/>
                </a:lnTo>
                <a:lnTo>
                  <a:pt x="790" y="868"/>
                </a:lnTo>
                <a:lnTo>
                  <a:pt x="800" y="858"/>
                </a:lnTo>
                <a:lnTo>
                  <a:pt x="810" y="858"/>
                </a:lnTo>
                <a:lnTo>
                  <a:pt x="810" y="839"/>
                </a:lnTo>
                <a:lnTo>
                  <a:pt x="830" y="829"/>
                </a:lnTo>
                <a:lnTo>
                  <a:pt x="830" y="839"/>
                </a:lnTo>
                <a:lnTo>
                  <a:pt x="849" y="839"/>
                </a:lnTo>
                <a:lnTo>
                  <a:pt x="859" y="848"/>
                </a:lnTo>
                <a:lnTo>
                  <a:pt x="859" y="858"/>
                </a:lnTo>
                <a:lnTo>
                  <a:pt x="869" y="848"/>
                </a:lnTo>
                <a:lnTo>
                  <a:pt x="888" y="858"/>
                </a:lnTo>
                <a:lnTo>
                  <a:pt x="917" y="868"/>
                </a:lnTo>
                <a:lnTo>
                  <a:pt x="927" y="887"/>
                </a:lnTo>
                <a:lnTo>
                  <a:pt x="956" y="907"/>
                </a:lnTo>
                <a:lnTo>
                  <a:pt x="976" y="907"/>
                </a:lnTo>
                <a:lnTo>
                  <a:pt x="986" y="907"/>
                </a:lnTo>
                <a:lnTo>
                  <a:pt x="1005" y="897"/>
                </a:lnTo>
                <a:lnTo>
                  <a:pt x="1015" y="897"/>
                </a:lnTo>
                <a:lnTo>
                  <a:pt x="1025" y="897"/>
                </a:lnTo>
                <a:lnTo>
                  <a:pt x="1025" y="926"/>
                </a:lnTo>
                <a:lnTo>
                  <a:pt x="1034" y="926"/>
                </a:lnTo>
                <a:lnTo>
                  <a:pt x="1054" y="926"/>
                </a:lnTo>
                <a:lnTo>
                  <a:pt x="1064" y="936"/>
                </a:lnTo>
                <a:lnTo>
                  <a:pt x="1073" y="946"/>
                </a:lnTo>
                <a:lnTo>
                  <a:pt x="1093" y="946"/>
                </a:lnTo>
                <a:lnTo>
                  <a:pt x="1103" y="946"/>
                </a:lnTo>
                <a:lnTo>
                  <a:pt x="1103" y="936"/>
                </a:lnTo>
                <a:lnTo>
                  <a:pt x="1122" y="926"/>
                </a:lnTo>
                <a:lnTo>
                  <a:pt x="1142" y="926"/>
                </a:lnTo>
                <a:lnTo>
                  <a:pt x="1161" y="926"/>
                </a:lnTo>
                <a:lnTo>
                  <a:pt x="1181" y="926"/>
                </a:lnTo>
                <a:lnTo>
                  <a:pt x="1190" y="936"/>
                </a:lnTo>
                <a:lnTo>
                  <a:pt x="1210" y="946"/>
                </a:lnTo>
                <a:lnTo>
                  <a:pt x="1249" y="936"/>
                </a:lnTo>
                <a:lnTo>
                  <a:pt x="1307" y="926"/>
                </a:lnTo>
                <a:lnTo>
                  <a:pt x="1307" y="907"/>
                </a:lnTo>
                <a:lnTo>
                  <a:pt x="1317" y="897"/>
                </a:lnTo>
                <a:lnTo>
                  <a:pt x="1317" y="878"/>
                </a:lnTo>
                <a:lnTo>
                  <a:pt x="1307" y="878"/>
                </a:lnTo>
                <a:lnTo>
                  <a:pt x="1288" y="868"/>
                </a:lnTo>
                <a:lnTo>
                  <a:pt x="1268" y="848"/>
                </a:lnTo>
                <a:lnTo>
                  <a:pt x="1259" y="829"/>
                </a:lnTo>
                <a:lnTo>
                  <a:pt x="1288" y="790"/>
                </a:lnTo>
                <a:lnTo>
                  <a:pt x="1278" y="780"/>
                </a:lnTo>
                <a:lnTo>
                  <a:pt x="1259" y="761"/>
                </a:lnTo>
                <a:lnTo>
                  <a:pt x="1249" y="751"/>
                </a:lnTo>
                <a:lnTo>
                  <a:pt x="1239" y="761"/>
                </a:lnTo>
                <a:lnTo>
                  <a:pt x="1220" y="751"/>
                </a:lnTo>
                <a:lnTo>
                  <a:pt x="1200" y="731"/>
                </a:lnTo>
                <a:lnTo>
                  <a:pt x="1190" y="722"/>
                </a:lnTo>
                <a:lnTo>
                  <a:pt x="1181" y="722"/>
                </a:lnTo>
                <a:lnTo>
                  <a:pt x="1171" y="712"/>
                </a:lnTo>
                <a:lnTo>
                  <a:pt x="1161" y="712"/>
                </a:lnTo>
                <a:lnTo>
                  <a:pt x="1142" y="712"/>
                </a:lnTo>
                <a:lnTo>
                  <a:pt x="1132" y="702"/>
                </a:lnTo>
                <a:lnTo>
                  <a:pt x="1122" y="692"/>
                </a:lnTo>
                <a:lnTo>
                  <a:pt x="1112" y="673"/>
                </a:lnTo>
                <a:lnTo>
                  <a:pt x="1103" y="653"/>
                </a:lnTo>
                <a:lnTo>
                  <a:pt x="1083" y="663"/>
                </a:lnTo>
                <a:lnTo>
                  <a:pt x="1064" y="663"/>
                </a:lnTo>
                <a:lnTo>
                  <a:pt x="1054" y="673"/>
                </a:lnTo>
                <a:lnTo>
                  <a:pt x="1044" y="683"/>
                </a:lnTo>
                <a:lnTo>
                  <a:pt x="1034" y="692"/>
                </a:lnTo>
                <a:lnTo>
                  <a:pt x="1025" y="692"/>
                </a:lnTo>
                <a:lnTo>
                  <a:pt x="1005" y="683"/>
                </a:lnTo>
                <a:lnTo>
                  <a:pt x="995" y="673"/>
                </a:lnTo>
                <a:lnTo>
                  <a:pt x="976" y="673"/>
                </a:lnTo>
                <a:lnTo>
                  <a:pt x="947" y="673"/>
                </a:lnTo>
                <a:lnTo>
                  <a:pt x="927" y="663"/>
                </a:lnTo>
                <a:lnTo>
                  <a:pt x="908" y="644"/>
                </a:lnTo>
                <a:lnTo>
                  <a:pt x="908" y="634"/>
                </a:lnTo>
                <a:lnTo>
                  <a:pt x="898" y="605"/>
                </a:lnTo>
                <a:lnTo>
                  <a:pt x="898" y="595"/>
                </a:lnTo>
                <a:lnTo>
                  <a:pt x="869" y="585"/>
                </a:lnTo>
                <a:lnTo>
                  <a:pt x="859" y="565"/>
                </a:lnTo>
                <a:lnTo>
                  <a:pt x="849" y="556"/>
                </a:lnTo>
                <a:lnTo>
                  <a:pt x="820" y="556"/>
                </a:lnTo>
                <a:lnTo>
                  <a:pt x="800" y="546"/>
                </a:lnTo>
                <a:lnTo>
                  <a:pt x="781" y="536"/>
                </a:lnTo>
                <a:lnTo>
                  <a:pt x="771" y="517"/>
                </a:lnTo>
                <a:lnTo>
                  <a:pt x="742" y="517"/>
                </a:lnTo>
                <a:lnTo>
                  <a:pt x="732" y="507"/>
                </a:lnTo>
                <a:lnTo>
                  <a:pt x="732" y="487"/>
                </a:lnTo>
                <a:lnTo>
                  <a:pt x="722" y="478"/>
                </a:lnTo>
                <a:lnTo>
                  <a:pt x="703" y="487"/>
                </a:lnTo>
                <a:lnTo>
                  <a:pt x="693" y="487"/>
                </a:lnTo>
                <a:lnTo>
                  <a:pt x="673" y="478"/>
                </a:lnTo>
                <a:lnTo>
                  <a:pt x="654" y="478"/>
                </a:lnTo>
                <a:lnTo>
                  <a:pt x="654" y="468"/>
                </a:lnTo>
                <a:lnTo>
                  <a:pt x="654" y="458"/>
                </a:lnTo>
                <a:lnTo>
                  <a:pt x="664" y="448"/>
                </a:lnTo>
                <a:lnTo>
                  <a:pt x="664" y="439"/>
                </a:lnTo>
                <a:lnTo>
                  <a:pt x="654" y="429"/>
                </a:lnTo>
                <a:lnTo>
                  <a:pt x="654" y="400"/>
                </a:lnTo>
                <a:lnTo>
                  <a:pt x="654" y="370"/>
                </a:lnTo>
                <a:lnTo>
                  <a:pt x="654" y="361"/>
                </a:lnTo>
                <a:lnTo>
                  <a:pt x="664" y="351"/>
                </a:lnTo>
                <a:lnTo>
                  <a:pt x="664" y="341"/>
                </a:lnTo>
                <a:lnTo>
                  <a:pt x="654" y="341"/>
                </a:lnTo>
                <a:lnTo>
                  <a:pt x="644" y="322"/>
                </a:lnTo>
                <a:lnTo>
                  <a:pt x="634" y="331"/>
                </a:lnTo>
                <a:lnTo>
                  <a:pt x="625" y="322"/>
                </a:lnTo>
                <a:lnTo>
                  <a:pt x="605" y="292"/>
                </a:lnTo>
                <a:lnTo>
                  <a:pt x="595" y="292"/>
                </a:lnTo>
                <a:lnTo>
                  <a:pt x="586" y="292"/>
                </a:lnTo>
                <a:lnTo>
                  <a:pt x="566" y="302"/>
                </a:lnTo>
                <a:lnTo>
                  <a:pt x="556" y="292"/>
                </a:lnTo>
                <a:lnTo>
                  <a:pt x="547" y="292"/>
                </a:lnTo>
                <a:lnTo>
                  <a:pt x="517" y="292"/>
                </a:lnTo>
                <a:lnTo>
                  <a:pt x="498" y="292"/>
                </a:lnTo>
                <a:lnTo>
                  <a:pt x="478" y="283"/>
                </a:lnTo>
                <a:lnTo>
                  <a:pt x="478" y="263"/>
                </a:lnTo>
                <a:lnTo>
                  <a:pt x="488" y="244"/>
                </a:lnTo>
                <a:lnTo>
                  <a:pt x="498" y="234"/>
                </a:lnTo>
                <a:lnTo>
                  <a:pt x="498" y="224"/>
                </a:lnTo>
                <a:lnTo>
                  <a:pt x="478" y="224"/>
                </a:lnTo>
                <a:lnTo>
                  <a:pt x="459" y="204"/>
                </a:lnTo>
                <a:lnTo>
                  <a:pt x="439" y="204"/>
                </a:lnTo>
                <a:lnTo>
                  <a:pt x="430" y="195"/>
                </a:lnTo>
                <a:lnTo>
                  <a:pt x="400" y="185"/>
                </a:lnTo>
                <a:lnTo>
                  <a:pt x="361" y="185"/>
                </a:lnTo>
                <a:lnTo>
                  <a:pt x="352" y="185"/>
                </a:lnTo>
                <a:lnTo>
                  <a:pt x="342" y="185"/>
                </a:lnTo>
                <a:lnTo>
                  <a:pt x="342" y="165"/>
                </a:lnTo>
                <a:lnTo>
                  <a:pt x="332" y="146"/>
                </a:lnTo>
                <a:lnTo>
                  <a:pt x="322" y="146"/>
                </a:lnTo>
                <a:lnTo>
                  <a:pt x="303" y="136"/>
                </a:lnTo>
                <a:lnTo>
                  <a:pt x="303" y="126"/>
                </a:lnTo>
                <a:lnTo>
                  <a:pt x="322" y="117"/>
                </a:lnTo>
                <a:lnTo>
                  <a:pt x="342" y="97"/>
                </a:lnTo>
                <a:lnTo>
                  <a:pt x="352" y="78"/>
                </a:lnTo>
                <a:lnTo>
                  <a:pt x="361" y="58"/>
                </a:lnTo>
                <a:lnTo>
                  <a:pt x="352" y="48"/>
                </a:lnTo>
                <a:lnTo>
                  <a:pt x="361" y="29"/>
                </a:lnTo>
                <a:lnTo>
                  <a:pt x="361" y="19"/>
                </a:lnTo>
                <a:lnTo>
                  <a:pt x="371" y="0"/>
                </a:lnTo>
                <a:lnTo>
                  <a:pt x="342" y="0"/>
                </a:lnTo>
                <a:lnTo>
                  <a:pt x="313" y="9"/>
                </a:lnTo>
                <a:lnTo>
                  <a:pt x="293" y="29"/>
                </a:lnTo>
                <a:lnTo>
                  <a:pt x="283" y="29"/>
                </a:lnTo>
                <a:lnTo>
                  <a:pt x="254" y="29"/>
                </a:lnTo>
                <a:lnTo>
                  <a:pt x="244" y="19"/>
                </a:lnTo>
                <a:lnTo>
                  <a:pt x="235" y="9"/>
                </a:lnTo>
                <a:lnTo>
                  <a:pt x="215" y="9"/>
                </a:lnTo>
                <a:lnTo>
                  <a:pt x="195" y="19"/>
                </a:lnTo>
                <a:lnTo>
                  <a:pt x="195" y="39"/>
                </a:lnTo>
                <a:lnTo>
                  <a:pt x="195" y="48"/>
                </a:lnTo>
                <a:lnTo>
                  <a:pt x="186" y="58"/>
                </a:lnTo>
                <a:lnTo>
                  <a:pt x="166" y="78"/>
                </a:lnTo>
                <a:lnTo>
                  <a:pt x="166" y="97"/>
                </a:lnTo>
                <a:lnTo>
                  <a:pt x="147" y="107"/>
                </a:lnTo>
                <a:lnTo>
                  <a:pt x="137" y="126"/>
                </a:lnTo>
                <a:lnTo>
                  <a:pt x="88" y="156"/>
                </a:lnTo>
                <a:lnTo>
                  <a:pt x="69" y="175"/>
                </a:lnTo>
                <a:lnTo>
                  <a:pt x="69" y="204"/>
                </a:lnTo>
                <a:lnTo>
                  <a:pt x="49" y="224"/>
                </a:lnTo>
                <a:lnTo>
                  <a:pt x="59" y="234"/>
                </a:lnTo>
                <a:lnTo>
                  <a:pt x="39" y="244"/>
                </a:lnTo>
                <a:lnTo>
                  <a:pt x="20" y="263"/>
                </a:lnTo>
                <a:lnTo>
                  <a:pt x="0" y="292"/>
                </a:lnTo>
                <a:lnTo>
                  <a:pt x="10" y="292"/>
                </a:lnTo>
                <a:lnTo>
                  <a:pt x="10" y="312"/>
                </a:lnTo>
                <a:lnTo>
                  <a:pt x="10" y="331"/>
                </a:lnTo>
                <a:lnTo>
                  <a:pt x="39" y="341"/>
                </a:lnTo>
                <a:lnTo>
                  <a:pt x="78" y="380"/>
                </a:lnTo>
                <a:lnTo>
                  <a:pt x="98" y="429"/>
                </a:lnTo>
                <a:lnTo>
                  <a:pt x="108" y="458"/>
                </a:lnTo>
                <a:lnTo>
                  <a:pt x="108" y="478"/>
                </a:lnTo>
                <a:lnTo>
                  <a:pt x="88" y="507"/>
                </a:lnTo>
                <a:lnTo>
                  <a:pt x="88" y="517"/>
                </a:lnTo>
                <a:lnTo>
                  <a:pt x="78" y="556"/>
                </a:lnTo>
                <a:lnTo>
                  <a:pt x="88" y="585"/>
                </a:lnTo>
                <a:lnTo>
                  <a:pt x="69" y="624"/>
                </a:lnTo>
                <a:lnTo>
                  <a:pt x="59" y="653"/>
                </a:lnTo>
                <a:lnTo>
                  <a:pt x="78" y="683"/>
                </a:lnTo>
                <a:lnTo>
                  <a:pt x="108" y="702"/>
                </a:lnTo>
                <a:lnTo>
                  <a:pt x="108" y="712"/>
                </a:lnTo>
                <a:lnTo>
                  <a:pt x="108" y="751"/>
                </a:lnTo>
                <a:lnTo>
                  <a:pt x="108" y="790"/>
                </a:lnTo>
                <a:lnTo>
                  <a:pt x="147" y="819"/>
                </a:lnTo>
                <a:lnTo>
                  <a:pt x="166" y="819"/>
                </a:lnTo>
                <a:lnTo>
                  <a:pt x="166" y="800"/>
                </a:lnTo>
                <a:lnTo>
                  <a:pt x="186" y="790"/>
                </a:lnTo>
                <a:lnTo>
                  <a:pt x="195" y="790"/>
                </a:lnTo>
                <a:lnTo>
                  <a:pt x="215" y="800"/>
                </a:lnTo>
                <a:lnTo>
                  <a:pt x="235" y="800"/>
                </a:lnTo>
                <a:lnTo>
                  <a:pt x="254" y="800"/>
                </a:lnTo>
                <a:lnTo>
                  <a:pt x="264" y="809"/>
                </a:lnTo>
                <a:lnTo>
                  <a:pt x="293" y="809"/>
                </a:lnTo>
                <a:lnTo>
                  <a:pt x="293" y="790"/>
                </a:lnTo>
                <a:lnTo>
                  <a:pt x="313" y="790"/>
                </a:lnTo>
                <a:lnTo>
                  <a:pt x="342" y="770"/>
                </a:lnTo>
                <a:lnTo>
                  <a:pt x="352" y="761"/>
                </a:lnTo>
                <a:lnTo>
                  <a:pt x="352" y="751"/>
                </a:lnTo>
                <a:lnTo>
                  <a:pt x="361" y="751"/>
                </a:lnTo>
                <a:lnTo>
                  <a:pt x="381" y="751"/>
                </a:lnTo>
                <a:lnTo>
                  <a:pt x="381" y="770"/>
                </a:lnTo>
                <a:lnTo>
                  <a:pt x="400" y="770"/>
                </a:lnTo>
                <a:lnTo>
                  <a:pt x="410" y="780"/>
                </a:lnTo>
                <a:lnTo>
                  <a:pt x="430" y="790"/>
                </a:lnTo>
                <a:lnTo>
                  <a:pt x="449" y="809"/>
                </a:lnTo>
                <a:lnTo>
                  <a:pt x="469" y="819"/>
                </a:lnTo>
                <a:lnTo>
                  <a:pt x="498" y="868"/>
                </a:lnTo>
                <a:lnTo>
                  <a:pt x="498" y="887"/>
                </a:lnTo>
                <a:lnTo>
                  <a:pt x="498" y="907"/>
                </a:lnTo>
                <a:lnTo>
                  <a:pt x="498" y="926"/>
                </a:lnTo>
                <a:lnTo>
                  <a:pt x="517" y="926"/>
                </a:lnTo>
                <a:lnTo>
                  <a:pt x="508" y="936"/>
                </a:lnTo>
                <a:lnTo>
                  <a:pt x="517" y="956"/>
                </a:lnTo>
                <a:lnTo>
                  <a:pt x="537" y="975"/>
                </a:lnTo>
                <a:lnTo>
                  <a:pt x="556" y="985"/>
                </a:lnTo>
                <a:lnTo>
                  <a:pt x="586" y="1005"/>
                </a:lnTo>
                <a:lnTo>
                  <a:pt x="625" y="1024"/>
                </a:lnTo>
                <a:close/>
              </a:path>
            </a:pathLst>
          </a:custGeom>
          <a:solidFill>
            <a:srgbClr val="C8D6DE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531" name="Freeform 267"/>
          <p:cNvSpPr>
            <a:spLocks noChangeAspect="1"/>
          </p:cNvSpPr>
          <p:nvPr>
            <p:custDataLst>
              <p:tags r:id="rId97"/>
            </p:custDataLst>
          </p:nvPr>
        </p:nvSpPr>
        <p:spPr bwMode="auto">
          <a:xfrm>
            <a:off x="2968625" y="3716338"/>
            <a:ext cx="438150" cy="369887"/>
          </a:xfrm>
          <a:custGeom>
            <a:avLst/>
            <a:gdLst>
              <a:gd name="T0" fmla="*/ 267982 w 654"/>
              <a:gd name="T1" fmla="*/ 327615 h 595"/>
              <a:gd name="T2" fmla="*/ 248553 w 654"/>
              <a:gd name="T3" fmla="*/ 291559 h 595"/>
              <a:gd name="T4" fmla="*/ 222425 w 654"/>
              <a:gd name="T5" fmla="*/ 272909 h 595"/>
              <a:gd name="T6" fmla="*/ 209026 w 654"/>
              <a:gd name="T7" fmla="*/ 248664 h 595"/>
              <a:gd name="T8" fmla="*/ 189597 w 654"/>
              <a:gd name="T9" fmla="*/ 261097 h 595"/>
              <a:gd name="T10" fmla="*/ 144040 w 654"/>
              <a:gd name="T11" fmla="*/ 254881 h 595"/>
              <a:gd name="T12" fmla="*/ 124611 w 654"/>
              <a:gd name="T13" fmla="*/ 242448 h 595"/>
              <a:gd name="T14" fmla="*/ 124611 w 654"/>
              <a:gd name="T15" fmla="*/ 206391 h 595"/>
              <a:gd name="T16" fmla="*/ 104513 w 654"/>
              <a:gd name="T17" fmla="*/ 193958 h 595"/>
              <a:gd name="T18" fmla="*/ 78385 w 654"/>
              <a:gd name="T19" fmla="*/ 175930 h 595"/>
              <a:gd name="T20" fmla="*/ 52256 w 654"/>
              <a:gd name="T21" fmla="*/ 169713 h 595"/>
              <a:gd name="T22" fmla="*/ 46227 w 654"/>
              <a:gd name="T23" fmla="*/ 157902 h 595"/>
              <a:gd name="T24" fmla="*/ 39527 w 654"/>
              <a:gd name="T25" fmla="*/ 127440 h 595"/>
              <a:gd name="T26" fmla="*/ 13399 w 654"/>
              <a:gd name="T27" fmla="*/ 127440 h 595"/>
              <a:gd name="T28" fmla="*/ 13399 w 654"/>
              <a:gd name="T29" fmla="*/ 85167 h 595"/>
              <a:gd name="T30" fmla="*/ 6700 w 654"/>
              <a:gd name="T31" fmla="*/ 67139 h 595"/>
              <a:gd name="T32" fmla="*/ 20099 w 654"/>
              <a:gd name="T33" fmla="*/ 54706 h 595"/>
              <a:gd name="T34" fmla="*/ 58956 w 654"/>
              <a:gd name="T35" fmla="*/ 54706 h 595"/>
              <a:gd name="T36" fmla="*/ 85084 w 654"/>
              <a:gd name="T37" fmla="*/ 24245 h 595"/>
              <a:gd name="T38" fmla="*/ 130641 w 654"/>
              <a:gd name="T39" fmla="*/ 0 h 595"/>
              <a:gd name="T40" fmla="*/ 163469 w 654"/>
              <a:gd name="T41" fmla="*/ 6217 h 595"/>
              <a:gd name="T42" fmla="*/ 209026 w 654"/>
              <a:gd name="T43" fmla="*/ 6217 h 595"/>
              <a:gd name="T44" fmla="*/ 229124 w 654"/>
              <a:gd name="T45" fmla="*/ 18028 h 595"/>
              <a:gd name="T46" fmla="*/ 235154 w 654"/>
              <a:gd name="T47" fmla="*/ 36678 h 595"/>
              <a:gd name="T48" fmla="*/ 229124 w 654"/>
              <a:gd name="T49" fmla="*/ 67139 h 595"/>
              <a:gd name="T50" fmla="*/ 215725 w 654"/>
              <a:gd name="T51" fmla="*/ 103196 h 595"/>
              <a:gd name="T52" fmla="*/ 235154 w 654"/>
              <a:gd name="T53" fmla="*/ 139874 h 595"/>
              <a:gd name="T54" fmla="*/ 261952 w 654"/>
              <a:gd name="T55" fmla="*/ 151685 h 595"/>
              <a:gd name="T56" fmla="*/ 288080 w 654"/>
              <a:gd name="T57" fmla="*/ 169713 h 595"/>
              <a:gd name="T58" fmla="*/ 300809 w 654"/>
              <a:gd name="T59" fmla="*/ 188363 h 595"/>
              <a:gd name="T60" fmla="*/ 320238 w 654"/>
              <a:gd name="T61" fmla="*/ 206391 h 595"/>
              <a:gd name="T62" fmla="*/ 359765 w 654"/>
              <a:gd name="T63" fmla="*/ 224419 h 595"/>
              <a:gd name="T64" fmla="*/ 372495 w 654"/>
              <a:gd name="T65" fmla="*/ 242448 h 595"/>
              <a:gd name="T66" fmla="*/ 398623 w 654"/>
              <a:gd name="T67" fmla="*/ 248664 h 595"/>
              <a:gd name="T68" fmla="*/ 412022 w 654"/>
              <a:gd name="T69" fmla="*/ 267314 h 595"/>
              <a:gd name="T70" fmla="*/ 431450 w 654"/>
              <a:gd name="T71" fmla="*/ 285342 h 595"/>
              <a:gd name="T72" fmla="*/ 431450 w 654"/>
              <a:gd name="T73" fmla="*/ 315803 h 595"/>
              <a:gd name="T74" fmla="*/ 405322 w 654"/>
              <a:gd name="T75" fmla="*/ 321399 h 595"/>
              <a:gd name="T76" fmla="*/ 379194 w 654"/>
              <a:gd name="T77" fmla="*/ 315803 h 595"/>
              <a:gd name="T78" fmla="*/ 379194 w 654"/>
              <a:gd name="T79" fmla="*/ 333832 h 595"/>
              <a:gd name="T80" fmla="*/ 379194 w 654"/>
              <a:gd name="T81" fmla="*/ 358076 h 595"/>
              <a:gd name="T82" fmla="*/ 353066 w 654"/>
              <a:gd name="T83" fmla="*/ 358076 h 595"/>
              <a:gd name="T84" fmla="*/ 326938 w 654"/>
              <a:gd name="T85" fmla="*/ 364293 h 595"/>
              <a:gd name="T86" fmla="*/ 288080 w 654"/>
              <a:gd name="T87" fmla="*/ 358076 h 595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654"/>
              <a:gd name="T133" fmla="*/ 0 h 595"/>
              <a:gd name="T134" fmla="*/ 654 w 654"/>
              <a:gd name="T135" fmla="*/ 595 h 595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654" h="595">
                <a:moveTo>
                  <a:pt x="430" y="556"/>
                </a:moveTo>
                <a:lnTo>
                  <a:pt x="410" y="547"/>
                </a:lnTo>
                <a:lnTo>
                  <a:pt x="400" y="527"/>
                </a:lnTo>
                <a:lnTo>
                  <a:pt x="381" y="498"/>
                </a:lnTo>
                <a:lnTo>
                  <a:pt x="371" y="488"/>
                </a:lnTo>
                <a:lnTo>
                  <a:pt x="371" y="469"/>
                </a:lnTo>
                <a:lnTo>
                  <a:pt x="361" y="449"/>
                </a:lnTo>
                <a:lnTo>
                  <a:pt x="351" y="439"/>
                </a:lnTo>
                <a:lnTo>
                  <a:pt x="332" y="439"/>
                </a:lnTo>
                <a:lnTo>
                  <a:pt x="332" y="420"/>
                </a:lnTo>
                <a:lnTo>
                  <a:pt x="322" y="420"/>
                </a:lnTo>
                <a:lnTo>
                  <a:pt x="312" y="400"/>
                </a:lnTo>
                <a:lnTo>
                  <a:pt x="303" y="390"/>
                </a:lnTo>
                <a:lnTo>
                  <a:pt x="303" y="410"/>
                </a:lnTo>
                <a:lnTo>
                  <a:pt x="283" y="420"/>
                </a:lnTo>
                <a:lnTo>
                  <a:pt x="244" y="390"/>
                </a:lnTo>
                <a:lnTo>
                  <a:pt x="225" y="400"/>
                </a:lnTo>
                <a:lnTo>
                  <a:pt x="215" y="410"/>
                </a:lnTo>
                <a:lnTo>
                  <a:pt x="195" y="410"/>
                </a:lnTo>
                <a:lnTo>
                  <a:pt x="195" y="400"/>
                </a:lnTo>
                <a:lnTo>
                  <a:pt x="186" y="390"/>
                </a:lnTo>
                <a:lnTo>
                  <a:pt x="176" y="381"/>
                </a:lnTo>
                <a:lnTo>
                  <a:pt x="186" y="351"/>
                </a:lnTo>
                <a:lnTo>
                  <a:pt x="186" y="332"/>
                </a:lnTo>
                <a:lnTo>
                  <a:pt x="176" y="312"/>
                </a:lnTo>
                <a:lnTo>
                  <a:pt x="166" y="303"/>
                </a:lnTo>
                <a:lnTo>
                  <a:pt x="156" y="312"/>
                </a:lnTo>
                <a:lnTo>
                  <a:pt x="147" y="303"/>
                </a:lnTo>
                <a:lnTo>
                  <a:pt x="137" y="293"/>
                </a:lnTo>
                <a:lnTo>
                  <a:pt x="117" y="283"/>
                </a:lnTo>
                <a:lnTo>
                  <a:pt x="98" y="273"/>
                </a:lnTo>
                <a:lnTo>
                  <a:pt x="88" y="264"/>
                </a:lnTo>
                <a:lnTo>
                  <a:pt x="78" y="273"/>
                </a:lnTo>
                <a:lnTo>
                  <a:pt x="69" y="273"/>
                </a:lnTo>
                <a:lnTo>
                  <a:pt x="59" y="264"/>
                </a:lnTo>
                <a:lnTo>
                  <a:pt x="69" y="254"/>
                </a:lnTo>
                <a:lnTo>
                  <a:pt x="69" y="244"/>
                </a:lnTo>
                <a:lnTo>
                  <a:pt x="78" y="225"/>
                </a:lnTo>
                <a:lnTo>
                  <a:pt x="59" y="205"/>
                </a:lnTo>
                <a:lnTo>
                  <a:pt x="39" y="205"/>
                </a:lnTo>
                <a:lnTo>
                  <a:pt x="30" y="205"/>
                </a:lnTo>
                <a:lnTo>
                  <a:pt x="20" y="205"/>
                </a:lnTo>
                <a:lnTo>
                  <a:pt x="30" y="176"/>
                </a:lnTo>
                <a:lnTo>
                  <a:pt x="30" y="147"/>
                </a:lnTo>
                <a:lnTo>
                  <a:pt x="20" y="137"/>
                </a:lnTo>
                <a:lnTo>
                  <a:pt x="0" y="127"/>
                </a:lnTo>
                <a:lnTo>
                  <a:pt x="0" y="117"/>
                </a:lnTo>
                <a:lnTo>
                  <a:pt x="10" y="108"/>
                </a:lnTo>
                <a:lnTo>
                  <a:pt x="10" y="98"/>
                </a:lnTo>
                <a:lnTo>
                  <a:pt x="20" y="88"/>
                </a:lnTo>
                <a:lnTo>
                  <a:pt x="30" y="88"/>
                </a:lnTo>
                <a:lnTo>
                  <a:pt x="49" y="88"/>
                </a:lnTo>
                <a:lnTo>
                  <a:pt x="69" y="108"/>
                </a:lnTo>
                <a:lnTo>
                  <a:pt x="88" y="88"/>
                </a:lnTo>
                <a:lnTo>
                  <a:pt x="108" y="69"/>
                </a:lnTo>
                <a:lnTo>
                  <a:pt x="127" y="49"/>
                </a:lnTo>
                <a:lnTo>
                  <a:pt x="127" y="39"/>
                </a:lnTo>
                <a:lnTo>
                  <a:pt x="166" y="29"/>
                </a:lnTo>
                <a:lnTo>
                  <a:pt x="186" y="10"/>
                </a:lnTo>
                <a:lnTo>
                  <a:pt x="195" y="0"/>
                </a:lnTo>
                <a:lnTo>
                  <a:pt x="205" y="0"/>
                </a:lnTo>
                <a:lnTo>
                  <a:pt x="225" y="0"/>
                </a:lnTo>
                <a:lnTo>
                  <a:pt x="244" y="10"/>
                </a:lnTo>
                <a:lnTo>
                  <a:pt x="254" y="10"/>
                </a:lnTo>
                <a:lnTo>
                  <a:pt x="254" y="0"/>
                </a:lnTo>
                <a:lnTo>
                  <a:pt x="312" y="10"/>
                </a:lnTo>
                <a:lnTo>
                  <a:pt x="322" y="10"/>
                </a:lnTo>
                <a:lnTo>
                  <a:pt x="322" y="29"/>
                </a:lnTo>
                <a:lnTo>
                  <a:pt x="342" y="29"/>
                </a:lnTo>
                <a:lnTo>
                  <a:pt x="342" y="39"/>
                </a:lnTo>
                <a:lnTo>
                  <a:pt x="342" y="49"/>
                </a:lnTo>
                <a:lnTo>
                  <a:pt x="351" y="59"/>
                </a:lnTo>
                <a:lnTo>
                  <a:pt x="351" y="69"/>
                </a:lnTo>
                <a:lnTo>
                  <a:pt x="342" y="88"/>
                </a:lnTo>
                <a:lnTo>
                  <a:pt x="342" y="108"/>
                </a:lnTo>
                <a:lnTo>
                  <a:pt x="322" y="117"/>
                </a:lnTo>
                <a:lnTo>
                  <a:pt x="322" y="147"/>
                </a:lnTo>
                <a:lnTo>
                  <a:pt x="322" y="166"/>
                </a:lnTo>
                <a:lnTo>
                  <a:pt x="332" y="186"/>
                </a:lnTo>
                <a:lnTo>
                  <a:pt x="342" y="195"/>
                </a:lnTo>
                <a:lnTo>
                  <a:pt x="351" y="225"/>
                </a:lnTo>
                <a:lnTo>
                  <a:pt x="371" y="225"/>
                </a:lnTo>
                <a:lnTo>
                  <a:pt x="381" y="234"/>
                </a:lnTo>
                <a:lnTo>
                  <a:pt x="391" y="244"/>
                </a:lnTo>
                <a:lnTo>
                  <a:pt x="400" y="273"/>
                </a:lnTo>
                <a:lnTo>
                  <a:pt x="410" y="273"/>
                </a:lnTo>
                <a:lnTo>
                  <a:pt x="430" y="273"/>
                </a:lnTo>
                <a:lnTo>
                  <a:pt x="449" y="283"/>
                </a:lnTo>
                <a:lnTo>
                  <a:pt x="459" y="293"/>
                </a:lnTo>
                <a:lnTo>
                  <a:pt x="449" y="303"/>
                </a:lnTo>
                <a:lnTo>
                  <a:pt x="459" y="312"/>
                </a:lnTo>
                <a:lnTo>
                  <a:pt x="469" y="322"/>
                </a:lnTo>
                <a:lnTo>
                  <a:pt x="478" y="332"/>
                </a:lnTo>
                <a:lnTo>
                  <a:pt x="508" y="361"/>
                </a:lnTo>
                <a:lnTo>
                  <a:pt x="527" y="361"/>
                </a:lnTo>
                <a:lnTo>
                  <a:pt x="537" y="361"/>
                </a:lnTo>
                <a:lnTo>
                  <a:pt x="556" y="371"/>
                </a:lnTo>
                <a:lnTo>
                  <a:pt x="547" y="381"/>
                </a:lnTo>
                <a:lnTo>
                  <a:pt x="556" y="390"/>
                </a:lnTo>
                <a:lnTo>
                  <a:pt x="566" y="410"/>
                </a:lnTo>
                <a:lnTo>
                  <a:pt x="576" y="420"/>
                </a:lnTo>
                <a:lnTo>
                  <a:pt x="595" y="400"/>
                </a:lnTo>
                <a:lnTo>
                  <a:pt x="615" y="400"/>
                </a:lnTo>
                <a:lnTo>
                  <a:pt x="625" y="420"/>
                </a:lnTo>
                <a:lnTo>
                  <a:pt x="615" y="430"/>
                </a:lnTo>
                <a:lnTo>
                  <a:pt x="625" y="449"/>
                </a:lnTo>
                <a:lnTo>
                  <a:pt x="634" y="459"/>
                </a:lnTo>
                <a:lnTo>
                  <a:pt x="644" y="459"/>
                </a:lnTo>
                <a:lnTo>
                  <a:pt x="654" y="469"/>
                </a:lnTo>
                <a:lnTo>
                  <a:pt x="654" y="488"/>
                </a:lnTo>
                <a:lnTo>
                  <a:pt x="644" y="508"/>
                </a:lnTo>
                <a:lnTo>
                  <a:pt x="634" y="517"/>
                </a:lnTo>
                <a:lnTo>
                  <a:pt x="625" y="517"/>
                </a:lnTo>
                <a:lnTo>
                  <a:pt x="605" y="517"/>
                </a:lnTo>
                <a:lnTo>
                  <a:pt x="586" y="527"/>
                </a:lnTo>
                <a:lnTo>
                  <a:pt x="576" y="517"/>
                </a:lnTo>
                <a:lnTo>
                  <a:pt x="566" y="508"/>
                </a:lnTo>
                <a:lnTo>
                  <a:pt x="556" y="517"/>
                </a:lnTo>
                <a:lnTo>
                  <a:pt x="547" y="527"/>
                </a:lnTo>
                <a:lnTo>
                  <a:pt x="566" y="537"/>
                </a:lnTo>
                <a:lnTo>
                  <a:pt x="576" y="547"/>
                </a:lnTo>
                <a:lnTo>
                  <a:pt x="566" y="556"/>
                </a:lnTo>
                <a:lnTo>
                  <a:pt x="566" y="576"/>
                </a:lnTo>
                <a:lnTo>
                  <a:pt x="556" y="586"/>
                </a:lnTo>
                <a:lnTo>
                  <a:pt x="547" y="595"/>
                </a:lnTo>
                <a:lnTo>
                  <a:pt x="527" y="576"/>
                </a:lnTo>
                <a:lnTo>
                  <a:pt x="517" y="566"/>
                </a:lnTo>
                <a:lnTo>
                  <a:pt x="508" y="566"/>
                </a:lnTo>
                <a:lnTo>
                  <a:pt x="488" y="586"/>
                </a:lnTo>
                <a:lnTo>
                  <a:pt x="469" y="576"/>
                </a:lnTo>
                <a:lnTo>
                  <a:pt x="449" y="586"/>
                </a:lnTo>
                <a:lnTo>
                  <a:pt x="430" y="576"/>
                </a:lnTo>
                <a:lnTo>
                  <a:pt x="430" y="556"/>
                </a:lnTo>
                <a:close/>
              </a:path>
            </a:pathLst>
          </a:custGeom>
          <a:solidFill>
            <a:srgbClr val="FFCC99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532" name="Freeform 266"/>
          <p:cNvSpPr>
            <a:spLocks noChangeAspect="1"/>
          </p:cNvSpPr>
          <p:nvPr>
            <p:custDataLst>
              <p:tags r:id="rId98"/>
            </p:custDataLst>
          </p:nvPr>
        </p:nvSpPr>
        <p:spPr bwMode="auto">
          <a:xfrm>
            <a:off x="4019550" y="3703638"/>
            <a:ext cx="728663" cy="838200"/>
          </a:xfrm>
          <a:custGeom>
            <a:avLst/>
            <a:gdLst>
              <a:gd name="T0" fmla="*/ 0 w 1092"/>
              <a:gd name="T1" fmla="*/ 437159 h 1346"/>
              <a:gd name="T2" fmla="*/ 104095 w 1092"/>
              <a:gd name="T3" fmla="*/ 479505 h 1346"/>
              <a:gd name="T4" fmla="*/ 168820 w 1092"/>
              <a:gd name="T5" fmla="*/ 534306 h 1346"/>
              <a:gd name="T6" fmla="*/ 240886 w 1092"/>
              <a:gd name="T7" fmla="*/ 564820 h 1346"/>
              <a:gd name="T8" fmla="*/ 234213 w 1092"/>
              <a:gd name="T9" fmla="*/ 643907 h 1346"/>
              <a:gd name="T10" fmla="*/ 331635 w 1092"/>
              <a:gd name="T11" fmla="*/ 692480 h 1346"/>
              <a:gd name="T12" fmla="*/ 429724 w 1092"/>
              <a:gd name="T13" fmla="*/ 765340 h 1346"/>
              <a:gd name="T14" fmla="*/ 533819 w 1092"/>
              <a:gd name="T15" fmla="*/ 759113 h 1346"/>
              <a:gd name="T16" fmla="*/ 598545 w 1092"/>
              <a:gd name="T17" fmla="*/ 807686 h 1346"/>
              <a:gd name="T18" fmla="*/ 695967 w 1092"/>
              <a:gd name="T19" fmla="*/ 807686 h 1346"/>
              <a:gd name="T20" fmla="*/ 695967 w 1092"/>
              <a:gd name="T21" fmla="*/ 741054 h 1346"/>
              <a:gd name="T22" fmla="*/ 709312 w 1092"/>
              <a:gd name="T23" fmla="*/ 668194 h 1346"/>
              <a:gd name="T24" fmla="*/ 695967 w 1092"/>
              <a:gd name="T25" fmla="*/ 601561 h 1346"/>
              <a:gd name="T26" fmla="*/ 676616 w 1092"/>
              <a:gd name="T27" fmla="*/ 552988 h 1346"/>
              <a:gd name="T28" fmla="*/ 669943 w 1092"/>
              <a:gd name="T29" fmla="*/ 461446 h 1346"/>
              <a:gd name="T30" fmla="*/ 709312 w 1092"/>
              <a:gd name="T31" fmla="*/ 394813 h 1346"/>
              <a:gd name="T32" fmla="*/ 695967 w 1092"/>
              <a:gd name="T33" fmla="*/ 340013 h 1346"/>
              <a:gd name="T34" fmla="*/ 637914 w 1092"/>
              <a:gd name="T35" fmla="*/ 285212 h 1346"/>
              <a:gd name="T36" fmla="*/ 709312 w 1092"/>
              <a:gd name="T37" fmla="*/ 218580 h 1346"/>
              <a:gd name="T38" fmla="*/ 715985 w 1092"/>
              <a:gd name="T39" fmla="*/ 145720 h 1346"/>
              <a:gd name="T40" fmla="*/ 663937 w 1092"/>
              <a:gd name="T41" fmla="*/ 127660 h 1346"/>
              <a:gd name="T42" fmla="*/ 643919 w 1092"/>
              <a:gd name="T43" fmla="*/ 121433 h 1346"/>
              <a:gd name="T44" fmla="*/ 650592 w 1092"/>
              <a:gd name="T45" fmla="*/ 181838 h 1346"/>
              <a:gd name="T46" fmla="*/ 657265 w 1092"/>
              <a:gd name="T47" fmla="*/ 212352 h 1346"/>
              <a:gd name="T48" fmla="*/ 591872 w 1092"/>
              <a:gd name="T49" fmla="*/ 157552 h 1346"/>
              <a:gd name="T50" fmla="*/ 624568 w 1092"/>
              <a:gd name="T51" fmla="*/ 97147 h 1346"/>
              <a:gd name="T52" fmla="*/ 611890 w 1092"/>
              <a:gd name="T53" fmla="*/ 79087 h 1346"/>
              <a:gd name="T54" fmla="*/ 539824 w 1092"/>
              <a:gd name="T55" fmla="*/ 127660 h 1346"/>
              <a:gd name="T56" fmla="*/ 520474 w 1092"/>
              <a:gd name="T57" fmla="*/ 212352 h 1346"/>
              <a:gd name="T58" fmla="*/ 481772 w 1092"/>
              <a:gd name="T59" fmla="*/ 291439 h 1346"/>
              <a:gd name="T60" fmla="*/ 559843 w 1092"/>
              <a:gd name="T61" fmla="*/ 321954 h 1346"/>
              <a:gd name="T62" fmla="*/ 565848 w 1092"/>
              <a:gd name="T63" fmla="*/ 388586 h 1346"/>
              <a:gd name="T64" fmla="*/ 572521 w 1092"/>
              <a:gd name="T65" fmla="*/ 430932 h 1346"/>
              <a:gd name="T66" fmla="*/ 533819 w 1092"/>
              <a:gd name="T67" fmla="*/ 412873 h 1346"/>
              <a:gd name="T68" fmla="*/ 553170 w 1092"/>
              <a:gd name="T69" fmla="*/ 352467 h 1346"/>
              <a:gd name="T70" fmla="*/ 475099 w 1092"/>
              <a:gd name="T71" fmla="*/ 340013 h 1346"/>
              <a:gd name="T72" fmla="*/ 403701 w 1092"/>
              <a:gd name="T73" fmla="*/ 430932 h 1346"/>
              <a:gd name="T74" fmla="*/ 318957 w 1092"/>
              <a:gd name="T75" fmla="*/ 443387 h 1346"/>
              <a:gd name="T76" fmla="*/ 286260 w 1092"/>
              <a:gd name="T77" fmla="*/ 401041 h 1346"/>
              <a:gd name="T78" fmla="*/ 305611 w 1092"/>
              <a:gd name="T79" fmla="*/ 401041 h 1346"/>
              <a:gd name="T80" fmla="*/ 344981 w 1092"/>
              <a:gd name="T81" fmla="*/ 425327 h 1346"/>
              <a:gd name="T82" fmla="*/ 383682 w 1092"/>
              <a:gd name="T83" fmla="*/ 394813 h 1346"/>
              <a:gd name="T84" fmla="*/ 423052 w 1092"/>
              <a:gd name="T85" fmla="*/ 370527 h 1346"/>
              <a:gd name="T86" fmla="*/ 455748 w 1092"/>
              <a:gd name="T87" fmla="*/ 309499 h 1346"/>
              <a:gd name="T88" fmla="*/ 468426 w 1092"/>
              <a:gd name="T89" fmla="*/ 242866 h 1346"/>
              <a:gd name="T90" fmla="*/ 507795 w 1092"/>
              <a:gd name="T91" fmla="*/ 176234 h 1346"/>
              <a:gd name="T92" fmla="*/ 533819 w 1092"/>
              <a:gd name="T93" fmla="*/ 97147 h 1346"/>
              <a:gd name="T94" fmla="*/ 565848 w 1092"/>
              <a:gd name="T95" fmla="*/ 36119 h 1346"/>
              <a:gd name="T96" fmla="*/ 507795 w 1092"/>
              <a:gd name="T97" fmla="*/ 11832 h 1346"/>
              <a:gd name="T98" fmla="*/ 455748 w 1092"/>
              <a:gd name="T99" fmla="*/ 48573 h 1346"/>
              <a:gd name="T100" fmla="*/ 371004 w 1092"/>
              <a:gd name="T101" fmla="*/ 97147 h 1346"/>
              <a:gd name="T102" fmla="*/ 364332 w 1092"/>
              <a:gd name="T103" fmla="*/ 145720 h 1346"/>
              <a:gd name="T104" fmla="*/ 324962 w 1092"/>
              <a:gd name="T105" fmla="*/ 188066 h 1346"/>
              <a:gd name="T106" fmla="*/ 338308 w 1092"/>
              <a:gd name="T107" fmla="*/ 212352 h 1346"/>
              <a:gd name="T108" fmla="*/ 312284 w 1092"/>
              <a:gd name="T109" fmla="*/ 291439 h 1346"/>
              <a:gd name="T110" fmla="*/ 286260 w 1092"/>
              <a:gd name="T111" fmla="*/ 224807 h 1346"/>
              <a:gd name="T112" fmla="*/ 240886 w 1092"/>
              <a:gd name="T113" fmla="*/ 188066 h 1346"/>
              <a:gd name="T114" fmla="*/ 240886 w 1092"/>
              <a:gd name="T115" fmla="*/ 285212 h 1346"/>
              <a:gd name="T116" fmla="*/ 156142 w 1092"/>
              <a:gd name="T117" fmla="*/ 321954 h 134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092"/>
              <a:gd name="T178" fmla="*/ 0 h 1346"/>
              <a:gd name="T179" fmla="*/ 1092 w 1092"/>
              <a:gd name="T180" fmla="*/ 1346 h 134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092" h="1346">
                <a:moveTo>
                  <a:pt x="68" y="566"/>
                </a:moveTo>
                <a:lnTo>
                  <a:pt x="58" y="585"/>
                </a:lnTo>
                <a:lnTo>
                  <a:pt x="58" y="595"/>
                </a:lnTo>
                <a:lnTo>
                  <a:pt x="49" y="614"/>
                </a:lnTo>
                <a:lnTo>
                  <a:pt x="58" y="624"/>
                </a:lnTo>
                <a:lnTo>
                  <a:pt x="49" y="634"/>
                </a:lnTo>
                <a:lnTo>
                  <a:pt x="39" y="663"/>
                </a:lnTo>
                <a:lnTo>
                  <a:pt x="19" y="683"/>
                </a:lnTo>
                <a:lnTo>
                  <a:pt x="0" y="692"/>
                </a:lnTo>
                <a:lnTo>
                  <a:pt x="0" y="702"/>
                </a:lnTo>
                <a:lnTo>
                  <a:pt x="19" y="712"/>
                </a:lnTo>
                <a:lnTo>
                  <a:pt x="29" y="712"/>
                </a:lnTo>
                <a:lnTo>
                  <a:pt x="39" y="731"/>
                </a:lnTo>
                <a:lnTo>
                  <a:pt x="39" y="741"/>
                </a:lnTo>
                <a:lnTo>
                  <a:pt x="49" y="751"/>
                </a:lnTo>
                <a:lnTo>
                  <a:pt x="58" y="741"/>
                </a:lnTo>
                <a:lnTo>
                  <a:pt x="97" y="751"/>
                </a:lnTo>
                <a:lnTo>
                  <a:pt x="127" y="761"/>
                </a:lnTo>
                <a:lnTo>
                  <a:pt x="136" y="761"/>
                </a:lnTo>
                <a:lnTo>
                  <a:pt x="156" y="770"/>
                </a:lnTo>
                <a:lnTo>
                  <a:pt x="175" y="780"/>
                </a:lnTo>
                <a:lnTo>
                  <a:pt x="195" y="790"/>
                </a:lnTo>
                <a:lnTo>
                  <a:pt x="195" y="800"/>
                </a:lnTo>
                <a:lnTo>
                  <a:pt x="185" y="810"/>
                </a:lnTo>
                <a:lnTo>
                  <a:pt x="175" y="819"/>
                </a:lnTo>
                <a:lnTo>
                  <a:pt x="175" y="839"/>
                </a:lnTo>
                <a:lnTo>
                  <a:pt x="195" y="858"/>
                </a:lnTo>
                <a:lnTo>
                  <a:pt x="214" y="858"/>
                </a:lnTo>
                <a:lnTo>
                  <a:pt x="244" y="858"/>
                </a:lnTo>
                <a:lnTo>
                  <a:pt x="253" y="858"/>
                </a:lnTo>
                <a:lnTo>
                  <a:pt x="263" y="868"/>
                </a:lnTo>
                <a:lnTo>
                  <a:pt x="283" y="858"/>
                </a:lnTo>
                <a:lnTo>
                  <a:pt x="292" y="858"/>
                </a:lnTo>
                <a:lnTo>
                  <a:pt x="302" y="858"/>
                </a:lnTo>
                <a:lnTo>
                  <a:pt x="322" y="888"/>
                </a:lnTo>
                <a:lnTo>
                  <a:pt x="331" y="888"/>
                </a:lnTo>
                <a:lnTo>
                  <a:pt x="341" y="888"/>
                </a:lnTo>
                <a:lnTo>
                  <a:pt x="341" y="897"/>
                </a:lnTo>
                <a:lnTo>
                  <a:pt x="361" y="907"/>
                </a:lnTo>
                <a:lnTo>
                  <a:pt x="361" y="917"/>
                </a:lnTo>
                <a:lnTo>
                  <a:pt x="351" y="927"/>
                </a:lnTo>
                <a:lnTo>
                  <a:pt x="341" y="936"/>
                </a:lnTo>
                <a:lnTo>
                  <a:pt x="341" y="966"/>
                </a:lnTo>
                <a:lnTo>
                  <a:pt x="341" y="995"/>
                </a:lnTo>
                <a:lnTo>
                  <a:pt x="361" y="1005"/>
                </a:lnTo>
                <a:lnTo>
                  <a:pt x="361" y="1014"/>
                </a:lnTo>
                <a:lnTo>
                  <a:pt x="351" y="1014"/>
                </a:lnTo>
                <a:lnTo>
                  <a:pt x="351" y="1024"/>
                </a:lnTo>
                <a:lnTo>
                  <a:pt x="351" y="1034"/>
                </a:lnTo>
                <a:lnTo>
                  <a:pt x="370" y="1044"/>
                </a:lnTo>
                <a:lnTo>
                  <a:pt x="390" y="1053"/>
                </a:lnTo>
                <a:lnTo>
                  <a:pt x="400" y="1053"/>
                </a:lnTo>
                <a:lnTo>
                  <a:pt x="419" y="1044"/>
                </a:lnTo>
                <a:lnTo>
                  <a:pt x="429" y="1053"/>
                </a:lnTo>
                <a:lnTo>
                  <a:pt x="429" y="1073"/>
                </a:lnTo>
                <a:lnTo>
                  <a:pt x="439" y="1083"/>
                </a:lnTo>
                <a:lnTo>
                  <a:pt x="468" y="1083"/>
                </a:lnTo>
                <a:lnTo>
                  <a:pt x="478" y="1092"/>
                </a:lnTo>
                <a:lnTo>
                  <a:pt x="497" y="1112"/>
                </a:lnTo>
                <a:lnTo>
                  <a:pt x="517" y="1122"/>
                </a:lnTo>
                <a:lnTo>
                  <a:pt x="546" y="1122"/>
                </a:lnTo>
                <a:lnTo>
                  <a:pt x="556" y="1131"/>
                </a:lnTo>
                <a:lnTo>
                  <a:pt x="566" y="1151"/>
                </a:lnTo>
                <a:lnTo>
                  <a:pt x="595" y="1151"/>
                </a:lnTo>
                <a:lnTo>
                  <a:pt x="595" y="1171"/>
                </a:lnTo>
                <a:lnTo>
                  <a:pt x="605" y="1200"/>
                </a:lnTo>
                <a:lnTo>
                  <a:pt x="605" y="1210"/>
                </a:lnTo>
                <a:lnTo>
                  <a:pt x="624" y="1219"/>
                </a:lnTo>
                <a:lnTo>
                  <a:pt x="644" y="1229"/>
                </a:lnTo>
                <a:lnTo>
                  <a:pt x="673" y="1229"/>
                </a:lnTo>
                <a:lnTo>
                  <a:pt x="692" y="1229"/>
                </a:lnTo>
                <a:lnTo>
                  <a:pt x="702" y="1249"/>
                </a:lnTo>
                <a:lnTo>
                  <a:pt x="722" y="1258"/>
                </a:lnTo>
                <a:lnTo>
                  <a:pt x="731" y="1258"/>
                </a:lnTo>
                <a:lnTo>
                  <a:pt x="741" y="1249"/>
                </a:lnTo>
                <a:lnTo>
                  <a:pt x="751" y="1239"/>
                </a:lnTo>
                <a:lnTo>
                  <a:pt x="761" y="1229"/>
                </a:lnTo>
                <a:lnTo>
                  <a:pt x="780" y="1219"/>
                </a:lnTo>
                <a:lnTo>
                  <a:pt x="800" y="1219"/>
                </a:lnTo>
                <a:lnTo>
                  <a:pt x="809" y="1229"/>
                </a:lnTo>
                <a:lnTo>
                  <a:pt x="819" y="1258"/>
                </a:lnTo>
                <a:lnTo>
                  <a:pt x="829" y="1268"/>
                </a:lnTo>
                <a:lnTo>
                  <a:pt x="839" y="1268"/>
                </a:lnTo>
                <a:lnTo>
                  <a:pt x="858" y="1268"/>
                </a:lnTo>
                <a:lnTo>
                  <a:pt x="868" y="1278"/>
                </a:lnTo>
                <a:lnTo>
                  <a:pt x="878" y="1278"/>
                </a:lnTo>
                <a:lnTo>
                  <a:pt x="887" y="1278"/>
                </a:lnTo>
                <a:lnTo>
                  <a:pt x="897" y="1297"/>
                </a:lnTo>
                <a:lnTo>
                  <a:pt x="917" y="1317"/>
                </a:lnTo>
                <a:lnTo>
                  <a:pt x="936" y="1327"/>
                </a:lnTo>
                <a:lnTo>
                  <a:pt x="946" y="1317"/>
                </a:lnTo>
                <a:lnTo>
                  <a:pt x="956" y="1327"/>
                </a:lnTo>
                <a:lnTo>
                  <a:pt x="975" y="1346"/>
                </a:lnTo>
                <a:lnTo>
                  <a:pt x="985" y="1346"/>
                </a:lnTo>
                <a:lnTo>
                  <a:pt x="1004" y="1327"/>
                </a:lnTo>
                <a:lnTo>
                  <a:pt x="1004" y="1317"/>
                </a:lnTo>
                <a:lnTo>
                  <a:pt x="1024" y="1297"/>
                </a:lnTo>
                <a:lnTo>
                  <a:pt x="1043" y="1297"/>
                </a:lnTo>
                <a:lnTo>
                  <a:pt x="1053" y="1288"/>
                </a:lnTo>
                <a:lnTo>
                  <a:pt x="1043" y="1278"/>
                </a:lnTo>
                <a:lnTo>
                  <a:pt x="1053" y="1268"/>
                </a:lnTo>
                <a:lnTo>
                  <a:pt x="1053" y="1258"/>
                </a:lnTo>
                <a:lnTo>
                  <a:pt x="1043" y="1249"/>
                </a:lnTo>
                <a:lnTo>
                  <a:pt x="1043" y="1239"/>
                </a:lnTo>
                <a:lnTo>
                  <a:pt x="1034" y="1219"/>
                </a:lnTo>
                <a:lnTo>
                  <a:pt x="1034" y="1210"/>
                </a:lnTo>
                <a:lnTo>
                  <a:pt x="1043" y="1190"/>
                </a:lnTo>
                <a:lnTo>
                  <a:pt x="1063" y="1180"/>
                </a:lnTo>
                <a:lnTo>
                  <a:pt x="1083" y="1171"/>
                </a:lnTo>
                <a:lnTo>
                  <a:pt x="1092" y="1161"/>
                </a:lnTo>
                <a:lnTo>
                  <a:pt x="1092" y="1131"/>
                </a:lnTo>
                <a:lnTo>
                  <a:pt x="1092" y="1102"/>
                </a:lnTo>
                <a:lnTo>
                  <a:pt x="1092" y="1083"/>
                </a:lnTo>
                <a:lnTo>
                  <a:pt x="1083" y="1083"/>
                </a:lnTo>
                <a:lnTo>
                  <a:pt x="1063" y="1083"/>
                </a:lnTo>
                <a:lnTo>
                  <a:pt x="1053" y="1083"/>
                </a:lnTo>
                <a:lnTo>
                  <a:pt x="1063" y="1073"/>
                </a:lnTo>
                <a:lnTo>
                  <a:pt x="1053" y="1063"/>
                </a:lnTo>
                <a:lnTo>
                  <a:pt x="1034" y="1053"/>
                </a:lnTo>
                <a:lnTo>
                  <a:pt x="1024" y="1044"/>
                </a:lnTo>
                <a:lnTo>
                  <a:pt x="1034" y="1034"/>
                </a:lnTo>
                <a:lnTo>
                  <a:pt x="1043" y="1024"/>
                </a:lnTo>
                <a:lnTo>
                  <a:pt x="1043" y="1005"/>
                </a:lnTo>
                <a:lnTo>
                  <a:pt x="1043" y="995"/>
                </a:lnTo>
                <a:lnTo>
                  <a:pt x="1053" y="975"/>
                </a:lnTo>
                <a:lnTo>
                  <a:pt x="1043" y="966"/>
                </a:lnTo>
                <a:lnTo>
                  <a:pt x="1034" y="966"/>
                </a:lnTo>
                <a:lnTo>
                  <a:pt x="1024" y="966"/>
                </a:lnTo>
                <a:lnTo>
                  <a:pt x="1014" y="956"/>
                </a:lnTo>
                <a:lnTo>
                  <a:pt x="1014" y="936"/>
                </a:lnTo>
                <a:lnTo>
                  <a:pt x="1004" y="936"/>
                </a:lnTo>
                <a:lnTo>
                  <a:pt x="1004" y="917"/>
                </a:lnTo>
                <a:lnTo>
                  <a:pt x="1024" y="917"/>
                </a:lnTo>
                <a:lnTo>
                  <a:pt x="1024" y="907"/>
                </a:lnTo>
                <a:lnTo>
                  <a:pt x="1014" y="888"/>
                </a:lnTo>
                <a:lnTo>
                  <a:pt x="1004" y="878"/>
                </a:lnTo>
                <a:lnTo>
                  <a:pt x="1014" y="858"/>
                </a:lnTo>
                <a:lnTo>
                  <a:pt x="1024" y="849"/>
                </a:lnTo>
                <a:lnTo>
                  <a:pt x="1024" y="839"/>
                </a:lnTo>
                <a:lnTo>
                  <a:pt x="1004" y="810"/>
                </a:lnTo>
                <a:lnTo>
                  <a:pt x="995" y="790"/>
                </a:lnTo>
                <a:lnTo>
                  <a:pt x="995" y="780"/>
                </a:lnTo>
                <a:lnTo>
                  <a:pt x="1004" y="761"/>
                </a:lnTo>
                <a:lnTo>
                  <a:pt x="1004" y="741"/>
                </a:lnTo>
                <a:lnTo>
                  <a:pt x="1004" y="722"/>
                </a:lnTo>
                <a:lnTo>
                  <a:pt x="1004" y="702"/>
                </a:lnTo>
                <a:lnTo>
                  <a:pt x="1024" y="702"/>
                </a:lnTo>
                <a:lnTo>
                  <a:pt x="1034" y="702"/>
                </a:lnTo>
                <a:lnTo>
                  <a:pt x="1063" y="692"/>
                </a:lnTo>
                <a:lnTo>
                  <a:pt x="1053" y="663"/>
                </a:lnTo>
                <a:lnTo>
                  <a:pt x="1053" y="644"/>
                </a:lnTo>
                <a:lnTo>
                  <a:pt x="1053" y="634"/>
                </a:lnTo>
                <a:lnTo>
                  <a:pt x="1063" y="634"/>
                </a:lnTo>
                <a:lnTo>
                  <a:pt x="1073" y="634"/>
                </a:lnTo>
                <a:lnTo>
                  <a:pt x="1063" y="624"/>
                </a:lnTo>
                <a:lnTo>
                  <a:pt x="1053" y="614"/>
                </a:lnTo>
                <a:lnTo>
                  <a:pt x="1063" y="605"/>
                </a:lnTo>
                <a:lnTo>
                  <a:pt x="1063" y="585"/>
                </a:lnTo>
                <a:lnTo>
                  <a:pt x="1063" y="575"/>
                </a:lnTo>
                <a:lnTo>
                  <a:pt x="1053" y="566"/>
                </a:lnTo>
                <a:lnTo>
                  <a:pt x="1063" y="546"/>
                </a:lnTo>
                <a:lnTo>
                  <a:pt x="1053" y="536"/>
                </a:lnTo>
                <a:lnTo>
                  <a:pt x="1043" y="546"/>
                </a:lnTo>
                <a:lnTo>
                  <a:pt x="1034" y="556"/>
                </a:lnTo>
                <a:lnTo>
                  <a:pt x="1024" y="556"/>
                </a:lnTo>
                <a:lnTo>
                  <a:pt x="1004" y="546"/>
                </a:lnTo>
                <a:lnTo>
                  <a:pt x="985" y="527"/>
                </a:lnTo>
                <a:lnTo>
                  <a:pt x="975" y="527"/>
                </a:lnTo>
                <a:lnTo>
                  <a:pt x="975" y="517"/>
                </a:lnTo>
                <a:lnTo>
                  <a:pt x="975" y="497"/>
                </a:lnTo>
                <a:lnTo>
                  <a:pt x="965" y="488"/>
                </a:lnTo>
                <a:lnTo>
                  <a:pt x="956" y="478"/>
                </a:lnTo>
                <a:lnTo>
                  <a:pt x="956" y="458"/>
                </a:lnTo>
                <a:lnTo>
                  <a:pt x="965" y="449"/>
                </a:lnTo>
                <a:lnTo>
                  <a:pt x="985" y="439"/>
                </a:lnTo>
                <a:lnTo>
                  <a:pt x="995" y="439"/>
                </a:lnTo>
                <a:lnTo>
                  <a:pt x="1004" y="429"/>
                </a:lnTo>
                <a:lnTo>
                  <a:pt x="1014" y="429"/>
                </a:lnTo>
                <a:lnTo>
                  <a:pt x="1043" y="419"/>
                </a:lnTo>
                <a:lnTo>
                  <a:pt x="1053" y="409"/>
                </a:lnTo>
                <a:lnTo>
                  <a:pt x="1053" y="370"/>
                </a:lnTo>
                <a:lnTo>
                  <a:pt x="1063" y="351"/>
                </a:lnTo>
                <a:lnTo>
                  <a:pt x="1053" y="341"/>
                </a:lnTo>
                <a:lnTo>
                  <a:pt x="1043" y="331"/>
                </a:lnTo>
                <a:lnTo>
                  <a:pt x="1024" y="302"/>
                </a:lnTo>
                <a:lnTo>
                  <a:pt x="1024" y="283"/>
                </a:lnTo>
                <a:lnTo>
                  <a:pt x="1034" y="273"/>
                </a:lnTo>
                <a:lnTo>
                  <a:pt x="1043" y="273"/>
                </a:lnTo>
                <a:lnTo>
                  <a:pt x="1053" y="273"/>
                </a:lnTo>
                <a:lnTo>
                  <a:pt x="1083" y="244"/>
                </a:lnTo>
                <a:lnTo>
                  <a:pt x="1073" y="234"/>
                </a:lnTo>
                <a:lnTo>
                  <a:pt x="1053" y="224"/>
                </a:lnTo>
                <a:lnTo>
                  <a:pt x="1043" y="214"/>
                </a:lnTo>
                <a:lnTo>
                  <a:pt x="1034" y="195"/>
                </a:lnTo>
                <a:lnTo>
                  <a:pt x="1043" y="195"/>
                </a:lnTo>
                <a:lnTo>
                  <a:pt x="1043" y="185"/>
                </a:lnTo>
                <a:lnTo>
                  <a:pt x="1014" y="185"/>
                </a:lnTo>
                <a:lnTo>
                  <a:pt x="1004" y="195"/>
                </a:lnTo>
                <a:lnTo>
                  <a:pt x="995" y="195"/>
                </a:lnTo>
                <a:lnTo>
                  <a:pt x="995" y="205"/>
                </a:lnTo>
                <a:lnTo>
                  <a:pt x="1004" y="205"/>
                </a:lnTo>
                <a:lnTo>
                  <a:pt x="1014" y="214"/>
                </a:lnTo>
                <a:lnTo>
                  <a:pt x="1014" y="234"/>
                </a:lnTo>
                <a:lnTo>
                  <a:pt x="1004" y="234"/>
                </a:lnTo>
                <a:lnTo>
                  <a:pt x="985" y="234"/>
                </a:lnTo>
                <a:lnTo>
                  <a:pt x="985" y="214"/>
                </a:lnTo>
                <a:lnTo>
                  <a:pt x="975" y="214"/>
                </a:lnTo>
                <a:lnTo>
                  <a:pt x="975" y="195"/>
                </a:lnTo>
                <a:lnTo>
                  <a:pt x="965" y="195"/>
                </a:lnTo>
                <a:lnTo>
                  <a:pt x="956" y="195"/>
                </a:lnTo>
                <a:lnTo>
                  <a:pt x="936" y="195"/>
                </a:lnTo>
                <a:lnTo>
                  <a:pt x="926" y="205"/>
                </a:lnTo>
                <a:lnTo>
                  <a:pt x="926" y="224"/>
                </a:lnTo>
                <a:lnTo>
                  <a:pt x="926" y="244"/>
                </a:lnTo>
                <a:lnTo>
                  <a:pt x="936" y="263"/>
                </a:lnTo>
                <a:lnTo>
                  <a:pt x="946" y="273"/>
                </a:lnTo>
                <a:lnTo>
                  <a:pt x="956" y="292"/>
                </a:lnTo>
                <a:lnTo>
                  <a:pt x="965" y="292"/>
                </a:lnTo>
                <a:lnTo>
                  <a:pt x="975" y="292"/>
                </a:lnTo>
                <a:lnTo>
                  <a:pt x="985" y="302"/>
                </a:lnTo>
                <a:lnTo>
                  <a:pt x="985" y="312"/>
                </a:lnTo>
                <a:lnTo>
                  <a:pt x="975" y="322"/>
                </a:lnTo>
                <a:lnTo>
                  <a:pt x="985" y="331"/>
                </a:lnTo>
                <a:lnTo>
                  <a:pt x="995" y="331"/>
                </a:lnTo>
                <a:lnTo>
                  <a:pt x="1004" y="331"/>
                </a:lnTo>
                <a:lnTo>
                  <a:pt x="1004" y="341"/>
                </a:lnTo>
                <a:lnTo>
                  <a:pt x="1004" y="351"/>
                </a:lnTo>
                <a:lnTo>
                  <a:pt x="985" y="341"/>
                </a:lnTo>
                <a:lnTo>
                  <a:pt x="975" y="341"/>
                </a:lnTo>
                <a:lnTo>
                  <a:pt x="965" y="331"/>
                </a:lnTo>
                <a:lnTo>
                  <a:pt x="965" y="312"/>
                </a:lnTo>
                <a:lnTo>
                  <a:pt x="956" y="302"/>
                </a:lnTo>
                <a:lnTo>
                  <a:pt x="946" y="292"/>
                </a:lnTo>
                <a:lnTo>
                  <a:pt x="936" y="292"/>
                </a:lnTo>
                <a:lnTo>
                  <a:pt x="926" y="292"/>
                </a:lnTo>
                <a:lnTo>
                  <a:pt x="917" y="283"/>
                </a:lnTo>
                <a:lnTo>
                  <a:pt x="897" y="273"/>
                </a:lnTo>
                <a:lnTo>
                  <a:pt x="887" y="253"/>
                </a:lnTo>
                <a:lnTo>
                  <a:pt x="887" y="244"/>
                </a:lnTo>
                <a:lnTo>
                  <a:pt x="897" y="234"/>
                </a:lnTo>
                <a:lnTo>
                  <a:pt x="897" y="214"/>
                </a:lnTo>
                <a:lnTo>
                  <a:pt x="897" y="195"/>
                </a:lnTo>
                <a:lnTo>
                  <a:pt x="907" y="185"/>
                </a:lnTo>
                <a:lnTo>
                  <a:pt x="917" y="175"/>
                </a:lnTo>
                <a:lnTo>
                  <a:pt x="926" y="166"/>
                </a:lnTo>
                <a:lnTo>
                  <a:pt x="936" y="156"/>
                </a:lnTo>
                <a:lnTo>
                  <a:pt x="936" y="146"/>
                </a:lnTo>
                <a:lnTo>
                  <a:pt x="936" y="136"/>
                </a:lnTo>
                <a:lnTo>
                  <a:pt x="946" y="127"/>
                </a:lnTo>
                <a:lnTo>
                  <a:pt x="946" y="117"/>
                </a:lnTo>
                <a:lnTo>
                  <a:pt x="946" y="97"/>
                </a:lnTo>
                <a:lnTo>
                  <a:pt x="936" y="88"/>
                </a:lnTo>
                <a:lnTo>
                  <a:pt x="926" y="97"/>
                </a:lnTo>
                <a:lnTo>
                  <a:pt x="926" y="107"/>
                </a:lnTo>
                <a:lnTo>
                  <a:pt x="917" y="127"/>
                </a:lnTo>
                <a:lnTo>
                  <a:pt x="917" y="146"/>
                </a:lnTo>
                <a:lnTo>
                  <a:pt x="907" y="156"/>
                </a:lnTo>
                <a:lnTo>
                  <a:pt x="897" y="175"/>
                </a:lnTo>
                <a:lnTo>
                  <a:pt x="878" y="175"/>
                </a:lnTo>
                <a:lnTo>
                  <a:pt x="858" y="175"/>
                </a:lnTo>
                <a:lnTo>
                  <a:pt x="848" y="175"/>
                </a:lnTo>
                <a:lnTo>
                  <a:pt x="839" y="185"/>
                </a:lnTo>
                <a:lnTo>
                  <a:pt x="829" y="195"/>
                </a:lnTo>
                <a:lnTo>
                  <a:pt x="809" y="205"/>
                </a:lnTo>
                <a:lnTo>
                  <a:pt x="800" y="205"/>
                </a:lnTo>
                <a:lnTo>
                  <a:pt x="800" y="214"/>
                </a:lnTo>
                <a:lnTo>
                  <a:pt x="800" y="224"/>
                </a:lnTo>
                <a:lnTo>
                  <a:pt x="809" y="234"/>
                </a:lnTo>
                <a:lnTo>
                  <a:pt x="809" y="263"/>
                </a:lnTo>
                <a:lnTo>
                  <a:pt x="800" y="283"/>
                </a:lnTo>
                <a:lnTo>
                  <a:pt x="809" y="312"/>
                </a:lnTo>
                <a:lnTo>
                  <a:pt x="809" y="331"/>
                </a:lnTo>
                <a:lnTo>
                  <a:pt x="800" y="331"/>
                </a:lnTo>
                <a:lnTo>
                  <a:pt x="780" y="341"/>
                </a:lnTo>
                <a:lnTo>
                  <a:pt x="770" y="351"/>
                </a:lnTo>
                <a:lnTo>
                  <a:pt x="761" y="361"/>
                </a:lnTo>
                <a:lnTo>
                  <a:pt x="761" y="370"/>
                </a:lnTo>
                <a:lnTo>
                  <a:pt x="741" y="390"/>
                </a:lnTo>
                <a:lnTo>
                  <a:pt x="741" y="409"/>
                </a:lnTo>
                <a:lnTo>
                  <a:pt x="741" y="429"/>
                </a:lnTo>
                <a:lnTo>
                  <a:pt x="741" y="439"/>
                </a:lnTo>
                <a:lnTo>
                  <a:pt x="731" y="449"/>
                </a:lnTo>
                <a:lnTo>
                  <a:pt x="722" y="458"/>
                </a:lnTo>
                <a:lnTo>
                  <a:pt x="722" y="468"/>
                </a:lnTo>
                <a:lnTo>
                  <a:pt x="731" y="468"/>
                </a:lnTo>
                <a:lnTo>
                  <a:pt x="741" y="468"/>
                </a:lnTo>
                <a:lnTo>
                  <a:pt x="751" y="478"/>
                </a:lnTo>
                <a:lnTo>
                  <a:pt x="751" y="488"/>
                </a:lnTo>
                <a:lnTo>
                  <a:pt x="770" y="488"/>
                </a:lnTo>
                <a:lnTo>
                  <a:pt x="790" y="488"/>
                </a:lnTo>
                <a:lnTo>
                  <a:pt x="800" y="488"/>
                </a:lnTo>
                <a:lnTo>
                  <a:pt x="809" y="488"/>
                </a:lnTo>
                <a:lnTo>
                  <a:pt x="829" y="497"/>
                </a:lnTo>
                <a:lnTo>
                  <a:pt x="839" y="517"/>
                </a:lnTo>
                <a:lnTo>
                  <a:pt x="848" y="527"/>
                </a:lnTo>
                <a:lnTo>
                  <a:pt x="848" y="536"/>
                </a:lnTo>
                <a:lnTo>
                  <a:pt x="858" y="546"/>
                </a:lnTo>
                <a:lnTo>
                  <a:pt x="858" y="556"/>
                </a:lnTo>
                <a:lnTo>
                  <a:pt x="858" y="575"/>
                </a:lnTo>
                <a:lnTo>
                  <a:pt x="858" y="585"/>
                </a:lnTo>
                <a:lnTo>
                  <a:pt x="868" y="605"/>
                </a:lnTo>
                <a:lnTo>
                  <a:pt x="858" y="614"/>
                </a:lnTo>
                <a:lnTo>
                  <a:pt x="858" y="624"/>
                </a:lnTo>
                <a:lnTo>
                  <a:pt x="848" y="624"/>
                </a:lnTo>
                <a:lnTo>
                  <a:pt x="839" y="624"/>
                </a:lnTo>
                <a:lnTo>
                  <a:pt x="829" y="634"/>
                </a:lnTo>
                <a:lnTo>
                  <a:pt x="819" y="644"/>
                </a:lnTo>
                <a:lnTo>
                  <a:pt x="819" y="663"/>
                </a:lnTo>
                <a:lnTo>
                  <a:pt x="819" y="673"/>
                </a:lnTo>
                <a:lnTo>
                  <a:pt x="829" y="673"/>
                </a:lnTo>
                <a:lnTo>
                  <a:pt x="829" y="683"/>
                </a:lnTo>
                <a:lnTo>
                  <a:pt x="848" y="692"/>
                </a:lnTo>
                <a:lnTo>
                  <a:pt x="858" y="692"/>
                </a:lnTo>
                <a:lnTo>
                  <a:pt x="868" y="702"/>
                </a:lnTo>
                <a:lnTo>
                  <a:pt x="868" y="712"/>
                </a:lnTo>
                <a:lnTo>
                  <a:pt x="858" y="702"/>
                </a:lnTo>
                <a:lnTo>
                  <a:pt x="848" y="702"/>
                </a:lnTo>
                <a:lnTo>
                  <a:pt x="829" y="692"/>
                </a:lnTo>
                <a:lnTo>
                  <a:pt x="819" y="702"/>
                </a:lnTo>
                <a:lnTo>
                  <a:pt x="819" y="692"/>
                </a:lnTo>
                <a:lnTo>
                  <a:pt x="809" y="683"/>
                </a:lnTo>
                <a:lnTo>
                  <a:pt x="800" y="663"/>
                </a:lnTo>
                <a:lnTo>
                  <a:pt x="809" y="653"/>
                </a:lnTo>
                <a:lnTo>
                  <a:pt x="809" y="634"/>
                </a:lnTo>
                <a:lnTo>
                  <a:pt x="819" y="624"/>
                </a:lnTo>
                <a:lnTo>
                  <a:pt x="829" y="614"/>
                </a:lnTo>
                <a:lnTo>
                  <a:pt x="819" y="605"/>
                </a:lnTo>
                <a:lnTo>
                  <a:pt x="839" y="595"/>
                </a:lnTo>
                <a:lnTo>
                  <a:pt x="839" y="585"/>
                </a:lnTo>
                <a:lnTo>
                  <a:pt x="839" y="575"/>
                </a:lnTo>
                <a:lnTo>
                  <a:pt x="829" y="566"/>
                </a:lnTo>
                <a:lnTo>
                  <a:pt x="829" y="546"/>
                </a:lnTo>
                <a:lnTo>
                  <a:pt x="829" y="527"/>
                </a:lnTo>
                <a:lnTo>
                  <a:pt x="819" y="517"/>
                </a:lnTo>
                <a:lnTo>
                  <a:pt x="800" y="517"/>
                </a:lnTo>
                <a:lnTo>
                  <a:pt x="761" y="507"/>
                </a:lnTo>
                <a:lnTo>
                  <a:pt x="741" y="517"/>
                </a:lnTo>
                <a:lnTo>
                  <a:pt x="731" y="527"/>
                </a:lnTo>
                <a:lnTo>
                  <a:pt x="731" y="536"/>
                </a:lnTo>
                <a:lnTo>
                  <a:pt x="712" y="546"/>
                </a:lnTo>
                <a:lnTo>
                  <a:pt x="712" y="566"/>
                </a:lnTo>
                <a:lnTo>
                  <a:pt x="712" y="575"/>
                </a:lnTo>
                <a:lnTo>
                  <a:pt x="712" y="605"/>
                </a:lnTo>
                <a:lnTo>
                  <a:pt x="702" y="614"/>
                </a:lnTo>
                <a:lnTo>
                  <a:pt x="692" y="634"/>
                </a:lnTo>
                <a:lnTo>
                  <a:pt x="673" y="634"/>
                </a:lnTo>
                <a:lnTo>
                  <a:pt x="653" y="644"/>
                </a:lnTo>
                <a:lnTo>
                  <a:pt x="644" y="673"/>
                </a:lnTo>
                <a:lnTo>
                  <a:pt x="634" y="683"/>
                </a:lnTo>
                <a:lnTo>
                  <a:pt x="605" y="692"/>
                </a:lnTo>
                <a:lnTo>
                  <a:pt x="595" y="702"/>
                </a:lnTo>
                <a:lnTo>
                  <a:pt x="566" y="712"/>
                </a:lnTo>
                <a:lnTo>
                  <a:pt x="556" y="712"/>
                </a:lnTo>
                <a:lnTo>
                  <a:pt x="546" y="722"/>
                </a:lnTo>
                <a:lnTo>
                  <a:pt x="536" y="731"/>
                </a:lnTo>
                <a:lnTo>
                  <a:pt x="517" y="741"/>
                </a:lnTo>
                <a:lnTo>
                  <a:pt x="507" y="731"/>
                </a:lnTo>
                <a:lnTo>
                  <a:pt x="497" y="722"/>
                </a:lnTo>
                <a:lnTo>
                  <a:pt x="497" y="712"/>
                </a:lnTo>
                <a:lnTo>
                  <a:pt x="478" y="712"/>
                </a:lnTo>
                <a:lnTo>
                  <a:pt x="458" y="702"/>
                </a:lnTo>
                <a:lnTo>
                  <a:pt x="448" y="692"/>
                </a:lnTo>
                <a:lnTo>
                  <a:pt x="439" y="692"/>
                </a:lnTo>
                <a:lnTo>
                  <a:pt x="429" y="673"/>
                </a:lnTo>
                <a:lnTo>
                  <a:pt x="419" y="663"/>
                </a:lnTo>
                <a:lnTo>
                  <a:pt x="409" y="653"/>
                </a:lnTo>
                <a:lnTo>
                  <a:pt x="409" y="634"/>
                </a:lnTo>
                <a:lnTo>
                  <a:pt x="419" y="634"/>
                </a:lnTo>
                <a:lnTo>
                  <a:pt x="429" y="634"/>
                </a:lnTo>
                <a:lnTo>
                  <a:pt x="429" y="644"/>
                </a:lnTo>
                <a:lnTo>
                  <a:pt x="429" y="653"/>
                </a:lnTo>
                <a:lnTo>
                  <a:pt x="429" y="663"/>
                </a:lnTo>
                <a:lnTo>
                  <a:pt x="439" y="673"/>
                </a:lnTo>
                <a:lnTo>
                  <a:pt x="439" y="663"/>
                </a:lnTo>
                <a:lnTo>
                  <a:pt x="448" y="663"/>
                </a:lnTo>
                <a:lnTo>
                  <a:pt x="448" y="644"/>
                </a:lnTo>
                <a:lnTo>
                  <a:pt x="439" y="634"/>
                </a:lnTo>
                <a:lnTo>
                  <a:pt x="448" y="634"/>
                </a:lnTo>
                <a:lnTo>
                  <a:pt x="458" y="634"/>
                </a:lnTo>
                <a:lnTo>
                  <a:pt x="458" y="644"/>
                </a:lnTo>
                <a:lnTo>
                  <a:pt x="458" y="663"/>
                </a:lnTo>
                <a:lnTo>
                  <a:pt x="468" y="663"/>
                </a:lnTo>
                <a:lnTo>
                  <a:pt x="458" y="673"/>
                </a:lnTo>
                <a:lnTo>
                  <a:pt x="458" y="683"/>
                </a:lnTo>
                <a:lnTo>
                  <a:pt x="468" y="683"/>
                </a:lnTo>
                <a:lnTo>
                  <a:pt x="478" y="683"/>
                </a:lnTo>
                <a:lnTo>
                  <a:pt x="487" y="683"/>
                </a:lnTo>
                <a:lnTo>
                  <a:pt x="497" y="683"/>
                </a:lnTo>
                <a:lnTo>
                  <a:pt x="517" y="683"/>
                </a:lnTo>
                <a:lnTo>
                  <a:pt x="517" y="673"/>
                </a:lnTo>
                <a:lnTo>
                  <a:pt x="517" y="663"/>
                </a:lnTo>
                <a:lnTo>
                  <a:pt x="517" y="653"/>
                </a:lnTo>
                <a:lnTo>
                  <a:pt x="527" y="653"/>
                </a:lnTo>
                <a:lnTo>
                  <a:pt x="536" y="663"/>
                </a:lnTo>
                <a:lnTo>
                  <a:pt x="546" y="663"/>
                </a:lnTo>
                <a:lnTo>
                  <a:pt x="556" y="653"/>
                </a:lnTo>
                <a:lnTo>
                  <a:pt x="556" y="634"/>
                </a:lnTo>
                <a:lnTo>
                  <a:pt x="566" y="634"/>
                </a:lnTo>
                <a:lnTo>
                  <a:pt x="575" y="634"/>
                </a:lnTo>
                <a:lnTo>
                  <a:pt x="566" y="624"/>
                </a:lnTo>
                <a:lnTo>
                  <a:pt x="575" y="624"/>
                </a:lnTo>
                <a:lnTo>
                  <a:pt x="585" y="624"/>
                </a:lnTo>
                <a:lnTo>
                  <a:pt x="595" y="614"/>
                </a:lnTo>
                <a:lnTo>
                  <a:pt x="605" y="605"/>
                </a:lnTo>
                <a:lnTo>
                  <a:pt x="614" y="605"/>
                </a:lnTo>
                <a:lnTo>
                  <a:pt x="624" y="605"/>
                </a:lnTo>
                <a:lnTo>
                  <a:pt x="634" y="595"/>
                </a:lnTo>
                <a:lnTo>
                  <a:pt x="644" y="585"/>
                </a:lnTo>
                <a:lnTo>
                  <a:pt x="644" y="566"/>
                </a:lnTo>
                <a:lnTo>
                  <a:pt x="653" y="556"/>
                </a:lnTo>
                <a:lnTo>
                  <a:pt x="653" y="546"/>
                </a:lnTo>
                <a:lnTo>
                  <a:pt x="673" y="546"/>
                </a:lnTo>
                <a:lnTo>
                  <a:pt x="683" y="536"/>
                </a:lnTo>
                <a:lnTo>
                  <a:pt x="683" y="527"/>
                </a:lnTo>
                <a:lnTo>
                  <a:pt x="683" y="497"/>
                </a:lnTo>
                <a:lnTo>
                  <a:pt x="673" y="488"/>
                </a:lnTo>
                <a:lnTo>
                  <a:pt x="663" y="478"/>
                </a:lnTo>
                <a:lnTo>
                  <a:pt x="663" y="468"/>
                </a:lnTo>
                <a:lnTo>
                  <a:pt x="673" y="449"/>
                </a:lnTo>
                <a:lnTo>
                  <a:pt x="673" y="439"/>
                </a:lnTo>
                <a:lnTo>
                  <a:pt x="683" y="429"/>
                </a:lnTo>
                <a:lnTo>
                  <a:pt x="692" y="419"/>
                </a:lnTo>
                <a:lnTo>
                  <a:pt x="692" y="409"/>
                </a:lnTo>
                <a:lnTo>
                  <a:pt x="702" y="390"/>
                </a:lnTo>
                <a:lnTo>
                  <a:pt x="712" y="380"/>
                </a:lnTo>
                <a:lnTo>
                  <a:pt x="712" y="361"/>
                </a:lnTo>
                <a:lnTo>
                  <a:pt x="722" y="351"/>
                </a:lnTo>
                <a:lnTo>
                  <a:pt x="731" y="341"/>
                </a:lnTo>
                <a:lnTo>
                  <a:pt x="731" y="322"/>
                </a:lnTo>
                <a:lnTo>
                  <a:pt x="741" y="312"/>
                </a:lnTo>
                <a:lnTo>
                  <a:pt x="751" y="302"/>
                </a:lnTo>
                <a:lnTo>
                  <a:pt x="761" y="292"/>
                </a:lnTo>
                <a:lnTo>
                  <a:pt x="761" y="283"/>
                </a:lnTo>
                <a:lnTo>
                  <a:pt x="761" y="263"/>
                </a:lnTo>
                <a:lnTo>
                  <a:pt x="770" y="253"/>
                </a:lnTo>
                <a:lnTo>
                  <a:pt x="770" y="234"/>
                </a:lnTo>
                <a:lnTo>
                  <a:pt x="770" y="224"/>
                </a:lnTo>
                <a:lnTo>
                  <a:pt x="761" y="214"/>
                </a:lnTo>
                <a:lnTo>
                  <a:pt x="761" y="195"/>
                </a:lnTo>
                <a:lnTo>
                  <a:pt x="770" y="185"/>
                </a:lnTo>
                <a:lnTo>
                  <a:pt x="780" y="185"/>
                </a:lnTo>
                <a:lnTo>
                  <a:pt x="790" y="175"/>
                </a:lnTo>
                <a:lnTo>
                  <a:pt x="800" y="156"/>
                </a:lnTo>
                <a:lnTo>
                  <a:pt x="809" y="146"/>
                </a:lnTo>
                <a:lnTo>
                  <a:pt x="829" y="136"/>
                </a:lnTo>
                <a:lnTo>
                  <a:pt x="829" y="127"/>
                </a:lnTo>
                <a:lnTo>
                  <a:pt x="839" y="127"/>
                </a:lnTo>
                <a:lnTo>
                  <a:pt x="839" y="117"/>
                </a:lnTo>
                <a:lnTo>
                  <a:pt x="848" y="97"/>
                </a:lnTo>
                <a:lnTo>
                  <a:pt x="848" y="88"/>
                </a:lnTo>
                <a:lnTo>
                  <a:pt x="848" y="68"/>
                </a:lnTo>
                <a:lnTo>
                  <a:pt x="848" y="58"/>
                </a:lnTo>
                <a:lnTo>
                  <a:pt x="839" y="58"/>
                </a:lnTo>
                <a:lnTo>
                  <a:pt x="829" y="58"/>
                </a:lnTo>
                <a:lnTo>
                  <a:pt x="829" y="48"/>
                </a:lnTo>
                <a:lnTo>
                  <a:pt x="819" y="39"/>
                </a:lnTo>
                <a:lnTo>
                  <a:pt x="800" y="29"/>
                </a:lnTo>
                <a:lnTo>
                  <a:pt x="800" y="39"/>
                </a:lnTo>
                <a:lnTo>
                  <a:pt x="800" y="29"/>
                </a:lnTo>
                <a:lnTo>
                  <a:pt x="780" y="19"/>
                </a:lnTo>
                <a:lnTo>
                  <a:pt x="761" y="19"/>
                </a:lnTo>
                <a:lnTo>
                  <a:pt x="761" y="9"/>
                </a:lnTo>
                <a:lnTo>
                  <a:pt x="761" y="0"/>
                </a:lnTo>
                <a:lnTo>
                  <a:pt x="751" y="9"/>
                </a:lnTo>
                <a:lnTo>
                  <a:pt x="741" y="19"/>
                </a:lnTo>
                <a:lnTo>
                  <a:pt x="722" y="29"/>
                </a:lnTo>
                <a:lnTo>
                  <a:pt x="712" y="39"/>
                </a:lnTo>
                <a:lnTo>
                  <a:pt x="712" y="48"/>
                </a:lnTo>
                <a:lnTo>
                  <a:pt x="702" y="58"/>
                </a:lnTo>
                <a:lnTo>
                  <a:pt x="692" y="78"/>
                </a:lnTo>
                <a:lnTo>
                  <a:pt x="683" y="78"/>
                </a:lnTo>
                <a:lnTo>
                  <a:pt x="673" y="97"/>
                </a:lnTo>
                <a:lnTo>
                  <a:pt x="663" y="107"/>
                </a:lnTo>
                <a:lnTo>
                  <a:pt x="644" y="117"/>
                </a:lnTo>
                <a:lnTo>
                  <a:pt x="624" y="117"/>
                </a:lnTo>
                <a:lnTo>
                  <a:pt x="605" y="127"/>
                </a:lnTo>
                <a:lnTo>
                  <a:pt x="575" y="136"/>
                </a:lnTo>
                <a:lnTo>
                  <a:pt x="566" y="146"/>
                </a:lnTo>
                <a:lnTo>
                  <a:pt x="566" y="156"/>
                </a:lnTo>
                <a:lnTo>
                  <a:pt x="556" y="156"/>
                </a:lnTo>
                <a:lnTo>
                  <a:pt x="556" y="166"/>
                </a:lnTo>
                <a:lnTo>
                  <a:pt x="546" y="175"/>
                </a:lnTo>
                <a:lnTo>
                  <a:pt x="536" y="175"/>
                </a:lnTo>
                <a:lnTo>
                  <a:pt x="556" y="175"/>
                </a:lnTo>
                <a:lnTo>
                  <a:pt x="566" y="185"/>
                </a:lnTo>
                <a:lnTo>
                  <a:pt x="566" y="195"/>
                </a:lnTo>
                <a:lnTo>
                  <a:pt x="556" y="195"/>
                </a:lnTo>
                <a:lnTo>
                  <a:pt x="546" y="214"/>
                </a:lnTo>
                <a:lnTo>
                  <a:pt x="546" y="224"/>
                </a:lnTo>
                <a:lnTo>
                  <a:pt x="546" y="234"/>
                </a:lnTo>
                <a:lnTo>
                  <a:pt x="536" y="234"/>
                </a:lnTo>
                <a:lnTo>
                  <a:pt x="527" y="244"/>
                </a:lnTo>
                <a:lnTo>
                  <a:pt x="527" y="263"/>
                </a:lnTo>
                <a:lnTo>
                  <a:pt x="517" y="263"/>
                </a:lnTo>
                <a:lnTo>
                  <a:pt x="507" y="263"/>
                </a:lnTo>
                <a:lnTo>
                  <a:pt x="497" y="253"/>
                </a:lnTo>
                <a:lnTo>
                  <a:pt x="497" y="273"/>
                </a:lnTo>
                <a:lnTo>
                  <a:pt x="487" y="283"/>
                </a:lnTo>
                <a:lnTo>
                  <a:pt x="478" y="292"/>
                </a:lnTo>
                <a:lnTo>
                  <a:pt x="487" y="302"/>
                </a:lnTo>
                <a:lnTo>
                  <a:pt x="497" y="292"/>
                </a:lnTo>
                <a:lnTo>
                  <a:pt x="497" y="302"/>
                </a:lnTo>
                <a:lnTo>
                  <a:pt x="507" y="312"/>
                </a:lnTo>
                <a:lnTo>
                  <a:pt x="507" y="322"/>
                </a:lnTo>
                <a:lnTo>
                  <a:pt x="517" y="331"/>
                </a:lnTo>
                <a:lnTo>
                  <a:pt x="527" y="331"/>
                </a:lnTo>
                <a:lnTo>
                  <a:pt x="517" y="341"/>
                </a:lnTo>
                <a:lnTo>
                  <a:pt x="507" y="341"/>
                </a:lnTo>
                <a:lnTo>
                  <a:pt x="507" y="351"/>
                </a:lnTo>
                <a:lnTo>
                  <a:pt x="507" y="370"/>
                </a:lnTo>
                <a:lnTo>
                  <a:pt x="507" y="400"/>
                </a:lnTo>
                <a:lnTo>
                  <a:pt x="527" y="409"/>
                </a:lnTo>
                <a:lnTo>
                  <a:pt x="527" y="419"/>
                </a:lnTo>
                <a:lnTo>
                  <a:pt x="507" y="429"/>
                </a:lnTo>
                <a:lnTo>
                  <a:pt x="497" y="439"/>
                </a:lnTo>
                <a:lnTo>
                  <a:pt x="478" y="449"/>
                </a:lnTo>
                <a:lnTo>
                  <a:pt x="478" y="458"/>
                </a:lnTo>
                <a:lnTo>
                  <a:pt x="468" y="468"/>
                </a:lnTo>
                <a:lnTo>
                  <a:pt x="458" y="468"/>
                </a:lnTo>
                <a:lnTo>
                  <a:pt x="468" y="458"/>
                </a:lnTo>
                <a:lnTo>
                  <a:pt x="468" y="449"/>
                </a:lnTo>
                <a:lnTo>
                  <a:pt x="458" y="439"/>
                </a:lnTo>
                <a:lnTo>
                  <a:pt x="448" y="429"/>
                </a:lnTo>
                <a:lnTo>
                  <a:pt x="448" y="400"/>
                </a:lnTo>
                <a:lnTo>
                  <a:pt x="439" y="390"/>
                </a:lnTo>
                <a:lnTo>
                  <a:pt x="439" y="370"/>
                </a:lnTo>
                <a:lnTo>
                  <a:pt x="429" y="361"/>
                </a:lnTo>
                <a:lnTo>
                  <a:pt x="429" y="351"/>
                </a:lnTo>
                <a:lnTo>
                  <a:pt x="419" y="341"/>
                </a:lnTo>
                <a:lnTo>
                  <a:pt x="409" y="331"/>
                </a:lnTo>
                <a:lnTo>
                  <a:pt x="419" y="322"/>
                </a:lnTo>
                <a:lnTo>
                  <a:pt x="419" y="312"/>
                </a:lnTo>
                <a:lnTo>
                  <a:pt x="409" y="312"/>
                </a:lnTo>
                <a:lnTo>
                  <a:pt x="400" y="312"/>
                </a:lnTo>
                <a:lnTo>
                  <a:pt x="370" y="302"/>
                </a:lnTo>
                <a:lnTo>
                  <a:pt x="361" y="302"/>
                </a:lnTo>
                <a:lnTo>
                  <a:pt x="361" y="312"/>
                </a:lnTo>
                <a:lnTo>
                  <a:pt x="370" y="331"/>
                </a:lnTo>
                <a:lnTo>
                  <a:pt x="370" y="351"/>
                </a:lnTo>
                <a:lnTo>
                  <a:pt x="361" y="370"/>
                </a:lnTo>
                <a:lnTo>
                  <a:pt x="351" y="380"/>
                </a:lnTo>
                <a:lnTo>
                  <a:pt x="341" y="400"/>
                </a:lnTo>
                <a:lnTo>
                  <a:pt x="341" y="409"/>
                </a:lnTo>
                <a:lnTo>
                  <a:pt x="351" y="429"/>
                </a:lnTo>
                <a:lnTo>
                  <a:pt x="361" y="449"/>
                </a:lnTo>
                <a:lnTo>
                  <a:pt x="361" y="458"/>
                </a:lnTo>
                <a:lnTo>
                  <a:pt x="341" y="468"/>
                </a:lnTo>
                <a:lnTo>
                  <a:pt x="331" y="468"/>
                </a:lnTo>
                <a:lnTo>
                  <a:pt x="341" y="478"/>
                </a:lnTo>
                <a:lnTo>
                  <a:pt x="331" y="488"/>
                </a:lnTo>
                <a:lnTo>
                  <a:pt x="302" y="488"/>
                </a:lnTo>
                <a:lnTo>
                  <a:pt x="283" y="488"/>
                </a:lnTo>
                <a:lnTo>
                  <a:pt x="273" y="497"/>
                </a:lnTo>
                <a:lnTo>
                  <a:pt x="253" y="507"/>
                </a:lnTo>
                <a:lnTo>
                  <a:pt x="234" y="517"/>
                </a:lnTo>
                <a:lnTo>
                  <a:pt x="205" y="517"/>
                </a:lnTo>
                <a:lnTo>
                  <a:pt x="185" y="517"/>
                </a:lnTo>
                <a:lnTo>
                  <a:pt x="166" y="507"/>
                </a:lnTo>
                <a:lnTo>
                  <a:pt x="166" y="527"/>
                </a:lnTo>
                <a:lnTo>
                  <a:pt x="146" y="536"/>
                </a:lnTo>
                <a:lnTo>
                  <a:pt x="136" y="536"/>
                </a:lnTo>
                <a:lnTo>
                  <a:pt x="117" y="546"/>
                </a:lnTo>
                <a:lnTo>
                  <a:pt x="107" y="556"/>
                </a:lnTo>
                <a:lnTo>
                  <a:pt x="68" y="566"/>
                </a:lnTo>
                <a:close/>
              </a:path>
            </a:pathLst>
          </a:custGeom>
          <a:solidFill>
            <a:srgbClr val="C8D6DE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533" name="Freeform 265"/>
          <p:cNvSpPr>
            <a:spLocks noChangeAspect="1"/>
          </p:cNvSpPr>
          <p:nvPr>
            <p:custDataLst>
              <p:tags r:id="rId99"/>
            </p:custDataLst>
          </p:nvPr>
        </p:nvSpPr>
        <p:spPr bwMode="auto">
          <a:xfrm>
            <a:off x="5889625" y="5246688"/>
            <a:ext cx="169863" cy="109537"/>
          </a:xfrm>
          <a:custGeom>
            <a:avLst/>
            <a:gdLst>
              <a:gd name="T0" fmla="*/ 46144 w 254"/>
              <a:gd name="T1" fmla="*/ 103314 h 176"/>
              <a:gd name="T2" fmla="*/ 52163 w 254"/>
              <a:gd name="T3" fmla="*/ 109538 h 176"/>
              <a:gd name="T4" fmla="*/ 78244 w 254"/>
              <a:gd name="T5" fmla="*/ 103314 h 176"/>
              <a:gd name="T6" fmla="*/ 84932 w 254"/>
              <a:gd name="T7" fmla="*/ 90867 h 176"/>
              <a:gd name="T8" fmla="*/ 104325 w 254"/>
              <a:gd name="T9" fmla="*/ 90867 h 176"/>
              <a:gd name="T10" fmla="*/ 117700 w 254"/>
              <a:gd name="T11" fmla="*/ 79042 h 176"/>
              <a:gd name="T12" fmla="*/ 130407 w 254"/>
              <a:gd name="T13" fmla="*/ 79042 h 176"/>
              <a:gd name="T14" fmla="*/ 156488 w 254"/>
              <a:gd name="T15" fmla="*/ 72818 h 176"/>
              <a:gd name="T16" fmla="*/ 163175 w 254"/>
              <a:gd name="T17" fmla="*/ 60370 h 176"/>
              <a:gd name="T18" fmla="*/ 169863 w 254"/>
              <a:gd name="T19" fmla="*/ 54769 h 176"/>
              <a:gd name="T20" fmla="*/ 156488 w 254"/>
              <a:gd name="T21" fmla="*/ 54769 h 176"/>
              <a:gd name="T22" fmla="*/ 143782 w 254"/>
              <a:gd name="T23" fmla="*/ 54769 h 176"/>
              <a:gd name="T24" fmla="*/ 143782 w 254"/>
              <a:gd name="T25" fmla="*/ 36098 h 176"/>
              <a:gd name="T26" fmla="*/ 150469 w 254"/>
              <a:gd name="T27" fmla="*/ 30496 h 176"/>
              <a:gd name="T28" fmla="*/ 163175 w 254"/>
              <a:gd name="T29" fmla="*/ 30496 h 176"/>
              <a:gd name="T30" fmla="*/ 163175 w 254"/>
              <a:gd name="T31" fmla="*/ 24273 h 176"/>
              <a:gd name="T32" fmla="*/ 156488 w 254"/>
              <a:gd name="T33" fmla="*/ 18049 h 176"/>
              <a:gd name="T34" fmla="*/ 150469 w 254"/>
              <a:gd name="T35" fmla="*/ 11825 h 176"/>
              <a:gd name="T36" fmla="*/ 137094 w 254"/>
              <a:gd name="T37" fmla="*/ 11825 h 176"/>
              <a:gd name="T38" fmla="*/ 130407 w 254"/>
              <a:gd name="T39" fmla="*/ 6224 h 176"/>
              <a:gd name="T40" fmla="*/ 124388 w 254"/>
              <a:gd name="T41" fmla="*/ 0 h 176"/>
              <a:gd name="T42" fmla="*/ 111013 w 254"/>
              <a:gd name="T43" fmla="*/ 0 h 176"/>
              <a:gd name="T44" fmla="*/ 104325 w 254"/>
              <a:gd name="T45" fmla="*/ 6224 h 176"/>
              <a:gd name="T46" fmla="*/ 91619 w 254"/>
              <a:gd name="T47" fmla="*/ 6224 h 176"/>
              <a:gd name="T48" fmla="*/ 91619 w 254"/>
              <a:gd name="T49" fmla="*/ 18049 h 176"/>
              <a:gd name="T50" fmla="*/ 78244 w 254"/>
              <a:gd name="T51" fmla="*/ 24273 h 176"/>
              <a:gd name="T52" fmla="*/ 72225 w 254"/>
              <a:gd name="T53" fmla="*/ 24273 h 176"/>
              <a:gd name="T54" fmla="*/ 58850 w 254"/>
              <a:gd name="T55" fmla="*/ 24273 h 176"/>
              <a:gd name="T56" fmla="*/ 46144 w 254"/>
              <a:gd name="T57" fmla="*/ 36098 h 176"/>
              <a:gd name="T58" fmla="*/ 52163 w 254"/>
              <a:gd name="T59" fmla="*/ 42322 h 176"/>
              <a:gd name="T60" fmla="*/ 58850 w 254"/>
              <a:gd name="T61" fmla="*/ 48545 h 176"/>
              <a:gd name="T62" fmla="*/ 46144 w 254"/>
              <a:gd name="T63" fmla="*/ 54769 h 176"/>
              <a:gd name="T64" fmla="*/ 39456 w 254"/>
              <a:gd name="T65" fmla="*/ 54769 h 176"/>
              <a:gd name="T66" fmla="*/ 26081 w 254"/>
              <a:gd name="T67" fmla="*/ 60370 h 176"/>
              <a:gd name="T68" fmla="*/ 20063 w 254"/>
              <a:gd name="T69" fmla="*/ 66594 h 176"/>
              <a:gd name="T70" fmla="*/ 13375 w 254"/>
              <a:gd name="T71" fmla="*/ 79042 h 176"/>
              <a:gd name="T72" fmla="*/ 13375 w 254"/>
              <a:gd name="T73" fmla="*/ 79042 h 176"/>
              <a:gd name="T74" fmla="*/ 6688 w 254"/>
              <a:gd name="T75" fmla="*/ 79042 h 176"/>
              <a:gd name="T76" fmla="*/ 6688 w 254"/>
              <a:gd name="T77" fmla="*/ 72818 h 176"/>
              <a:gd name="T78" fmla="*/ 6688 w 254"/>
              <a:gd name="T79" fmla="*/ 66594 h 176"/>
              <a:gd name="T80" fmla="*/ 6688 w 254"/>
              <a:gd name="T81" fmla="*/ 66594 h 176"/>
              <a:gd name="T82" fmla="*/ 0 w 254"/>
              <a:gd name="T83" fmla="*/ 66594 h 176"/>
              <a:gd name="T84" fmla="*/ 0 w 254"/>
              <a:gd name="T85" fmla="*/ 72818 h 176"/>
              <a:gd name="T86" fmla="*/ 0 w 254"/>
              <a:gd name="T87" fmla="*/ 79042 h 176"/>
              <a:gd name="T88" fmla="*/ 0 w 254"/>
              <a:gd name="T89" fmla="*/ 90867 h 176"/>
              <a:gd name="T90" fmla="*/ 0 w 254"/>
              <a:gd name="T91" fmla="*/ 97091 h 176"/>
              <a:gd name="T92" fmla="*/ 13375 w 254"/>
              <a:gd name="T93" fmla="*/ 103314 h 176"/>
              <a:gd name="T94" fmla="*/ 20063 w 254"/>
              <a:gd name="T95" fmla="*/ 103314 h 176"/>
              <a:gd name="T96" fmla="*/ 32769 w 254"/>
              <a:gd name="T97" fmla="*/ 97091 h 176"/>
              <a:gd name="T98" fmla="*/ 39456 w 254"/>
              <a:gd name="T99" fmla="*/ 97091 h 176"/>
              <a:gd name="T100" fmla="*/ 46144 w 254"/>
              <a:gd name="T101" fmla="*/ 103314 h 17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254"/>
              <a:gd name="T154" fmla="*/ 0 h 176"/>
              <a:gd name="T155" fmla="*/ 254 w 254"/>
              <a:gd name="T156" fmla="*/ 176 h 17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254" h="176">
                <a:moveTo>
                  <a:pt x="69" y="166"/>
                </a:moveTo>
                <a:lnTo>
                  <a:pt x="78" y="176"/>
                </a:lnTo>
                <a:lnTo>
                  <a:pt x="117" y="166"/>
                </a:lnTo>
                <a:lnTo>
                  <a:pt x="127" y="146"/>
                </a:lnTo>
                <a:lnTo>
                  <a:pt x="156" y="146"/>
                </a:lnTo>
                <a:lnTo>
                  <a:pt x="176" y="127"/>
                </a:lnTo>
                <a:lnTo>
                  <a:pt x="195" y="127"/>
                </a:lnTo>
                <a:lnTo>
                  <a:pt x="234" y="117"/>
                </a:lnTo>
                <a:lnTo>
                  <a:pt x="244" y="97"/>
                </a:lnTo>
                <a:lnTo>
                  <a:pt x="254" y="88"/>
                </a:lnTo>
                <a:lnTo>
                  <a:pt x="234" y="88"/>
                </a:lnTo>
                <a:lnTo>
                  <a:pt x="215" y="88"/>
                </a:lnTo>
                <a:lnTo>
                  <a:pt x="215" y="58"/>
                </a:lnTo>
                <a:lnTo>
                  <a:pt x="225" y="49"/>
                </a:lnTo>
                <a:lnTo>
                  <a:pt x="244" y="49"/>
                </a:lnTo>
                <a:lnTo>
                  <a:pt x="244" y="39"/>
                </a:lnTo>
                <a:lnTo>
                  <a:pt x="234" y="29"/>
                </a:lnTo>
                <a:lnTo>
                  <a:pt x="225" y="19"/>
                </a:lnTo>
                <a:lnTo>
                  <a:pt x="205" y="19"/>
                </a:lnTo>
                <a:lnTo>
                  <a:pt x="195" y="10"/>
                </a:lnTo>
                <a:lnTo>
                  <a:pt x="186" y="0"/>
                </a:lnTo>
                <a:lnTo>
                  <a:pt x="166" y="0"/>
                </a:lnTo>
                <a:lnTo>
                  <a:pt x="156" y="10"/>
                </a:lnTo>
                <a:lnTo>
                  <a:pt x="137" y="10"/>
                </a:lnTo>
                <a:lnTo>
                  <a:pt x="137" y="29"/>
                </a:lnTo>
                <a:lnTo>
                  <a:pt x="117" y="39"/>
                </a:lnTo>
                <a:lnTo>
                  <a:pt x="108" y="39"/>
                </a:lnTo>
                <a:lnTo>
                  <a:pt x="88" y="39"/>
                </a:lnTo>
                <a:lnTo>
                  <a:pt x="69" y="58"/>
                </a:lnTo>
                <a:lnTo>
                  <a:pt x="78" y="68"/>
                </a:lnTo>
                <a:lnTo>
                  <a:pt x="88" y="78"/>
                </a:lnTo>
                <a:lnTo>
                  <a:pt x="69" y="88"/>
                </a:lnTo>
                <a:lnTo>
                  <a:pt x="59" y="88"/>
                </a:lnTo>
                <a:lnTo>
                  <a:pt x="39" y="97"/>
                </a:lnTo>
                <a:lnTo>
                  <a:pt x="30" y="107"/>
                </a:lnTo>
                <a:lnTo>
                  <a:pt x="20" y="127"/>
                </a:lnTo>
                <a:lnTo>
                  <a:pt x="10" y="127"/>
                </a:lnTo>
                <a:lnTo>
                  <a:pt x="10" y="117"/>
                </a:lnTo>
                <a:lnTo>
                  <a:pt x="10" y="107"/>
                </a:lnTo>
                <a:lnTo>
                  <a:pt x="0" y="107"/>
                </a:lnTo>
                <a:lnTo>
                  <a:pt x="0" y="117"/>
                </a:lnTo>
                <a:lnTo>
                  <a:pt x="0" y="127"/>
                </a:lnTo>
                <a:lnTo>
                  <a:pt x="0" y="146"/>
                </a:lnTo>
                <a:lnTo>
                  <a:pt x="0" y="156"/>
                </a:lnTo>
                <a:lnTo>
                  <a:pt x="20" y="166"/>
                </a:lnTo>
                <a:lnTo>
                  <a:pt x="30" y="166"/>
                </a:lnTo>
                <a:lnTo>
                  <a:pt x="49" y="156"/>
                </a:lnTo>
                <a:lnTo>
                  <a:pt x="59" y="156"/>
                </a:lnTo>
                <a:lnTo>
                  <a:pt x="69" y="166"/>
                </a:lnTo>
                <a:close/>
              </a:path>
            </a:pathLst>
          </a:custGeom>
          <a:solidFill>
            <a:srgbClr val="C0C0C0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grpSp>
        <p:nvGrpSpPr>
          <p:cNvPr id="18534" name="Group 262"/>
          <p:cNvGrpSpPr>
            <a:grpSpLocks noChangeAspect="1"/>
          </p:cNvGrpSpPr>
          <p:nvPr>
            <p:custDataLst>
              <p:tags r:id="rId100"/>
            </p:custDataLst>
          </p:nvPr>
        </p:nvGrpSpPr>
        <p:grpSpPr bwMode="auto">
          <a:xfrm>
            <a:off x="5889625" y="5246688"/>
            <a:ext cx="169863" cy="109537"/>
            <a:chOff x="6340" y="3854"/>
            <a:chExt cx="254" cy="176"/>
          </a:xfrm>
        </p:grpSpPr>
        <p:sp>
          <p:nvSpPr>
            <p:cNvPr id="18784" name="Freeform 264"/>
            <p:cNvSpPr>
              <a:spLocks noChangeAspect="1"/>
            </p:cNvSpPr>
            <p:nvPr/>
          </p:nvSpPr>
          <p:spPr bwMode="auto">
            <a:xfrm>
              <a:off x="6340" y="3854"/>
              <a:ext cx="254" cy="176"/>
            </a:xfrm>
            <a:custGeom>
              <a:avLst/>
              <a:gdLst>
                <a:gd name="T0" fmla="*/ 69 w 254"/>
                <a:gd name="T1" fmla="*/ 166 h 176"/>
                <a:gd name="T2" fmla="*/ 78 w 254"/>
                <a:gd name="T3" fmla="*/ 176 h 176"/>
                <a:gd name="T4" fmla="*/ 117 w 254"/>
                <a:gd name="T5" fmla="*/ 166 h 176"/>
                <a:gd name="T6" fmla="*/ 127 w 254"/>
                <a:gd name="T7" fmla="*/ 146 h 176"/>
                <a:gd name="T8" fmla="*/ 156 w 254"/>
                <a:gd name="T9" fmla="*/ 146 h 176"/>
                <a:gd name="T10" fmla="*/ 176 w 254"/>
                <a:gd name="T11" fmla="*/ 127 h 176"/>
                <a:gd name="T12" fmla="*/ 195 w 254"/>
                <a:gd name="T13" fmla="*/ 127 h 176"/>
                <a:gd name="T14" fmla="*/ 234 w 254"/>
                <a:gd name="T15" fmla="*/ 117 h 176"/>
                <a:gd name="T16" fmla="*/ 244 w 254"/>
                <a:gd name="T17" fmla="*/ 97 h 176"/>
                <a:gd name="T18" fmla="*/ 254 w 254"/>
                <a:gd name="T19" fmla="*/ 88 h 176"/>
                <a:gd name="T20" fmla="*/ 234 w 254"/>
                <a:gd name="T21" fmla="*/ 88 h 176"/>
                <a:gd name="T22" fmla="*/ 215 w 254"/>
                <a:gd name="T23" fmla="*/ 88 h 176"/>
                <a:gd name="T24" fmla="*/ 215 w 254"/>
                <a:gd name="T25" fmla="*/ 58 h 176"/>
                <a:gd name="T26" fmla="*/ 225 w 254"/>
                <a:gd name="T27" fmla="*/ 49 h 176"/>
                <a:gd name="T28" fmla="*/ 244 w 254"/>
                <a:gd name="T29" fmla="*/ 49 h 176"/>
                <a:gd name="T30" fmla="*/ 244 w 254"/>
                <a:gd name="T31" fmla="*/ 39 h 176"/>
                <a:gd name="T32" fmla="*/ 234 w 254"/>
                <a:gd name="T33" fmla="*/ 29 h 176"/>
                <a:gd name="T34" fmla="*/ 225 w 254"/>
                <a:gd name="T35" fmla="*/ 19 h 176"/>
                <a:gd name="T36" fmla="*/ 205 w 254"/>
                <a:gd name="T37" fmla="*/ 19 h 176"/>
                <a:gd name="T38" fmla="*/ 195 w 254"/>
                <a:gd name="T39" fmla="*/ 0 h 176"/>
                <a:gd name="T40" fmla="*/ 186 w 254"/>
                <a:gd name="T41" fmla="*/ 0 h 176"/>
                <a:gd name="T42" fmla="*/ 166 w 254"/>
                <a:gd name="T43" fmla="*/ 0 h 176"/>
                <a:gd name="T44" fmla="*/ 156 w 254"/>
                <a:gd name="T45" fmla="*/ 0 h 176"/>
                <a:gd name="T46" fmla="*/ 137 w 254"/>
                <a:gd name="T47" fmla="*/ 10 h 176"/>
                <a:gd name="T48" fmla="*/ 137 w 254"/>
                <a:gd name="T49" fmla="*/ 29 h 176"/>
                <a:gd name="T50" fmla="*/ 117 w 254"/>
                <a:gd name="T51" fmla="*/ 39 h 176"/>
                <a:gd name="T52" fmla="*/ 108 w 254"/>
                <a:gd name="T53" fmla="*/ 39 h 176"/>
                <a:gd name="T54" fmla="*/ 88 w 254"/>
                <a:gd name="T55" fmla="*/ 39 h 176"/>
                <a:gd name="T56" fmla="*/ 69 w 254"/>
                <a:gd name="T57" fmla="*/ 58 h 176"/>
                <a:gd name="T58" fmla="*/ 78 w 254"/>
                <a:gd name="T59" fmla="*/ 68 h 176"/>
                <a:gd name="T60" fmla="*/ 88 w 254"/>
                <a:gd name="T61" fmla="*/ 78 h 176"/>
                <a:gd name="T62" fmla="*/ 69 w 254"/>
                <a:gd name="T63" fmla="*/ 88 h 176"/>
                <a:gd name="T64" fmla="*/ 59 w 254"/>
                <a:gd name="T65" fmla="*/ 88 h 176"/>
                <a:gd name="T66" fmla="*/ 39 w 254"/>
                <a:gd name="T67" fmla="*/ 97 h 176"/>
                <a:gd name="T68" fmla="*/ 30 w 254"/>
                <a:gd name="T69" fmla="*/ 107 h 176"/>
                <a:gd name="T70" fmla="*/ 20 w 254"/>
                <a:gd name="T71" fmla="*/ 127 h 176"/>
                <a:gd name="T72" fmla="*/ 20 w 254"/>
                <a:gd name="T73" fmla="*/ 127 h 176"/>
                <a:gd name="T74" fmla="*/ 10 w 254"/>
                <a:gd name="T75" fmla="*/ 127 h 176"/>
                <a:gd name="T76" fmla="*/ 10 w 254"/>
                <a:gd name="T77" fmla="*/ 117 h 176"/>
                <a:gd name="T78" fmla="*/ 10 w 254"/>
                <a:gd name="T79" fmla="*/ 107 h 176"/>
                <a:gd name="T80" fmla="*/ 10 w 254"/>
                <a:gd name="T81" fmla="*/ 107 h 176"/>
                <a:gd name="T82" fmla="*/ 0 w 254"/>
                <a:gd name="T83" fmla="*/ 107 h 176"/>
                <a:gd name="T84" fmla="*/ 0 w 254"/>
                <a:gd name="T85" fmla="*/ 117 h 176"/>
                <a:gd name="T86" fmla="*/ 0 w 254"/>
                <a:gd name="T87" fmla="*/ 127 h 176"/>
                <a:gd name="T88" fmla="*/ 0 w 254"/>
                <a:gd name="T89" fmla="*/ 146 h 176"/>
                <a:gd name="T90" fmla="*/ 0 w 254"/>
                <a:gd name="T91" fmla="*/ 156 h 176"/>
                <a:gd name="T92" fmla="*/ 20 w 254"/>
                <a:gd name="T93" fmla="*/ 166 h 176"/>
                <a:gd name="T94" fmla="*/ 30 w 254"/>
                <a:gd name="T95" fmla="*/ 166 h 176"/>
                <a:gd name="T96" fmla="*/ 49 w 254"/>
                <a:gd name="T97" fmla="*/ 156 h 176"/>
                <a:gd name="T98" fmla="*/ 59 w 254"/>
                <a:gd name="T99" fmla="*/ 156 h 176"/>
                <a:gd name="T100" fmla="*/ 69 w 254"/>
                <a:gd name="T101" fmla="*/ 166 h 17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54"/>
                <a:gd name="T154" fmla="*/ 0 h 176"/>
                <a:gd name="T155" fmla="*/ 254 w 254"/>
                <a:gd name="T156" fmla="*/ 176 h 17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54" h="176">
                  <a:moveTo>
                    <a:pt x="69" y="166"/>
                  </a:moveTo>
                  <a:lnTo>
                    <a:pt x="78" y="176"/>
                  </a:lnTo>
                  <a:lnTo>
                    <a:pt x="117" y="166"/>
                  </a:lnTo>
                  <a:lnTo>
                    <a:pt x="127" y="146"/>
                  </a:lnTo>
                  <a:lnTo>
                    <a:pt x="156" y="146"/>
                  </a:lnTo>
                  <a:lnTo>
                    <a:pt x="176" y="127"/>
                  </a:lnTo>
                  <a:lnTo>
                    <a:pt x="195" y="127"/>
                  </a:lnTo>
                  <a:lnTo>
                    <a:pt x="234" y="117"/>
                  </a:lnTo>
                  <a:lnTo>
                    <a:pt x="244" y="97"/>
                  </a:lnTo>
                  <a:lnTo>
                    <a:pt x="254" y="88"/>
                  </a:lnTo>
                  <a:lnTo>
                    <a:pt x="234" y="88"/>
                  </a:lnTo>
                  <a:lnTo>
                    <a:pt x="215" y="88"/>
                  </a:lnTo>
                  <a:lnTo>
                    <a:pt x="215" y="58"/>
                  </a:lnTo>
                  <a:lnTo>
                    <a:pt x="225" y="49"/>
                  </a:lnTo>
                  <a:lnTo>
                    <a:pt x="244" y="49"/>
                  </a:lnTo>
                  <a:lnTo>
                    <a:pt x="244" y="39"/>
                  </a:lnTo>
                  <a:lnTo>
                    <a:pt x="234" y="29"/>
                  </a:lnTo>
                  <a:lnTo>
                    <a:pt x="225" y="19"/>
                  </a:lnTo>
                  <a:lnTo>
                    <a:pt x="205" y="19"/>
                  </a:lnTo>
                  <a:lnTo>
                    <a:pt x="195" y="0"/>
                  </a:lnTo>
                  <a:lnTo>
                    <a:pt x="186" y="0"/>
                  </a:lnTo>
                  <a:lnTo>
                    <a:pt x="166" y="0"/>
                  </a:lnTo>
                  <a:lnTo>
                    <a:pt x="156" y="0"/>
                  </a:lnTo>
                  <a:lnTo>
                    <a:pt x="137" y="10"/>
                  </a:lnTo>
                  <a:lnTo>
                    <a:pt x="137" y="29"/>
                  </a:lnTo>
                  <a:lnTo>
                    <a:pt x="117" y="39"/>
                  </a:lnTo>
                  <a:lnTo>
                    <a:pt x="108" y="39"/>
                  </a:lnTo>
                  <a:lnTo>
                    <a:pt x="88" y="39"/>
                  </a:lnTo>
                  <a:lnTo>
                    <a:pt x="69" y="58"/>
                  </a:lnTo>
                  <a:lnTo>
                    <a:pt x="78" y="68"/>
                  </a:lnTo>
                  <a:lnTo>
                    <a:pt x="88" y="78"/>
                  </a:lnTo>
                  <a:lnTo>
                    <a:pt x="69" y="88"/>
                  </a:lnTo>
                  <a:lnTo>
                    <a:pt x="59" y="88"/>
                  </a:lnTo>
                  <a:lnTo>
                    <a:pt x="39" y="97"/>
                  </a:lnTo>
                  <a:lnTo>
                    <a:pt x="30" y="107"/>
                  </a:lnTo>
                  <a:lnTo>
                    <a:pt x="20" y="127"/>
                  </a:lnTo>
                  <a:lnTo>
                    <a:pt x="10" y="127"/>
                  </a:lnTo>
                  <a:lnTo>
                    <a:pt x="10" y="117"/>
                  </a:lnTo>
                  <a:lnTo>
                    <a:pt x="10" y="107"/>
                  </a:lnTo>
                  <a:lnTo>
                    <a:pt x="0" y="107"/>
                  </a:lnTo>
                  <a:lnTo>
                    <a:pt x="0" y="117"/>
                  </a:lnTo>
                  <a:lnTo>
                    <a:pt x="0" y="127"/>
                  </a:lnTo>
                  <a:lnTo>
                    <a:pt x="0" y="146"/>
                  </a:lnTo>
                  <a:lnTo>
                    <a:pt x="0" y="156"/>
                  </a:lnTo>
                  <a:lnTo>
                    <a:pt x="20" y="166"/>
                  </a:lnTo>
                  <a:lnTo>
                    <a:pt x="30" y="166"/>
                  </a:lnTo>
                  <a:lnTo>
                    <a:pt x="49" y="156"/>
                  </a:lnTo>
                  <a:lnTo>
                    <a:pt x="59" y="156"/>
                  </a:lnTo>
                  <a:lnTo>
                    <a:pt x="69" y="166"/>
                  </a:lnTo>
                  <a:close/>
                </a:path>
              </a:pathLst>
            </a:custGeom>
            <a:solidFill>
              <a:srgbClr val="C0C0C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8785" name="Freeform 263"/>
            <p:cNvSpPr>
              <a:spLocks noChangeAspect="1"/>
            </p:cNvSpPr>
            <p:nvPr/>
          </p:nvSpPr>
          <p:spPr bwMode="auto">
            <a:xfrm>
              <a:off x="6340" y="3854"/>
              <a:ext cx="254" cy="176"/>
            </a:xfrm>
            <a:custGeom>
              <a:avLst/>
              <a:gdLst>
                <a:gd name="T0" fmla="*/ 69 w 254"/>
                <a:gd name="T1" fmla="*/ 166 h 176"/>
                <a:gd name="T2" fmla="*/ 78 w 254"/>
                <a:gd name="T3" fmla="*/ 176 h 176"/>
                <a:gd name="T4" fmla="*/ 117 w 254"/>
                <a:gd name="T5" fmla="*/ 166 h 176"/>
                <a:gd name="T6" fmla="*/ 127 w 254"/>
                <a:gd name="T7" fmla="*/ 146 h 176"/>
                <a:gd name="T8" fmla="*/ 156 w 254"/>
                <a:gd name="T9" fmla="*/ 146 h 176"/>
                <a:gd name="T10" fmla="*/ 176 w 254"/>
                <a:gd name="T11" fmla="*/ 127 h 176"/>
                <a:gd name="T12" fmla="*/ 195 w 254"/>
                <a:gd name="T13" fmla="*/ 127 h 176"/>
                <a:gd name="T14" fmla="*/ 234 w 254"/>
                <a:gd name="T15" fmla="*/ 117 h 176"/>
                <a:gd name="T16" fmla="*/ 244 w 254"/>
                <a:gd name="T17" fmla="*/ 97 h 176"/>
                <a:gd name="T18" fmla="*/ 254 w 254"/>
                <a:gd name="T19" fmla="*/ 88 h 176"/>
                <a:gd name="T20" fmla="*/ 234 w 254"/>
                <a:gd name="T21" fmla="*/ 88 h 176"/>
                <a:gd name="T22" fmla="*/ 215 w 254"/>
                <a:gd name="T23" fmla="*/ 88 h 176"/>
                <a:gd name="T24" fmla="*/ 215 w 254"/>
                <a:gd name="T25" fmla="*/ 58 h 176"/>
                <a:gd name="T26" fmla="*/ 225 w 254"/>
                <a:gd name="T27" fmla="*/ 49 h 176"/>
                <a:gd name="T28" fmla="*/ 244 w 254"/>
                <a:gd name="T29" fmla="*/ 49 h 176"/>
                <a:gd name="T30" fmla="*/ 244 w 254"/>
                <a:gd name="T31" fmla="*/ 39 h 176"/>
                <a:gd name="T32" fmla="*/ 234 w 254"/>
                <a:gd name="T33" fmla="*/ 29 h 176"/>
                <a:gd name="T34" fmla="*/ 225 w 254"/>
                <a:gd name="T35" fmla="*/ 19 h 176"/>
                <a:gd name="T36" fmla="*/ 205 w 254"/>
                <a:gd name="T37" fmla="*/ 19 h 176"/>
                <a:gd name="T38" fmla="*/ 195 w 254"/>
                <a:gd name="T39" fmla="*/ 0 h 176"/>
                <a:gd name="T40" fmla="*/ 186 w 254"/>
                <a:gd name="T41" fmla="*/ 0 h 176"/>
                <a:gd name="T42" fmla="*/ 166 w 254"/>
                <a:gd name="T43" fmla="*/ 0 h 176"/>
                <a:gd name="T44" fmla="*/ 156 w 254"/>
                <a:gd name="T45" fmla="*/ 0 h 176"/>
                <a:gd name="T46" fmla="*/ 137 w 254"/>
                <a:gd name="T47" fmla="*/ 10 h 176"/>
                <a:gd name="T48" fmla="*/ 137 w 254"/>
                <a:gd name="T49" fmla="*/ 29 h 176"/>
                <a:gd name="T50" fmla="*/ 117 w 254"/>
                <a:gd name="T51" fmla="*/ 39 h 176"/>
                <a:gd name="T52" fmla="*/ 108 w 254"/>
                <a:gd name="T53" fmla="*/ 39 h 176"/>
                <a:gd name="T54" fmla="*/ 88 w 254"/>
                <a:gd name="T55" fmla="*/ 39 h 176"/>
                <a:gd name="T56" fmla="*/ 69 w 254"/>
                <a:gd name="T57" fmla="*/ 58 h 176"/>
                <a:gd name="T58" fmla="*/ 78 w 254"/>
                <a:gd name="T59" fmla="*/ 68 h 176"/>
                <a:gd name="T60" fmla="*/ 88 w 254"/>
                <a:gd name="T61" fmla="*/ 78 h 176"/>
                <a:gd name="T62" fmla="*/ 69 w 254"/>
                <a:gd name="T63" fmla="*/ 88 h 176"/>
                <a:gd name="T64" fmla="*/ 59 w 254"/>
                <a:gd name="T65" fmla="*/ 88 h 176"/>
                <a:gd name="T66" fmla="*/ 39 w 254"/>
                <a:gd name="T67" fmla="*/ 97 h 176"/>
                <a:gd name="T68" fmla="*/ 30 w 254"/>
                <a:gd name="T69" fmla="*/ 107 h 176"/>
                <a:gd name="T70" fmla="*/ 20 w 254"/>
                <a:gd name="T71" fmla="*/ 127 h 176"/>
                <a:gd name="T72" fmla="*/ 20 w 254"/>
                <a:gd name="T73" fmla="*/ 127 h 176"/>
                <a:gd name="T74" fmla="*/ 10 w 254"/>
                <a:gd name="T75" fmla="*/ 127 h 176"/>
                <a:gd name="T76" fmla="*/ 10 w 254"/>
                <a:gd name="T77" fmla="*/ 117 h 176"/>
                <a:gd name="T78" fmla="*/ 10 w 254"/>
                <a:gd name="T79" fmla="*/ 107 h 176"/>
                <a:gd name="T80" fmla="*/ 10 w 254"/>
                <a:gd name="T81" fmla="*/ 107 h 176"/>
                <a:gd name="T82" fmla="*/ 0 w 254"/>
                <a:gd name="T83" fmla="*/ 107 h 176"/>
                <a:gd name="T84" fmla="*/ 0 w 254"/>
                <a:gd name="T85" fmla="*/ 117 h 176"/>
                <a:gd name="T86" fmla="*/ 0 w 254"/>
                <a:gd name="T87" fmla="*/ 127 h 176"/>
                <a:gd name="T88" fmla="*/ 0 w 254"/>
                <a:gd name="T89" fmla="*/ 146 h 176"/>
                <a:gd name="T90" fmla="*/ 0 w 254"/>
                <a:gd name="T91" fmla="*/ 156 h 176"/>
                <a:gd name="T92" fmla="*/ 20 w 254"/>
                <a:gd name="T93" fmla="*/ 166 h 176"/>
                <a:gd name="T94" fmla="*/ 30 w 254"/>
                <a:gd name="T95" fmla="*/ 166 h 176"/>
                <a:gd name="T96" fmla="*/ 49 w 254"/>
                <a:gd name="T97" fmla="*/ 156 h 176"/>
                <a:gd name="T98" fmla="*/ 59 w 254"/>
                <a:gd name="T99" fmla="*/ 156 h 17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254"/>
                <a:gd name="T151" fmla="*/ 0 h 176"/>
                <a:gd name="T152" fmla="*/ 254 w 254"/>
                <a:gd name="T153" fmla="*/ 176 h 17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254" h="176">
                  <a:moveTo>
                    <a:pt x="69" y="166"/>
                  </a:moveTo>
                  <a:lnTo>
                    <a:pt x="78" y="176"/>
                  </a:lnTo>
                  <a:lnTo>
                    <a:pt x="117" y="166"/>
                  </a:lnTo>
                  <a:lnTo>
                    <a:pt x="127" y="146"/>
                  </a:lnTo>
                  <a:lnTo>
                    <a:pt x="156" y="146"/>
                  </a:lnTo>
                  <a:lnTo>
                    <a:pt x="176" y="127"/>
                  </a:lnTo>
                  <a:lnTo>
                    <a:pt x="195" y="127"/>
                  </a:lnTo>
                  <a:lnTo>
                    <a:pt x="234" y="117"/>
                  </a:lnTo>
                  <a:lnTo>
                    <a:pt x="244" y="97"/>
                  </a:lnTo>
                  <a:lnTo>
                    <a:pt x="254" y="88"/>
                  </a:lnTo>
                  <a:lnTo>
                    <a:pt x="234" y="88"/>
                  </a:lnTo>
                  <a:lnTo>
                    <a:pt x="215" y="88"/>
                  </a:lnTo>
                  <a:lnTo>
                    <a:pt x="215" y="58"/>
                  </a:lnTo>
                  <a:lnTo>
                    <a:pt x="225" y="49"/>
                  </a:lnTo>
                  <a:lnTo>
                    <a:pt x="244" y="49"/>
                  </a:lnTo>
                  <a:lnTo>
                    <a:pt x="244" y="39"/>
                  </a:lnTo>
                  <a:lnTo>
                    <a:pt x="234" y="29"/>
                  </a:lnTo>
                  <a:lnTo>
                    <a:pt x="225" y="19"/>
                  </a:lnTo>
                  <a:lnTo>
                    <a:pt x="205" y="19"/>
                  </a:lnTo>
                  <a:lnTo>
                    <a:pt x="195" y="0"/>
                  </a:lnTo>
                  <a:lnTo>
                    <a:pt x="186" y="0"/>
                  </a:lnTo>
                  <a:lnTo>
                    <a:pt x="166" y="0"/>
                  </a:lnTo>
                  <a:lnTo>
                    <a:pt x="156" y="0"/>
                  </a:lnTo>
                  <a:lnTo>
                    <a:pt x="137" y="10"/>
                  </a:lnTo>
                  <a:lnTo>
                    <a:pt x="137" y="29"/>
                  </a:lnTo>
                  <a:lnTo>
                    <a:pt x="117" y="39"/>
                  </a:lnTo>
                  <a:lnTo>
                    <a:pt x="108" y="39"/>
                  </a:lnTo>
                  <a:lnTo>
                    <a:pt x="88" y="39"/>
                  </a:lnTo>
                  <a:lnTo>
                    <a:pt x="69" y="58"/>
                  </a:lnTo>
                  <a:lnTo>
                    <a:pt x="78" y="68"/>
                  </a:lnTo>
                  <a:lnTo>
                    <a:pt x="88" y="78"/>
                  </a:lnTo>
                  <a:lnTo>
                    <a:pt x="69" y="88"/>
                  </a:lnTo>
                  <a:lnTo>
                    <a:pt x="59" y="88"/>
                  </a:lnTo>
                  <a:lnTo>
                    <a:pt x="39" y="97"/>
                  </a:lnTo>
                  <a:lnTo>
                    <a:pt x="30" y="107"/>
                  </a:lnTo>
                  <a:lnTo>
                    <a:pt x="20" y="127"/>
                  </a:lnTo>
                  <a:lnTo>
                    <a:pt x="10" y="127"/>
                  </a:lnTo>
                  <a:lnTo>
                    <a:pt x="10" y="117"/>
                  </a:lnTo>
                  <a:lnTo>
                    <a:pt x="10" y="107"/>
                  </a:lnTo>
                  <a:lnTo>
                    <a:pt x="0" y="107"/>
                  </a:lnTo>
                  <a:lnTo>
                    <a:pt x="0" y="117"/>
                  </a:lnTo>
                  <a:lnTo>
                    <a:pt x="0" y="127"/>
                  </a:lnTo>
                  <a:lnTo>
                    <a:pt x="0" y="146"/>
                  </a:lnTo>
                  <a:lnTo>
                    <a:pt x="0" y="156"/>
                  </a:lnTo>
                  <a:lnTo>
                    <a:pt x="20" y="166"/>
                  </a:lnTo>
                  <a:lnTo>
                    <a:pt x="30" y="166"/>
                  </a:lnTo>
                  <a:lnTo>
                    <a:pt x="49" y="156"/>
                  </a:lnTo>
                  <a:lnTo>
                    <a:pt x="59" y="156"/>
                  </a:lnTo>
                </a:path>
              </a:pathLst>
            </a:custGeom>
            <a:solidFill>
              <a:srgbClr val="C0C0C0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18535" name="Freeform 261"/>
          <p:cNvSpPr>
            <a:spLocks noChangeAspect="1"/>
          </p:cNvSpPr>
          <p:nvPr>
            <p:custDataLst>
              <p:tags r:id="rId101"/>
            </p:custDataLst>
          </p:nvPr>
        </p:nvSpPr>
        <p:spPr bwMode="auto">
          <a:xfrm>
            <a:off x="5341938" y="5192713"/>
            <a:ext cx="180975" cy="95250"/>
          </a:xfrm>
          <a:custGeom>
            <a:avLst/>
            <a:gdLst>
              <a:gd name="T0" fmla="*/ 58336 w 273"/>
              <a:gd name="T1" fmla="*/ 65332 h 156"/>
              <a:gd name="T2" fmla="*/ 70932 w 273"/>
              <a:gd name="T3" fmla="*/ 71437 h 156"/>
              <a:gd name="T4" fmla="*/ 84190 w 273"/>
              <a:gd name="T5" fmla="*/ 59837 h 156"/>
              <a:gd name="T6" fmla="*/ 96785 w 273"/>
              <a:gd name="T7" fmla="*/ 59837 h 156"/>
              <a:gd name="T8" fmla="*/ 96785 w 273"/>
              <a:gd name="T9" fmla="*/ 77543 h 156"/>
              <a:gd name="T10" fmla="*/ 122639 w 273"/>
              <a:gd name="T11" fmla="*/ 95250 h 156"/>
              <a:gd name="T12" fmla="*/ 155121 w 273"/>
              <a:gd name="T13" fmla="*/ 77543 h 156"/>
              <a:gd name="T14" fmla="*/ 155121 w 273"/>
              <a:gd name="T15" fmla="*/ 59837 h 156"/>
              <a:gd name="T16" fmla="*/ 180975 w 273"/>
              <a:gd name="T17" fmla="*/ 41519 h 156"/>
              <a:gd name="T18" fmla="*/ 161751 w 273"/>
              <a:gd name="T19" fmla="*/ 36024 h 156"/>
              <a:gd name="T20" fmla="*/ 155121 w 273"/>
              <a:gd name="T21" fmla="*/ 17707 h 156"/>
              <a:gd name="T22" fmla="*/ 148492 w 273"/>
              <a:gd name="T23" fmla="*/ 17707 h 156"/>
              <a:gd name="T24" fmla="*/ 148492 w 273"/>
              <a:gd name="T25" fmla="*/ 29918 h 156"/>
              <a:gd name="T26" fmla="*/ 135897 w 273"/>
              <a:gd name="T27" fmla="*/ 29918 h 156"/>
              <a:gd name="T28" fmla="*/ 116010 w 273"/>
              <a:gd name="T29" fmla="*/ 41519 h 156"/>
              <a:gd name="T30" fmla="*/ 96785 w 273"/>
              <a:gd name="T31" fmla="*/ 29918 h 156"/>
              <a:gd name="T32" fmla="*/ 90156 w 273"/>
              <a:gd name="T33" fmla="*/ 0 h 156"/>
              <a:gd name="T34" fmla="*/ 77561 w 273"/>
              <a:gd name="T35" fmla="*/ 0 h 156"/>
              <a:gd name="T36" fmla="*/ 64302 w 273"/>
              <a:gd name="T37" fmla="*/ 6106 h 156"/>
              <a:gd name="T38" fmla="*/ 45078 w 273"/>
              <a:gd name="T39" fmla="*/ 17707 h 156"/>
              <a:gd name="T40" fmla="*/ 25854 w 273"/>
              <a:gd name="T41" fmla="*/ 6106 h 156"/>
              <a:gd name="T42" fmla="*/ 6629 w 273"/>
              <a:gd name="T43" fmla="*/ 6106 h 156"/>
              <a:gd name="T44" fmla="*/ 6629 w 273"/>
              <a:gd name="T45" fmla="*/ 17707 h 156"/>
              <a:gd name="T46" fmla="*/ 19224 w 273"/>
              <a:gd name="T47" fmla="*/ 29918 h 156"/>
              <a:gd name="T48" fmla="*/ 25854 w 273"/>
              <a:gd name="T49" fmla="*/ 41519 h 156"/>
              <a:gd name="T50" fmla="*/ 6629 w 273"/>
              <a:gd name="T51" fmla="*/ 41519 h 156"/>
              <a:gd name="T52" fmla="*/ 0 w 273"/>
              <a:gd name="T53" fmla="*/ 47625 h 156"/>
              <a:gd name="T54" fmla="*/ 0 w 273"/>
              <a:gd name="T55" fmla="*/ 59837 h 156"/>
              <a:gd name="T56" fmla="*/ 19224 w 273"/>
              <a:gd name="T57" fmla="*/ 65332 h 156"/>
              <a:gd name="T58" fmla="*/ 38449 w 273"/>
              <a:gd name="T59" fmla="*/ 59837 h 156"/>
              <a:gd name="T60" fmla="*/ 58336 w 273"/>
              <a:gd name="T61" fmla="*/ 47625 h 156"/>
              <a:gd name="T62" fmla="*/ 58336 w 273"/>
              <a:gd name="T63" fmla="*/ 65332 h 15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273"/>
              <a:gd name="T97" fmla="*/ 0 h 156"/>
              <a:gd name="T98" fmla="*/ 273 w 273"/>
              <a:gd name="T99" fmla="*/ 156 h 15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273" h="156">
                <a:moveTo>
                  <a:pt x="88" y="107"/>
                </a:moveTo>
                <a:lnTo>
                  <a:pt x="107" y="117"/>
                </a:lnTo>
                <a:lnTo>
                  <a:pt x="127" y="98"/>
                </a:lnTo>
                <a:lnTo>
                  <a:pt x="146" y="98"/>
                </a:lnTo>
                <a:lnTo>
                  <a:pt x="146" y="127"/>
                </a:lnTo>
                <a:lnTo>
                  <a:pt x="185" y="156"/>
                </a:lnTo>
                <a:lnTo>
                  <a:pt x="234" y="127"/>
                </a:lnTo>
                <a:lnTo>
                  <a:pt x="234" y="98"/>
                </a:lnTo>
                <a:lnTo>
                  <a:pt x="273" y="68"/>
                </a:lnTo>
                <a:lnTo>
                  <a:pt x="244" y="59"/>
                </a:lnTo>
                <a:lnTo>
                  <a:pt x="234" y="29"/>
                </a:lnTo>
                <a:lnTo>
                  <a:pt x="224" y="29"/>
                </a:lnTo>
                <a:lnTo>
                  <a:pt x="224" y="49"/>
                </a:lnTo>
                <a:lnTo>
                  <a:pt x="205" y="49"/>
                </a:lnTo>
                <a:lnTo>
                  <a:pt x="175" y="68"/>
                </a:lnTo>
                <a:lnTo>
                  <a:pt x="146" y="49"/>
                </a:lnTo>
                <a:lnTo>
                  <a:pt x="136" y="0"/>
                </a:lnTo>
                <a:lnTo>
                  <a:pt x="117" y="0"/>
                </a:lnTo>
                <a:lnTo>
                  <a:pt x="97" y="10"/>
                </a:lnTo>
                <a:lnTo>
                  <a:pt x="68" y="29"/>
                </a:lnTo>
                <a:lnTo>
                  <a:pt x="39" y="10"/>
                </a:lnTo>
                <a:lnTo>
                  <a:pt x="10" y="10"/>
                </a:lnTo>
                <a:lnTo>
                  <a:pt x="10" y="29"/>
                </a:lnTo>
                <a:lnTo>
                  <a:pt x="29" y="49"/>
                </a:lnTo>
                <a:lnTo>
                  <a:pt x="39" y="68"/>
                </a:lnTo>
                <a:lnTo>
                  <a:pt x="10" y="68"/>
                </a:lnTo>
                <a:lnTo>
                  <a:pt x="0" y="78"/>
                </a:lnTo>
                <a:lnTo>
                  <a:pt x="0" y="98"/>
                </a:lnTo>
                <a:lnTo>
                  <a:pt x="29" y="107"/>
                </a:lnTo>
                <a:lnTo>
                  <a:pt x="58" y="98"/>
                </a:lnTo>
                <a:lnTo>
                  <a:pt x="88" y="78"/>
                </a:lnTo>
                <a:lnTo>
                  <a:pt x="88" y="107"/>
                </a:lnTo>
                <a:close/>
              </a:path>
            </a:pathLst>
          </a:custGeom>
          <a:solidFill>
            <a:srgbClr val="C0C0C0"/>
          </a:solidFill>
          <a:ln w="6350" cap="rnd">
            <a:solidFill>
              <a:srgbClr val="4C7445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grpSp>
        <p:nvGrpSpPr>
          <p:cNvPr id="18536" name="Group 258"/>
          <p:cNvGrpSpPr>
            <a:grpSpLocks noChangeAspect="1"/>
          </p:cNvGrpSpPr>
          <p:nvPr>
            <p:custDataLst>
              <p:tags r:id="rId102"/>
            </p:custDataLst>
          </p:nvPr>
        </p:nvGrpSpPr>
        <p:grpSpPr bwMode="auto">
          <a:xfrm>
            <a:off x="5341938" y="5192713"/>
            <a:ext cx="180975" cy="95250"/>
            <a:chOff x="5521" y="3766"/>
            <a:chExt cx="273" cy="156"/>
          </a:xfrm>
        </p:grpSpPr>
        <p:sp>
          <p:nvSpPr>
            <p:cNvPr id="18782" name="Freeform 260"/>
            <p:cNvSpPr>
              <a:spLocks noChangeAspect="1"/>
            </p:cNvSpPr>
            <p:nvPr/>
          </p:nvSpPr>
          <p:spPr bwMode="auto">
            <a:xfrm>
              <a:off x="5521" y="3766"/>
              <a:ext cx="273" cy="156"/>
            </a:xfrm>
            <a:custGeom>
              <a:avLst/>
              <a:gdLst>
                <a:gd name="T0" fmla="*/ 88 w 273"/>
                <a:gd name="T1" fmla="*/ 107 h 156"/>
                <a:gd name="T2" fmla="*/ 107 w 273"/>
                <a:gd name="T3" fmla="*/ 117 h 156"/>
                <a:gd name="T4" fmla="*/ 127 w 273"/>
                <a:gd name="T5" fmla="*/ 98 h 156"/>
                <a:gd name="T6" fmla="*/ 146 w 273"/>
                <a:gd name="T7" fmla="*/ 98 h 156"/>
                <a:gd name="T8" fmla="*/ 146 w 273"/>
                <a:gd name="T9" fmla="*/ 127 h 156"/>
                <a:gd name="T10" fmla="*/ 185 w 273"/>
                <a:gd name="T11" fmla="*/ 156 h 156"/>
                <a:gd name="T12" fmla="*/ 234 w 273"/>
                <a:gd name="T13" fmla="*/ 127 h 156"/>
                <a:gd name="T14" fmla="*/ 234 w 273"/>
                <a:gd name="T15" fmla="*/ 98 h 156"/>
                <a:gd name="T16" fmla="*/ 273 w 273"/>
                <a:gd name="T17" fmla="*/ 68 h 156"/>
                <a:gd name="T18" fmla="*/ 244 w 273"/>
                <a:gd name="T19" fmla="*/ 59 h 156"/>
                <a:gd name="T20" fmla="*/ 234 w 273"/>
                <a:gd name="T21" fmla="*/ 29 h 156"/>
                <a:gd name="T22" fmla="*/ 224 w 273"/>
                <a:gd name="T23" fmla="*/ 29 h 156"/>
                <a:gd name="T24" fmla="*/ 224 w 273"/>
                <a:gd name="T25" fmla="*/ 49 h 156"/>
                <a:gd name="T26" fmla="*/ 205 w 273"/>
                <a:gd name="T27" fmla="*/ 49 h 156"/>
                <a:gd name="T28" fmla="*/ 175 w 273"/>
                <a:gd name="T29" fmla="*/ 68 h 156"/>
                <a:gd name="T30" fmla="*/ 146 w 273"/>
                <a:gd name="T31" fmla="*/ 49 h 156"/>
                <a:gd name="T32" fmla="*/ 136 w 273"/>
                <a:gd name="T33" fmla="*/ 0 h 156"/>
                <a:gd name="T34" fmla="*/ 117 w 273"/>
                <a:gd name="T35" fmla="*/ 0 h 156"/>
                <a:gd name="T36" fmla="*/ 97 w 273"/>
                <a:gd name="T37" fmla="*/ 10 h 156"/>
                <a:gd name="T38" fmla="*/ 68 w 273"/>
                <a:gd name="T39" fmla="*/ 29 h 156"/>
                <a:gd name="T40" fmla="*/ 39 w 273"/>
                <a:gd name="T41" fmla="*/ 10 h 156"/>
                <a:gd name="T42" fmla="*/ 19 w 273"/>
                <a:gd name="T43" fmla="*/ 10 h 156"/>
                <a:gd name="T44" fmla="*/ 10 w 273"/>
                <a:gd name="T45" fmla="*/ 29 h 156"/>
                <a:gd name="T46" fmla="*/ 29 w 273"/>
                <a:gd name="T47" fmla="*/ 49 h 156"/>
                <a:gd name="T48" fmla="*/ 39 w 273"/>
                <a:gd name="T49" fmla="*/ 68 h 156"/>
                <a:gd name="T50" fmla="*/ 19 w 273"/>
                <a:gd name="T51" fmla="*/ 68 h 156"/>
                <a:gd name="T52" fmla="*/ 0 w 273"/>
                <a:gd name="T53" fmla="*/ 78 h 156"/>
                <a:gd name="T54" fmla="*/ 0 w 273"/>
                <a:gd name="T55" fmla="*/ 98 h 156"/>
                <a:gd name="T56" fmla="*/ 29 w 273"/>
                <a:gd name="T57" fmla="*/ 107 h 156"/>
                <a:gd name="T58" fmla="*/ 58 w 273"/>
                <a:gd name="T59" fmla="*/ 98 h 156"/>
                <a:gd name="T60" fmla="*/ 88 w 273"/>
                <a:gd name="T61" fmla="*/ 78 h 156"/>
                <a:gd name="T62" fmla="*/ 88 w 273"/>
                <a:gd name="T63" fmla="*/ 107 h 15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73"/>
                <a:gd name="T97" fmla="*/ 0 h 156"/>
                <a:gd name="T98" fmla="*/ 273 w 273"/>
                <a:gd name="T99" fmla="*/ 156 h 15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73" h="156">
                  <a:moveTo>
                    <a:pt x="88" y="107"/>
                  </a:moveTo>
                  <a:lnTo>
                    <a:pt x="107" y="117"/>
                  </a:lnTo>
                  <a:lnTo>
                    <a:pt x="127" y="98"/>
                  </a:lnTo>
                  <a:lnTo>
                    <a:pt x="146" y="98"/>
                  </a:lnTo>
                  <a:lnTo>
                    <a:pt x="146" y="127"/>
                  </a:lnTo>
                  <a:lnTo>
                    <a:pt x="185" y="156"/>
                  </a:lnTo>
                  <a:lnTo>
                    <a:pt x="234" y="127"/>
                  </a:lnTo>
                  <a:lnTo>
                    <a:pt x="234" y="98"/>
                  </a:lnTo>
                  <a:lnTo>
                    <a:pt x="273" y="68"/>
                  </a:lnTo>
                  <a:lnTo>
                    <a:pt x="244" y="59"/>
                  </a:lnTo>
                  <a:lnTo>
                    <a:pt x="234" y="29"/>
                  </a:lnTo>
                  <a:lnTo>
                    <a:pt x="224" y="29"/>
                  </a:lnTo>
                  <a:lnTo>
                    <a:pt x="224" y="49"/>
                  </a:lnTo>
                  <a:lnTo>
                    <a:pt x="205" y="49"/>
                  </a:lnTo>
                  <a:lnTo>
                    <a:pt x="175" y="68"/>
                  </a:lnTo>
                  <a:lnTo>
                    <a:pt x="146" y="49"/>
                  </a:lnTo>
                  <a:lnTo>
                    <a:pt x="136" y="0"/>
                  </a:lnTo>
                  <a:lnTo>
                    <a:pt x="117" y="0"/>
                  </a:lnTo>
                  <a:lnTo>
                    <a:pt x="97" y="10"/>
                  </a:lnTo>
                  <a:lnTo>
                    <a:pt x="68" y="29"/>
                  </a:lnTo>
                  <a:lnTo>
                    <a:pt x="39" y="10"/>
                  </a:lnTo>
                  <a:lnTo>
                    <a:pt x="19" y="10"/>
                  </a:lnTo>
                  <a:lnTo>
                    <a:pt x="10" y="29"/>
                  </a:lnTo>
                  <a:lnTo>
                    <a:pt x="29" y="49"/>
                  </a:lnTo>
                  <a:lnTo>
                    <a:pt x="39" y="68"/>
                  </a:lnTo>
                  <a:lnTo>
                    <a:pt x="19" y="68"/>
                  </a:lnTo>
                  <a:lnTo>
                    <a:pt x="0" y="78"/>
                  </a:lnTo>
                  <a:lnTo>
                    <a:pt x="0" y="98"/>
                  </a:lnTo>
                  <a:lnTo>
                    <a:pt x="29" y="107"/>
                  </a:lnTo>
                  <a:lnTo>
                    <a:pt x="58" y="98"/>
                  </a:lnTo>
                  <a:lnTo>
                    <a:pt x="88" y="78"/>
                  </a:lnTo>
                  <a:lnTo>
                    <a:pt x="88" y="107"/>
                  </a:lnTo>
                  <a:close/>
                </a:path>
              </a:pathLst>
            </a:custGeom>
            <a:solidFill>
              <a:srgbClr val="C0C0C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8783" name="Freeform 259"/>
            <p:cNvSpPr>
              <a:spLocks noChangeAspect="1"/>
            </p:cNvSpPr>
            <p:nvPr/>
          </p:nvSpPr>
          <p:spPr bwMode="auto">
            <a:xfrm>
              <a:off x="5521" y="3766"/>
              <a:ext cx="273" cy="156"/>
            </a:xfrm>
            <a:custGeom>
              <a:avLst/>
              <a:gdLst>
                <a:gd name="T0" fmla="*/ 88 w 273"/>
                <a:gd name="T1" fmla="*/ 107 h 156"/>
                <a:gd name="T2" fmla="*/ 107 w 273"/>
                <a:gd name="T3" fmla="*/ 117 h 156"/>
                <a:gd name="T4" fmla="*/ 127 w 273"/>
                <a:gd name="T5" fmla="*/ 98 h 156"/>
                <a:gd name="T6" fmla="*/ 146 w 273"/>
                <a:gd name="T7" fmla="*/ 98 h 156"/>
                <a:gd name="T8" fmla="*/ 146 w 273"/>
                <a:gd name="T9" fmla="*/ 127 h 156"/>
                <a:gd name="T10" fmla="*/ 185 w 273"/>
                <a:gd name="T11" fmla="*/ 156 h 156"/>
                <a:gd name="T12" fmla="*/ 234 w 273"/>
                <a:gd name="T13" fmla="*/ 127 h 156"/>
                <a:gd name="T14" fmla="*/ 234 w 273"/>
                <a:gd name="T15" fmla="*/ 98 h 156"/>
                <a:gd name="T16" fmla="*/ 273 w 273"/>
                <a:gd name="T17" fmla="*/ 68 h 156"/>
                <a:gd name="T18" fmla="*/ 244 w 273"/>
                <a:gd name="T19" fmla="*/ 59 h 156"/>
                <a:gd name="T20" fmla="*/ 234 w 273"/>
                <a:gd name="T21" fmla="*/ 29 h 156"/>
                <a:gd name="T22" fmla="*/ 224 w 273"/>
                <a:gd name="T23" fmla="*/ 29 h 156"/>
                <a:gd name="T24" fmla="*/ 224 w 273"/>
                <a:gd name="T25" fmla="*/ 49 h 156"/>
                <a:gd name="T26" fmla="*/ 205 w 273"/>
                <a:gd name="T27" fmla="*/ 49 h 156"/>
                <a:gd name="T28" fmla="*/ 175 w 273"/>
                <a:gd name="T29" fmla="*/ 68 h 156"/>
                <a:gd name="T30" fmla="*/ 146 w 273"/>
                <a:gd name="T31" fmla="*/ 49 h 156"/>
                <a:gd name="T32" fmla="*/ 136 w 273"/>
                <a:gd name="T33" fmla="*/ 0 h 156"/>
                <a:gd name="T34" fmla="*/ 117 w 273"/>
                <a:gd name="T35" fmla="*/ 0 h 156"/>
                <a:gd name="T36" fmla="*/ 97 w 273"/>
                <a:gd name="T37" fmla="*/ 10 h 156"/>
                <a:gd name="T38" fmla="*/ 68 w 273"/>
                <a:gd name="T39" fmla="*/ 29 h 156"/>
                <a:gd name="T40" fmla="*/ 39 w 273"/>
                <a:gd name="T41" fmla="*/ 10 h 156"/>
                <a:gd name="T42" fmla="*/ 19 w 273"/>
                <a:gd name="T43" fmla="*/ 10 h 156"/>
                <a:gd name="T44" fmla="*/ 10 w 273"/>
                <a:gd name="T45" fmla="*/ 29 h 156"/>
                <a:gd name="T46" fmla="*/ 29 w 273"/>
                <a:gd name="T47" fmla="*/ 49 h 156"/>
                <a:gd name="T48" fmla="*/ 39 w 273"/>
                <a:gd name="T49" fmla="*/ 68 h 156"/>
                <a:gd name="T50" fmla="*/ 19 w 273"/>
                <a:gd name="T51" fmla="*/ 68 h 156"/>
                <a:gd name="T52" fmla="*/ 0 w 273"/>
                <a:gd name="T53" fmla="*/ 78 h 156"/>
                <a:gd name="T54" fmla="*/ 0 w 273"/>
                <a:gd name="T55" fmla="*/ 98 h 156"/>
                <a:gd name="T56" fmla="*/ 29 w 273"/>
                <a:gd name="T57" fmla="*/ 107 h 156"/>
                <a:gd name="T58" fmla="*/ 58 w 273"/>
                <a:gd name="T59" fmla="*/ 98 h 156"/>
                <a:gd name="T60" fmla="*/ 88 w 273"/>
                <a:gd name="T61" fmla="*/ 78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273"/>
                <a:gd name="T94" fmla="*/ 0 h 156"/>
                <a:gd name="T95" fmla="*/ 273 w 273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273" h="156">
                  <a:moveTo>
                    <a:pt x="88" y="107"/>
                  </a:moveTo>
                  <a:lnTo>
                    <a:pt x="107" y="117"/>
                  </a:lnTo>
                  <a:lnTo>
                    <a:pt x="127" y="98"/>
                  </a:lnTo>
                  <a:lnTo>
                    <a:pt x="146" y="98"/>
                  </a:lnTo>
                  <a:lnTo>
                    <a:pt x="146" y="127"/>
                  </a:lnTo>
                  <a:lnTo>
                    <a:pt x="185" y="156"/>
                  </a:lnTo>
                  <a:lnTo>
                    <a:pt x="234" y="127"/>
                  </a:lnTo>
                  <a:lnTo>
                    <a:pt x="234" y="98"/>
                  </a:lnTo>
                  <a:lnTo>
                    <a:pt x="273" y="68"/>
                  </a:lnTo>
                  <a:lnTo>
                    <a:pt x="244" y="59"/>
                  </a:lnTo>
                  <a:lnTo>
                    <a:pt x="234" y="29"/>
                  </a:lnTo>
                  <a:lnTo>
                    <a:pt x="224" y="29"/>
                  </a:lnTo>
                  <a:lnTo>
                    <a:pt x="224" y="49"/>
                  </a:lnTo>
                  <a:lnTo>
                    <a:pt x="205" y="49"/>
                  </a:lnTo>
                  <a:lnTo>
                    <a:pt x="175" y="68"/>
                  </a:lnTo>
                  <a:lnTo>
                    <a:pt x="146" y="49"/>
                  </a:lnTo>
                  <a:lnTo>
                    <a:pt x="136" y="0"/>
                  </a:lnTo>
                  <a:lnTo>
                    <a:pt x="117" y="0"/>
                  </a:lnTo>
                  <a:lnTo>
                    <a:pt x="97" y="10"/>
                  </a:lnTo>
                  <a:lnTo>
                    <a:pt x="68" y="29"/>
                  </a:lnTo>
                  <a:lnTo>
                    <a:pt x="39" y="10"/>
                  </a:lnTo>
                  <a:lnTo>
                    <a:pt x="19" y="10"/>
                  </a:lnTo>
                  <a:lnTo>
                    <a:pt x="10" y="29"/>
                  </a:lnTo>
                  <a:lnTo>
                    <a:pt x="29" y="49"/>
                  </a:lnTo>
                  <a:lnTo>
                    <a:pt x="39" y="68"/>
                  </a:lnTo>
                  <a:lnTo>
                    <a:pt x="19" y="68"/>
                  </a:lnTo>
                  <a:lnTo>
                    <a:pt x="0" y="78"/>
                  </a:lnTo>
                  <a:lnTo>
                    <a:pt x="0" y="98"/>
                  </a:lnTo>
                  <a:lnTo>
                    <a:pt x="29" y="107"/>
                  </a:lnTo>
                  <a:lnTo>
                    <a:pt x="58" y="98"/>
                  </a:lnTo>
                  <a:lnTo>
                    <a:pt x="88" y="78"/>
                  </a:lnTo>
                </a:path>
              </a:pathLst>
            </a:custGeom>
            <a:solidFill>
              <a:srgbClr val="C0C0C0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18537" name="Freeform 257"/>
          <p:cNvSpPr>
            <a:spLocks noChangeAspect="1"/>
          </p:cNvSpPr>
          <p:nvPr>
            <p:custDataLst>
              <p:tags r:id="rId103"/>
            </p:custDataLst>
          </p:nvPr>
        </p:nvSpPr>
        <p:spPr bwMode="auto">
          <a:xfrm>
            <a:off x="4659313" y="3516313"/>
            <a:ext cx="896937" cy="715962"/>
          </a:xfrm>
          <a:custGeom>
            <a:avLst/>
            <a:gdLst>
              <a:gd name="T0" fmla="*/ 818971 w 1346"/>
              <a:gd name="T1" fmla="*/ 333743 h 1152"/>
              <a:gd name="T2" fmla="*/ 896937 w 1346"/>
              <a:gd name="T3" fmla="*/ 436911 h 1152"/>
              <a:gd name="T4" fmla="*/ 838296 w 1346"/>
              <a:gd name="T5" fmla="*/ 515841 h 1152"/>
              <a:gd name="T6" fmla="*/ 766994 w 1346"/>
              <a:gd name="T7" fmla="*/ 569911 h 1152"/>
              <a:gd name="T8" fmla="*/ 649713 w 1346"/>
              <a:gd name="T9" fmla="*/ 588556 h 1152"/>
              <a:gd name="T10" fmla="*/ 578411 w 1346"/>
              <a:gd name="T11" fmla="*/ 551888 h 1152"/>
              <a:gd name="T12" fmla="*/ 441805 w 1346"/>
              <a:gd name="T13" fmla="*/ 588556 h 1152"/>
              <a:gd name="T14" fmla="*/ 363839 w 1346"/>
              <a:gd name="T15" fmla="*/ 655056 h 1152"/>
              <a:gd name="T16" fmla="*/ 246558 w 1346"/>
              <a:gd name="T17" fmla="*/ 709748 h 1152"/>
              <a:gd name="T18" fmla="*/ 136606 w 1346"/>
              <a:gd name="T19" fmla="*/ 661271 h 1152"/>
              <a:gd name="T20" fmla="*/ 84629 w 1346"/>
              <a:gd name="T21" fmla="*/ 624603 h 1152"/>
              <a:gd name="T22" fmla="*/ 71302 w 1346"/>
              <a:gd name="T23" fmla="*/ 564318 h 1152"/>
              <a:gd name="T24" fmla="*/ 31986 w 1346"/>
              <a:gd name="T25" fmla="*/ 527650 h 1152"/>
              <a:gd name="T26" fmla="*/ 19325 w 1346"/>
              <a:gd name="T27" fmla="*/ 461150 h 1152"/>
              <a:gd name="T28" fmla="*/ 64638 w 1346"/>
              <a:gd name="T29" fmla="*/ 400243 h 1152"/>
              <a:gd name="T30" fmla="*/ 77966 w 1346"/>
              <a:gd name="T31" fmla="*/ 339958 h 1152"/>
              <a:gd name="T32" fmla="*/ 90627 w 1346"/>
              <a:gd name="T33" fmla="*/ 327528 h 1152"/>
              <a:gd name="T34" fmla="*/ 149267 w 1346"/>
              <a:gd name="T35" fmla="*/ 369790 h 1152"/>
              <a:gd name="T36" fmla="*/ 123279 w 1346"/>
              <a:gd name="T37" fmla="*/ 412673 h 1152"/>
              <a:gd name="T38" fmla="*/ 136606 w 1346"/>
              <a:gd name="T39" fmla="*/ 424482 h 1152"/>
              <a:gd name="T40" fmla="*/ 110618 w 1346"/>
              <a:gd name="T41" fmla="*/ 485388 h 1152"/>
              <a:gd name="T42" fmla="*/ 136606 w 1346"/>
              <a:gd name="T43" fmla="*/ 527650 h 1152"/>
              <a:gd name="T44" fmla="*/ 136606 w 1346"/>
              <a:gd name="T45" fmla="*/ 472958 h 1152"/>
              <a:gd name="T46" fmla="*/ 162595 w 1346"/>
              <a:gd name="T47" fmla="*/ 394028 h 1152"/>
              <a:gd name="T48" fmla="*/ 116615 w 1346"/>
              <a:gd name="T49" fmla="*/ 315720 h 1152"/>
              <a:gd name="T50" fmla="*/ 129943 w 1346"/>
              <a:gd name="T51" fmla="*/ 248598 h 1152"/>
              <a:gd name="T52" fmla="*/ 246558 w 1346"/>
              <a:gd name="T53" fmla="*/ 248598 h 1152"/>
              <a:gd name="T54" fmla="*/ 279210 w 1346"/>
              <a:gd name="T55" fmla="*/ 254813 h 1152"/>
              <a:gd name="T56" fmla="*/ 279210 w 1346"/>
              <a:gd name="T57" fmla="*/ 206337 h 1152"/>
              <a:gd name="T58" fmla="*/ 272546 w 1346"/>
              <a:gd name="T59" fmla="*/ 188313 h 1152"/>
              <a:gd name="T60" fmla="*/ 298535 w 1346"/>
              <a:gd name="T61" fmla="*/ 182098 h 1152"/>
              <a:gd name="T62" fmla="*/ 318526 w 1346"/>
              <a:gd name="T63" fmla="*/ 169668 h 1152"/>
              <a:gd name="T64" fmla="*/ 383164 w 1346"/>
              <a:gd name="T65" fmla="*/ 139837 h 1152"/>
              <a:gd name="T66" fmla="*/ 448469 w 1346"/>
              <a:gd name="T67" fmla="*/ 133622 h 1152"/>
              <a:gd name="T68" fmla="*/ 441805 w 1346"/>
              <a:gd name="T69" fmla="*/ 115598 h 1152"/>
              <a:gd name="T70" fmla="*/ 481121 w 1346"/>
              <a:gd name="T71" fmla="*/ 115598 h 1152"/>
              <a:gd name="T72" fmla="*/ 507109 w 1346"/>
              <a:gd name="T73" fmla="*/ 127407 h 1152"/>
              <a:gd name="T74" fmla="*/ 559086 w 1346"/>
              <a:gd name="T75" fmla="*/ 109383 h 1152"/>
              <a:gd name="T76" fmla="*/ 565084 w 1346"/>
              <a:gd name="T77" fmla="*/ 91360 h 1152"/>
              <a:gd name="T78" fmla="*/ 604400 w 1346"/>
              <a:gd name="T79" fmla="*/ 85145 h 1152"/>
              <a:gd name="T80" fmla="*/ 597736 w 1346"/>
              <a:gd name="T81" fmla="*/ 42883 h 1152"/>
              <a:gd name="T82" fmla="*/ 643049 w 1346"/>
              <a:gd name="T83" fmla="*/ 0 h 1152"/>
              <a:gd name="T84" fmla="*/ 682365 w 1346"/>
              <a:gd name="T85" fmla="*/ 24238 h 1152"/>
              <a:gd name="T86" fmla="*/ 682365 w 1346"/>
              <a:gd name="T87" fmla="*/ 48477 h 1152"/>
              <a:gd name="T88" fmla="*/ 701690 w 1346"/>
              <a:gd name="T89" fmla="*/ 85145 h 1152"/>
              <a:gd name="T90" fmla="*/ 753667 w 1346"/>
              <a:gd name="T91" fmla="*/ 60907 h 1152"/>
              <a:gd name="T92" fmla="*/ 805644 w 1346"/>
              <a:gd name="T93" fmla="*/ 67122 h 1152"/>
              <a:gd name="T94" fmla="*/ 838296 w 1346"/>
              <a:gd name="T95" fmla="*/ 96953 h 1152"/>
              <a:gd name="T96" fmla="*/ 857621 w 1346"/>
              <a:gd name="T97" fmla="*/ 103168 h 1152"/>
              <a:gd name="T98" fmla="*/ 838296 w 1346"/>
              <a:gd name="T99" fmla="*/ 127407 h 1152"/>
              <a:gd name="T100" fmla="*/ 857621 w 1346"/>
              <a:gd name="T101" fmla="*/ 169668 h 1152"/>
              <a:gd name="T102" fmla="*/ 798980 w 1346"/>
              <a:gd name="T103" fmla="*/ 224360 h 1152"/>
              <a:gd name="T104" fmla="*/ 766994 w 1346"/>
              <a:gd name="T105" fmla="*/ 279052 h 1152"/>
              <a:gd name="T106" fmla="*/ 715017 w 1346"/>
              <a:gd name="T107" fmla="*/ 327528 h 1152"/>
              <a:gd name="T108" fmla="*/ 747003 w 1346"/>
              <a:gd name="T109" fmla="*/ 315720 h 1152"/>
              <a:gd name="T110" fmla="*/ 798980 w 1346"/>
              <a:gd name="T111" fmla="*/ 291481 h 1152"/>
              <a:gd name="T112" fmla="*/ 792983 w 1346"/>
              <a:gd name="T113" fmla="*/ 267243 h 1152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346"/>
              <a:gd name="T172" fmla="*/ 0 h 1152"/>
              <a:gd name="T173" fmla="*/ 1346 w 1346"/>
              <a:gd name="T174" fmla="*/ 1152 h 1152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346" h="1152">
                <a:moveTo>
                  <a:pt x="1248" y="410"/>
                </a:moveTo>
                <a:lnTo>
                  <a:pt x="1238" y="420"/>
                </a:lnTo>
                <a:lnTo>
                  <a:pt x="1238" y="430"/>
                </a:lnTo>
                <a:lnTo>
                  <a:pt x="1238" y="439"/>
                </a:lnTo>
                <a:lnTo>
                  <a:pt x="1219" y="459"/>
                </a:lnTo>
                <a:lnTo>
                  <a:pt x="1209" y="469"/>
                </a:lnTo>
                <a:lnTo>
                  <a:pt x="1229" y="488"/>
                </a:lnTo>
                <a:lnTo>
                  <a:pt x="1238" y="508"/>
                </a:lnTo>
                <a:lnTo>
                  <a:pt x="1229" y="537"/>
                </a:lnTo>
                <a:lnTo>
                  <a:pt x="1258" y="556"/>
                </a:lnTo>
                <a:lnTo>
                  <a:pt x="1258" y="576"/>
                </a:lnTo>
                <a:lnTo>
                  <a:pt x="1268" y="576"/>
                </a:lnTo>
                <a:lnTo>
                  <a:pt x="1287" y="595"/>
                </a:lnTo>
                <a:lnTo>
                  <a:pt x="1317" y="625"/>
                </a:lnTo>
                <a:lnTo>
                  <a:pt x="1317" y="654"/>
                </a:lnTo>
                <a:lnTo>
                  <a:pt x="1317" y="673"/>
                </a:lnTo>
                <a:lnTo>
                  <a:pt x="1346" y="683"/>
                </a:lnTo>
                <a:lnTo>
                  <a:pt x="1346" y="703"/>
                </a:lnTo>
                <a:lnTo>
                  <a:pt x="1346" y="712"/>
                </a:lnTo>
                <a:lnTo>
                  <a:pt x="1326" y="712"/>
                </a:lnTo>
                <a:lnTo>
                  <a:pt x="1307" y="742"/>
                </a:lnTo>
                <a:lnTo>
                  <a:pt x="1278" y="771"/>
                </a:lnTo>
                <a:lnTo>
                  <a:pt x="1278" y="800"/>
                </a:lnTo>
                <a:lnTo>
                  <a:pt x="1258" y="800"/>
                </a:lnTo>
                <a:lnTo>
                  <a:pt x="1258" y="820"/>
                </a:lnTo>
                <a:lnTo>
                  <a:pt x="1248" y="830"/>
                </a:lnTo>
                <a:lnTo>
                  <a:pt x="1258" y="830"/>
                </a:lnTo>
                <a:lnTo>
                  <a:pt x="1258" y="849"/>
                </a:lnTo>
                <a:lnTo>
                  <a:pt x="1248" y="859"/>
                </a:lnTo>
                <a:lnTo>
                  <a:pt x="1238" y="878"/>
                </a:lnTo>
                <a:lnTo>
                  <a:pt x="1219" y="878"/>
                </a:lnTo>
                <a:lnTo>
                  <a:pt x="1209" y="878"/>
                </a:lnTo>
                <a:lnTo>
                  <a:pt x="1199" y="878"/>
                </a:lnTo>
                <a:lnTo>
                  <a:pt x="1190" y="888"/>
                </a:lnTo>
                <a:lnTo>
                  <a:pt x="1170" y="908"/>
                </a:lnTo>
                <a:lnTo>
                  <a:pt x="1151" y="917"/>
                </a:lnTo>
                <a:lnTo>
                  <a:pt x="1112" y="917"/>
                </a:lnTo>
                <a:lnTo>
                  <a:pt x="1102" y="947"/>
                </a:lnTo>
                <a:lnTo>
                  <a:pt x="1082" y="937"/>
                </a:lnTo>
                <a:lnTo>
                  <a:pt x="1082" y="927"/>
                </a:lnTo>
                <a:lnTo>
                  <a:pt x="1053" y="927"/>
                </a:lnTo>
                <a:lnTo>
                  <a:pt x="1053" y="937"/>
                </a:lnTo>
                <a:lnTo>
                  <a:pt x="1024" y="956"/>
                </a:lnTo>
                <a:lnTo>
                  <a:pt x="1004" y="947"/>
                </a:lnTo>
                <a:lnTo>
                  <a:pt x="975" y="947"/>
                </a:lnTo>
                <a:lnTo>
                  <a:pt x="956" y="937"/>
                </a:lnTo>
                <a:lnTo>
                  <a:pt x="956" y="927"/>
                </a:lnTo>
                <a:lnTo>
                  <a:pt x="946" y="917"/>
                </a:lnTo>
                <a:lnTo>
                  <a:pt x="926" y="927"/>
                </a:lnTo>
                <a:lnTo>
                  <a:pt x="897" y="917"/>
                </a:lnTo>
                <a:lnTo>
                  <a:pt x="878" y="927"/>
                </a:lnTo>
                <a:lnTo>
                  <a:pt x="868" y="927"/>
                </a:lnTo>
                <a:lnTo>
                  <a:pt x="878" y="908"/>
                </a:lnTo>
                <a:lnTo>
                  <a:pt x="868" y="888"/>
                </a:lnTo>
                <a:lnTo>
                  <a:pt x="848" y="878"/>
                </a:lnTo>
                <a:lnTo>
                  <a:pt x="819" y="898"/>
                </a:lnTo>
                <a:lnTo>
                  <a:pt x="780" y="888"/>
                </a:lnTo>
                <a:lnTo>
                  <a:pt x="770" y="898"/>
                </a:lnTo>
                <a:lnTo>
                  <a:pt x="751" y="898"/>
                </a:lnTo>
                <a:lnTo>
                  <a:pt x="741" y="908"/>
                </a:lnTo>
                <a:lnTo>
                  <a:pt x="722" y="908"/>
                </a:lnTo>
                <a:lnTo>
                  <a:pt x="692" y="937"/>
                </a:lnTo>
                <a:lnTo>
                  <a:pt x="663" y="947"/>
                </a:lnTo>
                <a:lnTo>
                  <a:pt x="653" y="956"/>
                </a:lnTo>
                <a:lnTo>
                  <a:pt x="643" y="966"/>
                </a:lnTo>
                <a:lnTo>
                  <a:pt x="643" y="995"/>
                </a:lnTo>
                <a:lnTo>
                  <a:pt x="624" y="1005"/>
                </a:lnTo>
                <a:lnTo>
                  <a:pt x="614" y="1025"/>
                </a:lnTo>
                <a:lnTo>
                  <a:pt x="604" y="1044"/>
                </a:lnTo>
                <a:lnTo>
                  <a:pt x="565" y="1044"/>
                </a:lnTo>
                <a:lnTo>
                  <a:pt x="556" y="1044"/>
                </a:lnTo>
                <a:lnTo>
                  <a:pt x="546" y="1054"/>
                </a:lnTo>
                <a:lnTo>
                  <a:pt x="546" y="1064"/>
                </a:lnTo>
                <a:lnTo>
                  <a:pt x="526" y="1083"/>
                </a:lnTo>
                <a:lnTo>
                  <a:pt x="517" y="1093"/>
                </a:lnTo>
                <a:lnTo>
                  <a:pt x="507" y="1103"/>
                </a:lnTo>
                <a:lnTo>
                  <a:pt x="497" y="1122"/>
                </a:lnTo>
                <a:lnTo>
                  <a:pt x="468" y="1142"/>
                </a:lnTo>
                <a:lnTo>
                  <a:pt x="419" y="1152"/>
                </a:lnTo>
                <a:lnTo>
                  <a:pt x="390" y="1142"/>
                </a:lnTo>
                <a:lnTo>
                  <a:pt x="370" y="1142"/>
                </a:lnTo>
                <a:lnTo>
                  <a:pt x="361" y="1142"/>
                </a:lnTo>
                <a:lnTo>
                  <a:pt x="322" y="1132"/>
                </a:lnTo>
                <a:lnTo>
                  <a:pt x="292" y="1122"/>
                </a:lnTo>
                <a:lnTo>
                  <a:pt x="263" y="1073"/>
                </a:lnTo>
                <a:lnTo>
                  <a:pt x="263" y="1044"/>
                </a:lnTo>
                <a:lnTo>
                  <a:pt x="234" y="1044"/>
                </a:lnTo>
                <a:lnTo>
                  <a:pt x="214" y="1044"/>
                </a:lnTo>
                <a:lnTo>
                  <a:pt x="214" y="1064"/>
                </a:lnTo>
                <a:lnTo>
                  <a:pt x="205" y="1064"/>
                </a:lnTo>
                <a:lnTo>
                  <a:pt x="205" y="1083"/>
                </a:lnTo>
                <a:lnTo>
                  <a:pt x="195" y="1083"/>
                </a:lnTo>
                <a:lnTo>
                  <a:pt x="166" y="1083"/>
                </a:lnTo>
                <a:lnTo>
                  <a:pt x="166" y="1113"/>
                </a:lnTo>
                <a:lnTo>
                  <a:pt x="156" y="1103"/>
                </a:lnTo>
                <a:lnTo>
                  <a:pt x="127" y="1044"/>
                </a:lnTo>
                <a:lnTo>
                  <a:pt x="127" y="1025"/>
                </a:lnTo>
                <a:lnTo>
                  <a:pt x="117" y="1015"/>
                </a:lnTo>
                <a:lnTo>
                  <a:pt x="127" y="1005"/>
                </a:lnTo>
                <a:lnTo>
                  <a:pt x="117" y="986"/>
                </a:lnTo>
                <a:lnTo>
                  <a:pt x="107" y="995"/>
                </a:lnTo>
                <a:lnTo>
                  <a:pt x="97" y="956"/>
                </a:lnTo>
                <a:lnTo>
                  <a:pt x="97" y="947"/>
                </a:lnTo>
                <a:lnTo>
                  <a:pt x="117" y="947"/>
                </a:lnTo>
                <a:lnTo>
                  <a:pt x="117" y="937"/>
                </a:lnTo>
                <a:lnTo>
                  <a:pt x="117" y="927"/>
                </a:lnTo>
                <a:lnTo>
                  <a:pt x="97" y="917"/>
                </a:lnTo>
                <a:lnTo>
                  <a:pt x="107" y="908"/>
                </a:lnTo>
                <a:lnTo>
                  <a:pt x="117" y="898"/>
                </a:lnTo>
                <a:lnTo>
                  <a:pt x="107" y="878"/>
                </a:lnTo>
                <a:lnTo>
                  <a:pt x="97" y="878"/>
                </a:lnTo>
                <a:lnTo>
                  <a:pt x="117" y="849"/>
                </a:lnTo>
                <a:lnTo>
                  <a:pt x="97" y="839"/>
                </a:lnTo>
                <a:lnTo>
                  <a:pt x="87" y="849"/>
                </a:lnTo>
                <a:lnTo>
                  <a:pt x="78" y="859"/>
                </a:lnTo>
                <a:lnTo>
                  <a:pt x="68" y="859"/>
                </a:lnTo>
                <a:lnTo>
                  <a:pt x="48" y="849"/>
                </a:lnTo>
                <a:lnTo>
                  <a:pt x="29" y="830"/>
                </a:lnTo>
                <a:lnTo>
                  <a:pt x="19" y="830"/>
                </a:lnTo>
                <a:lnTo>
                  <a:pt x="19" y="820"/>
                </a:lnTo>
                <a:lnTo>
                  <a:pt x="19" y="800"/>
                </a:lnTo>
                <a:lnTo>
                  <a:pt x="9" y="791"/>
                </a:lnTo>
                <a:lnTo>
                  <a:pt x="0" y="781"/>
                </a:lnTo>
                <a:lnTo>
                  <a:pt x="0" y="761"/>
                </a:lnTo>
                <a:lnTo>
                  <a:pt x="9" y="761"/>
                </a:lnTo>
                <a:lnTo>
                  <a:pt x="29" y="742"/>
                </a:lnTo>
                <a:lnTo>
                  <a:pt x="39" y="742"/>
                </a:lnTo>
                <a:lnTo>
                  <a:pt x="48" y="742"/>
                </a:lnTo>
                <a:lnTo>
                  <a:pt x="58" y="732"/>
                </a:lnTo>
                <a:lnTo>
                  <a:pt x="87" y="722"/>
                </a:lnTo>
                <a:lnTo>
                  <a:pt x="97" y="712"/>
                </a:lnTo>
                <a:lnTo>
                  <a:pt x="97" y="673"/>
                </a:lnTo>
                <a:lnTo>
                  <a:pt x="107" y="654"/>
                </a:lnTo>
                <a:lnTo>
                  <a:pt x="97" y="644"/>
                </a:lnTo>
                <a:lnTo>
                  <a:pt x="87" y="634"/>
                </a:lnTo>
                <a:lnTo>
                  <a:pt x="68" y="605"/>
                </a:lnTo>
                <a:lnTo>
                  <a:pt x="68" y="586"/>
                </a:lnTo>
                <a:lnTo>
                  <a:pt x="78" y="576"/>
                </a:lnTo>
                <a:lnTo>
                  <a:pt x="87" y="576"/>
                </a:lnTo>
                <a:lnTo>
                  <a:pt x="97" y="576"/>
                </a:lnTo>
                <a:lnTo>
                  <a:pt x="127" y="547"/>
                </a:lnTo>
                <a:lnTo>
                  <a:pt x="117" y="547"/>
                </a:lnTo>
                <a:lnTo>
                  <a:pt x="97" y="527"/>
                </a:lnTo>
                <a:lnTo>
                  <a:pt x="87" y="517"/>
                </a:lnTo>
                <a:lnTo>
                  <a:pt x="78" y="508"/>
                </a:lnTo>
                <a:lnTo>
                  <a:pt x="87" y="498"/>
                </a:lnTo>
                <a:lnTo>
                  <a:pt x="87" y="488"/>
                </a:lnTo>
                <a:lnTo>
                  <a:pt x="107" y="488"/>
                </a:lnTo>
                <a:lnTo>
                  <a:pt x="117" y="498"/>
                </a:lnTo>
                <a:lnTo>
                  <a:pt x="136" y="517"/>
                </a:lnTo>
                <a:lnTo>
                  <a:pt x="136" y="527"/>
                </a:lnTo>
                <a:lnTo>
                  <a:pt x="156" y="537"/>
                </a:lnTo>
                <a:lnTo>
                  <a:pt x="156" y="547"/>
                </a:lnTo>
                <a:lnTo>
                  <a:pt x="156" y="556"/>
                </a:lnTo>
                <a:lnTo>
                  <a:pt x="166" y="566"/>
                </a:lnTo>
                <a:lnTo>
                  <a:pt x="166" y="586"/>
                </a:lnTo>
                <a:lnTo>
                  <a:pt x="175" y="595"/>
                </a:lnTo>
                <a:lnTo>
                  <a:pt x="195" y="595"/>
                </a:lnTo>
                <a:lnTo>
                  <a:pt x="224" y="595"/>
                </a:lnTo>
                <a:lnTo>
                  <a:pt x="234" y="605"/>
                </a:lnTo>
                <a:lnTo>
                  <a:pt x="234" y="615"/>
                </a:lnTo>
                <a:lnTo>
                  <a:pt x="224" y="625"/>
                </a:lnTo>
                <a:lnTo>
                  <a:pt x="214" y="634"/>
                </a:lnTo>
                <a:lnTo>
                  <a:pt x="205" y="644"/>
                </a:lnTo>
                <a:lnTo>
                  <a:pt x="195" y="644"/>
                </a:lnTo>
                <a:lnTo>
                  <a:pt x="185" y="644"/>
                </a:lnTo>
                <a:lnTo>
                  <a:pt x="185" y="664"/>
                </a:lnTo>
                <a:lnTo>
                  <a:pt x="175" y="673"/>
                </a:lnTo>
                <a:lnTo>
                  <a:pt x="166" y="683"/>
                </a:lnTo>
                <a:lnTo>
                  <a:pt x="175" y="683"/>
                </a:lnTo>
                <a:lnTo>
                  <a:pt x="175" y="703"/>
                </a:lnTo>
                <a:lnTo>
                  <a:pt x="166" y="703"/>
                </a:lnTo>
                <a:lnTo>
                  <a:pt x="166" y="712"/>
                </a:lnTo>
                <a:lnTo>
                  <a:pt x="185" y="703"/>
                </a:lnTo>
                <a:lnTo>
                  <a:pt x="185" y="693"/>
                </a:lnTo>
                <a:lnTo>
                  <a:pt x="205" y="683"/>
                </a:lnTo>
                <a:lnTo>
                  <a:pt x="214" y="693"/>
                </a:lnTo>
                <a:lnTo>
                  <a:pt x="214" y="703"/>
                </a:lnTo>
                <a:lnTo>
                  <a:pt x="205" y="703"/>
                </a:lnTo>
                <a:lnTo>
                  <a:pt x="195" y="712"/>
                </a:lnTo>
                <a:lnTo>
                  <a:pt x="185" y="732"/>
                </a:lnTo>
                <a:lnTo>
                  <a:pt x="185" y="742"/>
                </a:lnTo>
                <a:lnTo>
                  <a:pt x="166" y="761"/>
                </a:lnTo>
                <a:lnTo>
                  <a:pt x="166" y="771"/>
                </a:lnTo>
                <a:lnTo>
                  <a:pt x="166" y="781"/>
                </a:lnTo>
                <a:lnTo>
                  <a:pt x="175" y="771"/>
                </a:lnTo>
                <a:lnTo>
                  <a:pt x="175" y="781"/>
                </a:lnTo>
                <a:lnTo>
                  <a:pt x="185" y="791"/>
                </a:lnTo>
                <a:lnTo>
                  <a:pt x="185" y="820"/>
                </a:lnTo>
                <a:lnTo>
                  <a:pt x="205" y="830"/>
                </a:lnTo>
                <a:lnTo>
                  <a:pt x="205" y="849"/>
                </a:lnTo>
                <a:lnTo>
                  <a:pt x="224" y="849"/>
                </a:lnTo>
                <a:lnTo>
                  <a:pt x="214" y="839"/>
                </a:lnTo>
                <a:lnTo>
                  <a:pt x="214" y="830"/>
                </a:lnTo>
                <a:lnTo>
                  <a:pt x="205" y="810"/>
                </a:lnTo>
                <a:lnTo>
                  <a:pt x="195" y="791"/>
                </a:lnTo>
                <a:lnTo>
                  <a:pt x="185" y="791"/>
                </a:lnTo>
                <a:lnTo>
                  <a:pt x="185" y="771"/>
                </a:lnTo>
                <a:lnTo>
                  <a:pt x="185" y="761"/>
                </a:lnTo>
                <a:lnTo>
                  <a:pt x="205" y="761"/>
                </a:lnTo>
                <a:lnTo>
                  <a:pt x="214" y="752"/>
                </a:lnTo>
                <a:lnTo>
                  <a:pt x="214" y="712"/>
                </a:lnTo>
                <a:lnTo>
                  <a:pt x="214" y="693"/>
                </a:lnTo>
                <a:lnTo>
                  <a:pt x="214" y="683"/>
                </a:lnTo>
                <a:lnTo>
                  <a:pt x="214" y="673"/>
                </a:lnTo>
                <a:lnTo>
                  <a:pt x="214" y="664"/>
                </a:lnTo>
                <a:lnTo>
                  <a:pt x="234" y="644"/>
                </a:lnTo>
                <a:lnTo>
                  <a:pt x="234" y="634"/>
                </a:lnTo>
                <a:lnTo>
                  <a:pt x="244" y="634"/>
                </a:lnTo>
                <a:lnTo>
                  <a:pt x="244" y="625"/>
                </a:lnTo>
                <a:lnTo>
                  <a:pt x="244" y="605"/>
                </a:lnTo>
                <a:lnTo>
                  <a:pt x="234" y="586"/>
                </a:lnTo>
                <a:lnTo>
                  <a:pt x="214" y="576"/>
                </a:lnTo>
                <a:lnTo>
                  <a:pt x="214" y="566"/>
                </a:lnTo>
                <a:lnTo>
                  <a:pt x="214" y="556"/>
                </a:lnTo>
                <a:lnTo>
                  <a:pt x="214" y="547"/>
                </a:lnTo>
                <a:lnTo>
                  <a:pt x="195" y="527"/>
                </a:lnTo>
                <a:lnTo>
                  <a:pt x="175" y="508"/>
                </a:lnTo>
                <a:lnTo>
                  <a:pt x="175" y="488"/>
                </a:lnTo>
                <a:lnTo>
                  <a:pt x="175" y="469"/>
                </a:lnTo>
                <a:lnTo>
                  <a:pt x="185" y="449"/>
                </a:lnTo>
                <a:lnTo>
                  <a:pt x="185" y="439"/>
                </a:lnTo>
                <a:lnTo>
                  <a:pt x="185" y="430"/>
                </a:lnTo>
                <a:lnTo>
                  <a:pt x="185" y="420"/>
                </a:lnTo>
                <a:lnTo>
                  <a:pt x="195" y="420"/>
                </a:lnTo>
                <a:lnTo>
                  <a:pt x="185" y="410"/>
                </a:lnTo>
                <a:lnTo>
                  <a:pt x="195" y="400"/>
                </a:lnTo>
                <a:lnTo>
                  <a:pt x="205" y="391"/>
                </a:lnTo>
                <a:lnTo>
                  <a:pt x="214" y="391"/>
                </a:lnTo>
                <a:lnTo>
                  <a:pt x="253" y="391"/>
                </a:lnTo>
                <a:lnTo>
                  <a:pt x="302" y="391"/>
                </a:lnTo>
                <a:lnTo>
                  <a:pt x="341" y="391"/>
                </a:lnTo>
                <a:lnTo>
                  <a:pt x="361" y="391"/>
                </a:lnTo>
                <a:lnTo>
                  <a:pt x="351" y="410"/>
                </a:lnTo>
                <a:lnTo>
                  <a:pt x="361" y="410"/>
                </a:lnTo>
                <a:lnTo>
                  <a:pt x="370" y="400"/>
                </a:lnTo>
                <a:lnTo>
                  <a:pt x="380" y="391"/>
                </a:lnTo>
                <a:lnTo>
                  <a:pt x="390" y="391"/>
                </a:lnTo>
                <a:lnTo>
                  <a:pt x="400" y="391"/>
                </a:lnTo>
                <a:lnTo>
                  <a:pt x="400" y="400"/>
                </a:lnTo>
                <a:lnTo>
                  <a:pt x="409" y="391"/>
                </a:lnTo>
                <a:lnTo>
                  <a:pt x="419" y="400"/>
                </a:lnTo>
                <a:lnTo>
                  <a:pt x="419" y="410"/>
                </a:lnTo>
                <a:lnTo>
                  <a:pt x="419" y="391"/>
                </a:lnTo>
                <a:lnTo>
                  <a:pt x="429" y="381"/>
                </a:lnTo>
                <a:lnTo>
                  <a:pt x="419" y="371"/>
                </a:lnTo>
                <a:lnTo>
                  <a:pt x="419" y="351"/>
                </a:lnTo>
                <a:lnTo>
                  <a:pt x="400" y="351"/>
                </a:lnTo>
                <a:lnTo>
                  <a:pt x="390" y="351"/>
                </a:lnTo>
                <a:lnTo>
                  <a:pt x="400" y="342"/>
                </a:lnTo>
                <a:lnTo>
                  <a:pt x="419" y="332"/>
                </a:lnTo>
                <a:lnTo>
                  <a:pt x="419" y="342"/>
                </a:lnTo>
                <a:lnTo>
                  <a:pt x="429" y="351"/>
                </a:lnTo>
                <a:lnTo>
                  <a:pt x="429" y="342"/>
                </a:lnTo>
                <a:lnTo>
                  <a:pt x="419" y="332"/>
                </a:lnTo>
                <a:lnTo>
                  <a:pt x="419" y="312"/>
                </a:lnTo>
                <a:lnTo>
                  <a:pt x="409" y="312"/>
                </a:lnTo>
                <a:lnTo>
                  <a:pt x="400" y="303"/>
                </a:lnTo>
                <a:lnTo>
                  <a:pt x="409" y="303"/>
                </a:lnTo>
                <a:lnTo>
                  <a:pt x="409" y="283"/>
                </a:lnTo>
                <a:lnTo>
                  <a:pt x="419" y="293"/>
                </a:lnTo>
                <a:lnTo>
                  <a:pt x="419" y="303"/>
                </a:lnTo>
                <a:lnTo>
                  <a:pt x="419" y="312"/>
                </a:lnTo>
                <a:lnTo>
                  <a:pt x="429" y="322"/>
                </a:lnTo>
                <a:lnTo>
                  <a:pt x="429" y="303"/>
                </a:lnTo>
                <a:lnTo>
                  <a:pt x="439" y="303"/>
                </a:lnTo>
                <a:lnTo>
                  <a:pt x="448" y="293"/>
                </a:lnTo>
                <a:lnTo>
                  <a:pt x="448" y="283"/>
                </a:lnTo>
                <a:lnTo>
                  <a:pt x="458" y="283"/>
                </a:lnTo>
                <a:lnTo>
                  <a:pt x="458" y="273"/>
                </a:lnTo>
                <a:lnTo>
                  <a:pt x="448" y="273"/>
                </a:lnTo>
                <a:lnTo>
                  <a:pt x="448" y="264"/>
                </a:lnTo>
                <a:lnTo>
                  <a:pt x="458" y="264"/>
                </a:lnTo>
                <a:lnTo>
                  <a:pt x="468" y="264"/>
                </a:lnTo>
                <a:lnTo>
                  <a:pt x="478" y="273"/>
                </a:lnTo>
                <a:lnTo>
                  <a:pt x="487" y="264"/>
                </a:lnTo>
                <a:lnTo>
                  <a:pt x="507" y="244"/>
                </a:lnTo>
                <a:lnTo>
                  <a:pt x="507" y="234"/>
                </a:lnTo>
                <a:lnTo>
                  <a:pt x="526" y="234"/>
                </a:lnTo>
                <a:lnTo>
                  <a:pt x="526" y="244"/>
                </a:lnTo>
                <a:lnTo>
                  <a:pt x="546" y="234"/>
                </a:lnTo>
                <a:lnTo>
                  <a:pt x="556" y="225"/>
                </a:lnTo>
                <a:lnTo>
                  <a:pt x="575" y="215"/>
                </a:lnTo>
                <a:lnTo>
                  <a:pt x="575" y="225"/>
                </a:lnTo>
                <a:lnTo>
                  <a:pt x="595" y="225"/>
                </a:lnTo>
                <a:lnTo>
                  <a:pt x="604" y="215"/>
                </a:lnTo>
                <a:lnTo>
                  <a:pt x="624" y="215"/>
                </a:lnTo>
                <a:lnTo>
                  <a:pt x="634" y="215"/>
                </a:lnTo>
                <a:lnTo>
                  <a:pt x="643" y="215"/>
                </a:lnTo>
                <a:lnTo>
                  <a:pt x="653" y="215"/>
                </a:lnTo>
                <a:lnTo>
                  <a:pt x="663" y="215"/>
                </a:lnTo>
                <a:lnTo>
                  <a:pt x="673" y="215"/>
                </a:lnTo>
                <a:lnTo>
                  <a:pt x="673" y="205"/>
                </a:lnTo>
                <a:lnTo>
                  <a:pt x="653" y="205"/>
                </a:lnTo>
                <a:lnTo>
                  <a:pt x="643" y="205"/>
                </a:lnTo>
                <a:lnTo>
                  <a:pt x="643" y="195"/>
                </a:lnTo>
                <a:lnTo>
                  <a:pt x="643" y="186"/>
                </a:lnTo>
                <a:lnTo>
                  <a:pt x="653" y="176"/>
                </a:lnTo>
                <a:lnTo>
                  <a:pt x="663" y="186"/>
                </a:lnTo>
                <a:lnTo>
                  <a:pt x="673" y="186"/>
                </a:lnTo>
                <a:lnTo>
                  <a:pt x="673" y="176"/>
                </a:lnTo>
                <a:lnTo>
                  <a:pt x="683" y="176"/>
                </a:lnTo>
                <a:lnTo>
                  <a:pt x="683" y="186"/>
                </a:lnTo>
                <a:lnTo>
                  <a:pt x="692" y="186"/>
                </a:lnTo>
                <a:lnTo>
                  <a:pt x="702" y="186"/>
                </a:lnTo>
                <a:lnTo>
                  <a:pt x="712" y="186"/>
                </a:lnTo>
                <a:lnTo>
                  <a:pt x="722" y="186"/>
                </a:lnTo>
                <a:lnTo>
                  <a:pt x="731" y="186"/>
                </a:lnTo>
                <a:lnTo>
                  <a:pt x="741" y="186"/>
                </a:lnTo>
                <a:lnTo>
                  <a:pt x="741" y="195"/>
                </a:lnTo>
                <a:lnTo>
                  <a:pt x="731" y="205"/>
                </a:lnTo>
                <a:lnTo>
                  <a:pt x="731" y="215"/>
                </a:lnTo>
                <a:lnTo>
                  <a:pt x="741" y="205"/>
                </a:lnTo>
                <a:lnTo>
                  <a:pt x="751" y="205"/>
                </a:lnTo>
                <a:lnTo>
                  <a:pt x="751" y="215"/>
                </a:lnTo>
                <a:lnTo>
                  <a:pt x="761" y="205"/>
                </a:lnTo>
                <a:lnTo>
                  <a:pt x="770" y="205"/>
                </a:lnTo>
                <a:lnTo>
                  <a:pt x="780" y="205"/>
                </a:lnTo>
                <a:lnTo>
                  <a:pt x="790" y="205"/>
                </a:lnTo>
                <a:lnTo>
                  <a:pt x="790" y="195"/>
                </a:lnTo>
                <a:lnTo>
                  <a:pt x="800" y="186"/>
                </a:lnTo>
                <a:lnTo>
                  <a:pt x="800" y="176"/>
                </a:lnTo>
                <a:lnTo>
                  <a:pt x="809" y="176"/>
                </a:lnTo>
                <a:lnTo>
                  <a:pt x="819" y="166"/>
                </a:lnTo>
                <a:lnTo>
                  <a:pt x="839" y="176"/>
                </a:lnTo>
                <a:lnTo>
                  <a:pt x="848" y="186"/>
                </a:lnTo>
                <a:lnTo>
                  <a:pt x="858" y="195"/>
                </a:lnTo>
                <a:lnTo>
                  <a:pt x="858" y="176"/>
                </a:lnTo>
                <a:lnTo>
                  <a:pt x="839" y="176"/>
                </a:lnTo>
                <a:lnTo>
                  <a:pt x="839" y="156"/>
                </a:lnTo>
                <a:lnTo>
                  <a:pt x="829" y="156"/>
                </a:lnTo>
                <a:lnTo>
                  <a:pt x="829" y="137"/>
                </a:lnTo>
                <a:lnTo>
                  <a:pt x="839" y="137"/>
                </a:lnTo>
                <a:lnTo>
                  <a:pt x="848" y="147"/>
                </a:lnTo>
                <a:lnTo>
                  <a:pt x="868" y="147"/>
                </a:lnTo>
                <a:lnTo>
                  <a:pt x="878" y="147"/>
                </a:lnTo>
                <a:lnTo>
                  <a:pt x="887" y="137"/>
                </a:lnTo>
                <a:lnTo>
                  <a:pt x="897" y="147"/>
                </a:lnTo>
                <a:lnTo>
                  <a:pt x="907" y="156"/>
                </a:lnTo>
                <a:lnTo>
                  <a:pt x="926" y="156"/>
                </a:lnTo>
                <a:lnTo>
                  <a:pt x="917" y="147"/>
                </a:lnTo>
                <a:lnTo>
                  <a:pt x="907" y="137"/>
                </a:lnTo>
                <a:lnTo>
                  <a:pt x="897" y="137"/>
                </a:lnTo>
                <a:lnTo>
                  <a:pt x="897" y="108"/>
                </a:lnTo>
                <a:lnTo>
                  <a:pt x="887" y="108"/>
                </a:lnTo>
                <a:lnTo>
                  <a:pt x="887" y="98"/>
                </a:lnTo>
                <a:lnTo>
                  <a:pt x="887" y="88"/>
                </a:lnTo>
                <a:lnTo>
                  <a:pt x="897" y="88"/>
                </a:lnTo>
                <a:lnTo>
                  <a:pt x="897" y="78"/>
                </a:lnTo>
                <a:lnTo>
                  <a:pt x="897" y="69"/>
                </a:lnTo>
                <a:lnTo>
                  <a:pt x="907" y="59"/>
                </a:lnTo>
                <a:lnTo>
                  <a:pt x="917" y="39"/>
                </a:lnTo>
                <a:lnTo>
                  <a:pt x="926" y="49"/>
                </a:lnTo>
                <a:lnTo>
                  <a:pt x="926" y="30"/>
                </a:lnTo>
                <a:lnTo>
                  <a:pt x="936" y="20"/>
                </a:lnTo>
                <a:lnTo>
                  <a:pt x="946" y="10"/>
                </a:lnTo>
                <a:lnTo>
                  <a:pt x="956" y="10"/>
                </a:lnTo>
                <a:lnTo>
                  <a:pt x="965" y="10"/>
                </a:lnTo>
                <a:lnTo>
                  <a:pt x="965" y="0"/>
                </a:lnTo>
                <a:lnTo>
                  <a:pt x="975" y="0"/>
                </a:lnTo>
                <a:lnTo>
                  <a:pt x="975" y="10"/>
                </a:lnTo>
                <a:lnTo>
                  <a:pt x="995" y="10"/>
                </a:lnTo>
                <a:lnTo>
                  <a:pt x="1004" y="20"/>
                </a:lnTo>
                <a:lnTo>
                  <a:pt x="1014" y="20"/>
                </a:lnTo>
                <a:lnTo>
                  <a:pt x="1024" y="10"/>
                </a:lnTo>
                <a:lnTo>
                  <a:pt x="1024" y="30"/>
                </a:lnTo>
                <a:lnTo>
                  <a:pt x="1034" y="39"/>
                </a:lnTo>
                <a:lnTo>
                  <a:pt x="1024" y="39"/>
                </a:lnTo>
                <a:lnTo>
                  <a:pt x="1014" y="49"/>
                </a:lnTo>
                <a:lnTo>
                  <a:pt x="1004" y="59"/>
                </a:lnTo>
                <a:lnTo>
                  <a:pt x="995" y="59"/>
                </a:lnTo>
                <a:lnTo>
                  <a:pt x="985" y="69"/>
                </a:lnTo>
                <a:lnTo>
                  <a:pt x="1014" y="69"/>
                </a:lnTo>
                <a:lnTo>
                  <a:pt x="1024" y="69"/>
                </a:lnTo>
                <a:lnTo>
                  <a:pt x="1014" y="78"/>
                </a:lnTo>
                <a:lnTo>
                  <a:pt x="1024" y="78"/>
                </a:lnTo>
                <a:lnTo>
                  <a:pt x="1043" y="69"/>
                </a:lnTo>
                <a:lnTo>
                  <a:pt x="1053" y="78"/>
                </a:lnTo>
                <a:lnTo>
                  <a:pt x="1073" y="78"/>
                </a:lnTo>
                <a:lnTo>
                  <a:pt x="1073" y="88"/>
                </a:lnTo>
                <a:lnTo>
                  <a:pt x="1063" y="98"/>
                </a:lnTo>
                <a:lnTo>
                  <a:pt x="1053" y="108"/>
                </a:lnTo>
                <a:lnTo>
                  <a:pt x="1053" y="127"/>
                </a:lnTo>
                <a:lnTo>
                  <a:pt x="1053" y="137"/>
                </a:lnTo>
                <a:lnTo>
                  <a:pt x="1063" y="127"/>
                </a:lnTo>
                <a:lnTo>
                  <a:pt x="1073" y="127"/>
                </a:lnTo>
                <a:lnTo>
                  <a:pt x="1092" y="127"/>
                </a:lnTo>
                <a:lnTo>
                  <a:pt x="1092" y="117"/>
                </a:lnTo>
                <a:lnTo>
                  <a:pt x="1092" y="108"/>
                </a:lnTo>
                <a:lnTo>
                  <a:pt x="1102" y="98"/>
                </a:lnTo>
                <a:lnTo>
                  <a:pt x="1112" y="98"/>
                </a:lnTo>
                <a:lnTo>
                  <a:pt x="1121" y="98"/>
                </a:lnTo>
                <a:lnTo>
                  <a:pt x="1131" y="98"/>
                </a:lnTo>
                <a:lnTo>
                  <a:pt x="1141" y="98"/>
                </a:lnTo>
                <a:lnTo>
                  <a:pt x="1151" y="98"/>
                </a:lnTo>
                <a:lnTo>
                  <a:pt x="1160" y="88"/>
                </a:lnTo>
                <a:lnTo>
                  <a:pt x="1170" y="88"/>
                </a:lnTo>
                <a:lnTo>
                  <a:pt x="1180" y="88"/>
                </a:lnTo>
                <a:lnTo>
                  <a:pt x="1190" y="98"/>
                </a:lnTo>
                <a:lnTo>
                  <a:pt x="1199" y="98"/>
                </a:lnTo>
                <a:lnTo>
                  <a:pt x="1199" y="108"/>
                </a:lnTo>
                <a:lnTo>
                  <a:pt x="1209" y="108"/>
                </a:lnTo>
                <a:lnTo>
                  <a:pt x="1219" y="117"/>
                </a:lnTo>
                <a:lnTo>
                  <a:pt x="1219" y="127"/>
                </a:lnTo>
                <a:lnTo>
                  <a:pt x="1238" y="127"/>
                </a:lnTo>
                <a:lnTo>
                  <a:pt x="1238" y="137"/>
                </a:lnTo>
                <a:lnTo>
                  <a:pt x="1238" y="147"/>
                </a:lnTo>
                <a:lnTo>
                  <a:pt x="1248" y="147"/>
                </a:lnTo>
                <a:lnTo>
                  <a:pt x="1248" y="156"/>
                </a:lnTo>
                <a:lnTo>
                  <a:pt x="1258" y="156"/>
                </a:lnTo>
                <a:lnTo>
                  <a:pt x="1258" y="147"/>
                </a:lnTo>
                <a:lnTo>
                  <a:pt x="1248" y="137"/>
                </a:lnTo>
                <a:lnTo>
                  <a:pt x="1258" y="127"/>
                </a:lnTo>
                <a:lnTo>
                  <a:pt x="1258" y="137"/>
                </a:lnTo>
                <a:lnTo>
                  <a:pt x="1268" y="147"/>
                </a:lnTo>
                <a:lnTo>
                  <a:pt x="1268" y="156"/>
                </a:lnTo>
                <a:lnTo>
                  <a:pt x="1278" y="176"/>
                </a:lnTo>
                <a:lnTo>
                  <a:pt x="1287" y="166"/>
                </a:lnTo>
                <a:lnTo>
                  <a:pt x="1287" y="186"/>
                </a:lnTo>
                <a:lnTo>
                  <a:pt x="1287" y="205"/>
                </a:lnTo>
                <a:lnTo>
                  <a:pt x="1278" y="205"/>
                </a:lnTo>
                <a:lnTo>
                  <a:pt x="1278" y="195"/>
                </a:lnTo>
                <a:lnTo>
                  <a:pt x="1258" y="195"/>
                </a:lnTo>
                <a:lnTo>
                  <a:pt x="1258" y="186"/>
                </a:lnTo>
                <a:lnTo>
                  <a:pt x="1248" y="186"/>
                </a:lnTo>
                <a:lnTo>
                  <a:pt x="1248" y="195"/>
                </a:lnTo>
                <a:lnTo>
                  <a:pt x="1258" y="205"/>
                </a:lnTo>
                <a:lnTo>
                  <a:pt x="1258" y="215"/>
                </a:lnTo>
                <a:lnTo>
                  <a:pt x="1268" y="205"/>
                </a:lnTo>
                <a:lnTo>
                  <a:pt x="1278" y="215"/>
                </a:lnTo>
                <a:lnTo>
                  <a:pt x="1287" y="215"/>
                </a:lnTo>
                <a:lnTo>
                  <a:pt x="1297" y="234"/>
                </a:lnTo>
                <a:lnTo>
                  <a:pt x="1297" y="244"/>
                </a:lnTo>
                <a:lnTo>
                  <a:pt x="1287" y="264"/>
                </a:lnTo>
                <a:lnTo>
                  <a:pt x="1287" y="273"/>
                </a:lnTo>
                <a:lnTo>
                  <a:pt x="1278" y="283"/>
                </a:lnTo>
                <a:lnTo>
                  <a:pt x="1258" y="293"/>
                </a:lnTo>
                <a:lnTo>
                  <a:pt x="1258" y="303"/>
                </a:lnTo>
                <a:lnTo>
                  <a:pt x="1258" y="322"/>
                </a:lnTo>
                <a:lnTo>
                  <a:pt x="1229" y="322"/>
                </a:lnTo>
                <a:lnTo>
                  <a:pt x="1229" y="332"/>
                </a:lnTo>
                <a:lnTo>
                  <a:pt x="1209" y="342"/>
                </a:lnTo>
                <a:lnTo>
                  <a:pt x="1209" y="351"/>
                </a:lnTo>
                <a:lnTo>
                  <a:pt x="1199" y="361"/>
                </a:lnTo>
                <a:lnTo>
                  <a:pt x="1190" y="361"/>
                </a:lnTo>
                <a:lnTo>
                  <a:pt x="1180" y="371"/>
                </a:lnTo>
                <a:lnTo>
                  <a:pt x="1199" y="371"/>
                </a:lnTo>
                <a:lnTo>
                  <a:pt x="1199" y="381"/>
                </a:lnTo>
                <a:lnTo>
                  <a:pt x="1190" y="391"/>
                </a:lnTo>
                <a:lnTo>
                  <a:pt x="1170" y="410"/>
                </a:lnTo>
                <a:lnTo>
                  <a:pt x="1160" y="420"/>
                </a:lnTo>
                <a:lnTo>
                  <a:pt x="1151" y="430"/>
                </a:lnTo>
                <a:lnTo>
                  <a:pt x="1151" y="449"/>
                </a:lnTo>
                <a:lnTo>
                  <a:pt x="1131" y="449"/>
                </a:lnTo>
                <a:lnTo>
                  <a:pt x="1121" y="449"/>
                </a:lnTo>
                <a:lnTo>
                  <a:pt x="1112" y="459"/>
                </a:lnTo>
                <a:lnTo>
                  <a:pt x="1112" y="469"/>
                </a:lnTo>
                <a:lnTo>
                  <a:pt x="1112" y="478"/>
                </a:lnTo>
                <a:lnTo>
                  <a:pt x="1102" y="488"/>
                </a:lnTo>
                <a:lnTo>
                  <a:pt x="1082" y="488"/>
                </a:lnTo>
                <a:lnTo>
                  <a:pt x="1073" y="498"/>
                </a:lnTo>
                <a:lnTo>
                  <a:pt x="1073" y="527"/>
                </a:lnTo>
                <a:lnTo>
                  <a:pt x="1063" y="537"/>
                </a:lnTo>
                <a:lnTo>
                  <a:pt x="1043" y="556"/>
                </a:lnTo>
                <a:lnTo>
                  <a:pt x="1063" y="556"/>
                </a:lnTo>
                <a:lnTo>
                  <a:pt x="1073" y="556"/>
                </a:lnTo>
                <a:lnTo>
                  <a:pt x="1073" y="547"/>
                </a:lnTo>
                <a:lnTo>
                  <a:pt x="1082" y="537"/>
                </a:lnTo>
                <a:lnTo>
                  <a:pt x="1082" y="517"/>
                </a:lnTo>
                <a:lnTo>
                  <a:pt x="1082" y="508"/>
                </a:lnTo>
                <a:lnTo>
                  <a:pt x="1121" y="508"/>
                </a:lnTo>
                <a:lnTo>
                  <a:pt x="1141" y="508"/>
                </a:lnTo>
                <a:lnTo>
                  <a:pt x="1141" y="498"/>
                </a:lnTo>
                <a:lnTo>
                  <a:pt x="1151" y="498"/>
                </a:lnTo>
                <a:lnTo>
                  <a:pt x="1160" y="488"/>
                </a:lnTo>
                <a:lnTo>
                  <a:pt x="1170" y="478"/>
                </a:lnTo>
                <a:lnTo>
                  <a:pt x="1180" y="478"/>
                </a:lnTo>
                <a:lnTo>
                  <a:pt x="1180" y="459"/>
                </a:lnTo>
                <a:lnTo>
                  <a:pt x="1199" y="469"/>
                </a:lnTo>
                <a:lnTo>
                  <a:pt x="1209" y="459"/>
                </a:lnTo>
                <a:lnTo>
                  <a:pt x="1219" y="449"/>
                </a:lnTo>
                <a:lnTo>
                  <a:pt x="1219" y="439"/>
                </a:lnTo>
                <a:lnTo>
                  <a:pt x="1229" y="439"/>
                </a:lnTo>
                <a:lnTo>
                  <a:pt x="1229" y="420"/>
                </a:lnTo>
                <a:lnTo>
                  <a:pt x="1219" y="430"/>
                </a:lnTo>
                <a:lnTo>
                  <a:pt x="1209" y="430"/>
                </a:lnTo>
                <a:lnTo>
                  <a:pt x="1199" y="439"/>
                </a:lnTo>
                <a:lnTo>
                  <a:pt x="1190" y="430"/>
                </a:lnTo>
                <a:lnTo>
                  <a:pt x="1190" y="420"/>
                </a:lnTo>
                <a:lnTo>
                  <a:pt x="1199" y="410"/>
                </a:lnTo>
                <a:lnTo>
                  <a:pt x="1199" y="400"/>
                </a:lnTo>
                <a:lnTo>
                  <a:pt x="1209" y="391"/>
                </a:lnTo>
                <a:lnTo>
                  <a:pt x="1219" y="400"/>
                </a:lnTo>
                <a:lnTo>
                  <a:pt x="1229" y="410"/>
                </a:lnTo>
                <a:lnTo>
                  <a:pt x="1238" y="410"/>
                </a:lnTo>
                <a:lnTo>
                  <a:pt x="1248" y="410"/>
                </a:lnTo>
                <a:close/>
              </a:path>
            </a:pathLst>
          </a:custGeom>
          <a:solidFill>
            <a:srgbClr val="CCFFCC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538" name="Freeform 256"/>
          <p:cNvSpPr>
            <a:spLocks noChangeAspect="1"/>
          </p:cNvSpPr>
          <p:nvPr>
            <p:custDataLst>
              <p:tags r:id="rId104"/>
            </p:custDataLst>
          </p:nvPr>
        </p:nvSpPr>
        <p:spPr bwMode="auto">
          <a:xfrm>
            <a:off x="4846638" y="4062413"/>
            <a:ext cx="690562" cy="806450"/>
          </a:xfrm>
          <a:custGeom>
            <a:avLst/>
            <a:gdLst>
              <a:gd name="T0" fmla="*/ 585709 w 1034"/>
              <a:gd name="T1" fmla="*/ 103136 h 1298"/>
              <a:gd name="T2" fmla="*/ 579698 w 1034"/>
              <a:gd name="T3" fmla="*/ 188255 h 1298"/>
              <a:gd name="T4" fmla="*/ 573019 w 1034"/>
              <a:gd name="T5" fmla="*/ 212485 h 1298"/>
              <a:gd name="T6" fmla="*/ 579698 w 1034"/>
              <a:gd name="T7" fmla="*/ 242929 h 1298"/>
              <a:gd name="T8" fmla="*/ 599066 w 1034"/>
              <a:gd name="T9" fmla="*/ 291391 h 1298"/>
              <a:gd name="T10" fmla="*/ 599066 w 1034"/>
              <a:gd name="T11" fmla="*/ 327426 h 1298"/>
              <a:gd name="T12" fmla="*/ 579698 w 1034"/>
              <a:gd name="T13" fmla="*/ 382101 h 1298"/>
              <a:gd name="T14" fmla="*/ 611755 w 1034"/>
              <a:gd name="T15" fmla="*/ 382101 h 1298"/>
              <a:gd name="T16" fmla="*/ 670526 w 1034"/>
              <a:gd name="T17" fmla="*/ 394527 h 1298"/>
              <a:gd name="T18" fmla="*/ 690562 w 1034"/>
              <a:gd name="T19" fmla="*/ 412545 h 1298"/>
              <a:gd name="T20" fmla="*/ 625112 w 1034"/>
              <a:gd name="T21" fmla="*/ 418758 h 1298"/>
              <a:gd name="T22" fmla="*/ 618434 w 1034"/>
              <a:gd name="T23" fmla="*/ 424349 h 1298"/>
              <a:gd name="T24" fmla="*/ 618434 w 1034"/>
              <a:gd name="T25" fmla="*/ 454793 h 1298"/>
              <a:gd name="T26" fmla="*/ 611755 w 1034"/>
              <a:gd name="T27" fmla="*/ 491450 h 1298"/>
              <a:gd name="T28" fmla="*/ 625112 w 1034"/>
              <a:gd name="T29" fmla="*/ 551716 h 1298"/>
              <a:gd name="T30" fmla="*/ 592387 w 1034"/>
              <a:gd name="T31" fmla="*/ 600178 h 1298"/>
              <a:gd name="T32" fmla="*/ 573019 w 1034"/>
              <a:gd name="T33" fmla="*/ 624408 h 1298"/>
              <a:gd name="T34" fmla="*/ 566341 w 1034"/>
              <a:gd name="T35" fmla="*/ 648639 h 1298"/>
              <a:gd name="T36" fmla="*/ 592387 w 1034"/>
              <a:gd name="T37" fmla="*/ 679083 h 1298"/>
              <a:gd name="T38" fmla="*/ 592387 w 1034"/>
              <a:gd name="T39" fmla="*/ 715740 h 1298"/>
              <a:gd name="T40" fmla="*/ 599066 w 1034"/>
              <a:gd name="T41" fmla="*/ 745562 h 1298"/>
              <a:gd name="T42" fmla="*/ 585709 w 1034"/>
              <a:gd name="T43" fmla="*/ 782219 h 1298"/>
              <a:gd name="T44" fmla="*/ 566341 w 1034"/>
              <a:gd name="T45" fmla="*/ 794024 h 1298"/>
              <a:gd name="T46" fmla="*/ 514248 w 1034"/>
              <a:gd name="T47" fmla="*/ 769793 h 1298"/>
              <a:gd name="T48" fmla="*/ 481523 w 1034"/>
              <a:gd name="T49" fmla="*/ 757988 h 1298"/>
              <a:gd name="T50" fmla="*/ 468834 w 1034"/>
              <a:gd name="T51" fmla="*/ 733758 h 1298"/>
              <a:gd name="T52" fmla="*/ 403384 w 1034"/>
              <a:gd name="T53" fmla="*/ 721332 h 1298"/>
              <a:gd name="T54" fmla="*/ 351292 w 1034"/>
              <a:gd name="T55" fmla="*/ 721332 h 1298"/>
              <a:gd name="T56" fmla="*/ 286510 w 1034"/>
              <a:gd name="T57" fmla="*/ 721332 h 1298"/>
              <a:gd name="T58" fmla="*/ 234417 w 1034"/>
              <a:gd name="T59" fmla="*/ 727545 h 1298"/>
              <a:gd name="T60" fmla="*/ 195014 w 1034"/>
              <a:gd name="T61" fmla="*/ 727545 h 1298"/>
              <a:gd name="T62" fmla="*/ 208371 w 1034"/>
              <a:gd name="T63" fmla="*/ 661065 h 1298"/>
              <a:gd name="T64" fmla="*/ 182324 w 1034"/>
              <a:gd name="T65" fmla="*/ 624408 h 1298"/>
              <a:gd name="T66" fmla="*/ 130232 w 1034"/>
              <a:gd name="T67" fmla="*/ 612604 h 1298"/>
              <a:gd name="T68" fmla="*/ 116875 w 1034"/>
              <a:gd name="T69" fmla="*/ 612604 h 1298"/>
              <a:gd name="T70" fmla="*/ 97507 w 1034"/>
              <a:gd name="T71" fmla="*/ 630621 h 1298"/>
              <a:gd name="T72" fmla="*/ 71460 w 1034"/>
              <a:gd name="T73" fmla="*/ 643048 h 1298"/>
              <a:gd name="T74" fmla="*/ 38736 w 1034"/>
              <a:gd name="T75" fmla="*/ 612604 h 1298"/>
              <a:gd name="T76" fmla="*/ 12689 w 1034"/>
              <a:gd name="T77" fmla="*/ 527485 h 1298"/>
              <a:gd name="T78" fmla="*/ 90828 w 1034"/>
              <a:gd name="T79" fmla="*/ 485237 h 1298"/>
              <a:gd name="T80" fmla="*/ 90828 w 1034"/>
              <a:gd name="T81" fmla="*/ 436775 h 1298"/>
              <a:gd name="T82" fmla="*/ 104185 w 1034"/>
              <a:gd name="T83" fmla="*/ 394527 h 1298"/>
              <a:gd name="T84" fmla="*/ 71460 w 1034"/>
              <a:gd name="T85" fmla="*/ 375888 h 1298"/>
              <a:gd name="T86" fmla="*/ 52093 w 1034"/>
              <a:gd name="T87" fmla="*/ 370296 h 1298"/>
              <a:gd name="T88" fmla="*/ 26046 w 1034"/>
              <a:gd name="T89" fmla="*/ 351657 h 1298"/>
              <a:gd name="T90" fmla="*/ 12689 w 1034"/>
              <a:gd name="T91" fmla="*/ 267160 h 1298"/>
              <a:gd name="T92" fmla="*/ 64782 w 1034"/>
              <a:gd name="T93" fmla="*/ 224290 h 1298"/>
              <a:gd name="T94" fmla="*/ 104185 w 1034"/>
              <a:gd name="T95" fmla="*/ 188255 h 1298"/>
              <a:gd name="T96" fmla="*/ 142921 w 1034"/>
              <a:gd name="T97" fmla="*/ 151598 h 1298"/>
              <a:gd name="T98" fmla="*/ 168967 w 1034"/>
              <a:gd name="T99" fmla="*/ 115562 h 1298"/>
              <a:gd name="T100" fmla="*/ 208371 w 1034"/>
              <a:gd name="T101" fmla="*/ 103136 h 1298"/>
              <a:gd name="T102" fmla="*/ 240428 w 1034"/>
              <a:gd name="T103" fmla="*/ 54675 h 1298"/>
              <a:gd name="T104" fmla="*/ 293188 w 1034"/>
              <a:gd name="T105" fmla="*/ 18639 h 1298"/>
              <a:gd name="T106" fmla="*/ 331924 w 1034"/>
              <a:gd name="T107" fmla="*/ 6213 h 1298"/>
              <a:gd name="T108" fmla="*/ 397374 w 1034"/>
              <a:gd name="T109" fmla="*/ 18639 h 1298"/>
              <a:gd name="T110" fmla="*/ 429431 w 1034"/>
              <a:gd name="T111" fmla="*/ 30444 h 1298"/>
              <a:gd name="T112" fmla="*/ 462156 w 1034"/>
              <a:gd name="T113" fmla="*/ 42870 h 1298"/>
              <a:gd name="T114" fmla="*/ 507570 w 1034"/>
              <a:gd name="T115" fmla="*/ 30444 h 1298"/>
              <a:gd name="T116" fmla="*/ 553652 w 1034"/>
              <a:gd name="T117" fmla="*/ 24231 h 1298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034"/>
              <a:gd name="T178" fmla="*/ 0 h 1298"/>
              <a:gd name="T179" fmla="*/ 1034 w 1034"/>
              <a:gd name="T180" fmla="*/ 1298 h 1298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034" h="1298">
                <a:moveTo>
                  <a:pt x="838" y="59"/>
                </a:moveTo>
                <a:lnTo>
                  <a:pt x="858" y="69"/>
                </a:lnTo>
                <a:lnTo>
                  <a:pt x="868" y="108"/>
                </a:lnTo>
                <a:lnTo>
                  <a:pt x="877" y="166"/>
                </a:lnTo>
                <a:lnTo>
                  <a:pt x="877" y="225"/>
                </a:lnTo>
                <a:lnTo>
                  <a:pt x="887" y="283"/>
                </a:lnTo>
                <a:lnTo>
                  <a:pt x="877" y="303"/>
                </a:lnTo>
                <a:lnTo>
                  <a:pt x="868" y="303"/>
                </a:lnTo>
                <a:lnTo>
                  <a:pt x="858" y="313"/>
                </a:lnTo>
                <a:lnTo>
                  <a:pt x="848" y="322"/>
                </a:lnTo>
                <a:lnTo>
                  <a:pt x="838" y="342"/>
                </a:lnTo>
                <a:lnTo>
                  <a:pt x="858" y="342"/>
                </a:lnTo>
                <a:lnTo>
                  <a:pt x="868" y="352"/>
                </a:lnTo>
                <a:lnTo>
                  <a:pt x="877" y="371"/>
                </a:lnTo>
                <a:lnTo>
                  <a:pt x="868" y="391"/>
                </a:lnTo>
                <a:lnTo>
                  <a:pt x="868" y="410"/>
                </a:lnTo>
                <a:lnTo>
                  <a:pt x="887" y="420"/>
                </a:lnTo>
                <a:lnTo>
                  <a:pt x="897" y="439"/>
                </a:lnTo>
                <a:lnTo>
                  <a:pt x="897" y="469"/>
                </a:lnTo>
                <a:lnTo>
                  <a:pt x="907" y="488"/>
                </a:lnTo>
                <a:lnTo>
                  <a:pt x="916" y="498"/>
                </a:lnTo>
                <a:lnTo>
                  <a:pt x="916" y="508"/>
                </a:lnTo>
                <a:lnTo>
                  <a:pt x="897" y="527"/>
                </a:lnTo>
                <a:lnTo>
                  <a:pt x="877" y="547"/>
                </a:lnTo>
                <a:lnTo>
                  <a:pt x="877" y="576"/>
                </a:lnTo>
                <a:lnTo>
                  <a:pt x="868" y="596"/>
                </a:lnTo>
                <a:lnTo>
                  <a:pt x="868" y="615"/>
                </a:lnTo>
                <a:lnTo>
                  <a:pt x="887" y="615"/>
                </a:lnTo>
                <a:lnTo>
                  <a:pt x="907" y="625"/>
                </a:lnTo>
                <a:lnTo>
                  <a:pt x="907" y="615"/>
                </a:lnTo>
                <a:lnTo>
                  <a:pt x="916" y="615"/>
                </a:lnTo>
                <a:lnTo>
                  <a:pt x="926" y="625"/>
                </a:lnTo>
                <a:lnTo>
                  <a:pt x="955" y="635"/>
                </a:lnTo>
                <a:lnTo>
                  <a:pt x="965" y="625"/>
                </a:lnTo>
                <a:lnTo>
                  <a:pt x="1004" y="635"/>
                </a:lnTo>
                <a:lnTo>
                  <a:pt x="1004" y="625"/>
                </a:lnTo>
                <a:lnTo>
                  <a:pt x="1014" y="625"/>
                </a:lnTo>
                <a:lnTo>
                  <a:pt x="1024" y="635"/>
                </a:lnTo>
                <a:lnTo>
                  <a:pt x="1034" y="664"/>
                </a:lnTo>
                <a:lnTo>
                  <a:pt x="985" y="654"/>
                </a:lnTo>
                <a:lnTo>
                  <a:pt x="965" y="674"/>
                </a:lnTo>
                <a:lnTo>
                  <a:pt x="955" y="674"/>
                </a:lnTo>
                <a:lnTo>
                  <a:pt x="936" y="674"/>
                </a:lnTo>
                <a:lnTo>
                  <a:pt x="926" y="664"/>
                </a:lnTo>
                <a:lnTo>
                  <a:pt x="916" y="664"/>
                </a:lnTo>
                <a:lnTo>
                  <a:pt x="916" y="674"/>
                </a:lnTo>
                <a:lnTo>
                  <a:pt x="926" y="683"/>
                </a:lnTo>
                <a:lnTo>
                  <a:pt x="926" y="713"/>
                </a:lnTo>
                <a:lnTo>
                  <a:pt x="946" y="732"/>
                </a:lnTo>
                <a:lnTo>
                  <a:pt x="936" y="742"/>
                </a:lnTo>
                <a:lnTo>
                  <a:pt x="926" y="732"/>
                </a:lnTo>
                <a:lnTo>
                  <a:pt x="926" y="752"/>
                </a:lnTo>
                <a:lnTo>
                  <a:pt x="926" y="771"/>
                </a:lnTo>
                <a:lnTo>
                  <a:pt x="916" y="781"/>
                </a:lnTo>
                <a:lnTo>
                  <a:pt x="916" y="791"/>
                </a:lnTo>
                <a:lnTo>
                  <a:pt x="936" y="800"/>
                </a:lnTo>
                <a:lnTo>
                  <a:pt x="946" y="830"/>
                </a:lnTo>
                <a:lnTo>
                  <a:pt x="936" y="849"/>
                </a:lnTo>
                <a:lnTo>
                  <a:pt x="936" y="888"/>
                </a:lnTo>
                <a:lnTo>
                  <a:pt x="907" y="908"/>
                </a:lnTo>
                <a:lnTo>
                  <a:pt x="907" y="917"/>
                </a:lnTo>
                <a:lnTo>
                  <a:pt x="916" y="947"/>
                </a:lnTo>
                <a:lnTo>
                  <a:pt x="887" y="966"/>
                </a:lnTo>
                <a:lnTo>
                  <a:pt x="868" y="976"/>
                </a:lnTo>
                <a:lnTo>
                  <a:pt x="858" y="976"/>
                </a:lnTo>
                <a:lnTo>
                  <a:pt x="848" y="986"/>
                </a:lnTo>
                <a:lnTo>
                  <a:pt x="858" y="1005"/>
                </a:lnTo>
                <a:lnTo>
                  <a:pt x="848" y="1015"/>
                </a:lnTo>
                <a:lnTo>
                  <a:pt x="848" y="1035"/>
                </a:lnTo>
                <a:lnTo>
                  <a:pt x="848" y="1044"/>
                </a:lnTo>
                <a:lnTo>
                  <a:pt x="848" y="1054"/>
                </a:lnTo>
                <a:lnTo>
                  <a:pt x="848" y="1074"/>
                </a:lnTo>
                <a:lnTo>
                  <a:pt x="868" y="1093"/>
                </a:lnTo>
                <a:lnTo>
                  <a:pt x="887" y="1093"/>
                </a:lnTo>
                <a:lnTo>
                  <a:pt x="897" y="1103"/>
                </a:lnTo>
                <a:lnTo>
                  <a:pt x="907" y="1122"/>
                </a:lnTo>
                <a:lnTo>
                  <a:pt x="907" y="1142"/>
                </a:lnTo>
                <a:lnTo>
                  <a:pt x="887" y="1152"/>
                </a:lnTo>
                <a:lnTo>
                  <a:pt x="868" y="1161"/>
                </a:lnTo>
                <a:lnTo>
                  <a:pt x="868" y="1181"/>
                </a:lnTo>
                <a:lnTo>
                  <a:pt x="877" y="1181"/>
                </a:lnTo>
                <a:lnTo>
                  <a:pt x="897" y="1200"/>
                </a:lnTo>
                <a:lnTo>
                  <a:pt x="897" y="1210"/>
                </a:lnTo>
                <a:lnTo>
                  <a:pt x="907" y="1220"/>
                </a:lnTo>
                <a:lnTo>
                  <a:pt x="907" y="1230"/>
                </a:lnTo>
                <a:lnTo>
                  <a:pt x="877" y="1259"/>
                </a:lnTo>
                <a:lnTo>
                  <a:pt x="868" y="1269"/>
                </a:lnTo>
                <a:lnTo>
                  <a:pt x="877" y="1288"/>
                </a:lnTo>
                <a:lnTo>
                  <a:pt x="868" y="1298"/>
                </a:lnTo>
                <a:lnTo>
                  <a:pt x="848" y="1278"/>
                </a:lnTo>
                <a:lnTo>
                  <a:pt x="819" y="1278"/>
                </a:lnTo>
                <a:lnTo>
                  <a:pt x="819" y="1259"/>
                </a:lnTo>
                <a:lnTo>
                  <a:pt x="790" y="1259"/>
                </a:lnTo>
                <a:lnTo>
                  <a:pt x="770" y="1239"/>
                </a:lnTo>
                <a:lnTo>
                  <a:pt x="760" y="1259"/>
                </a:lnTo>
                <a:lnTo>
                  <a:pt x="741" y="1269"/>
                </a:lnTo>
                <a:lnTo>
                  <a:pt x="721" y="1220"/>
                </a:lnTo>
                <a:lnTo>
                  <a:pt x="731" y="1200"/>
                </a:lnTo>
                <a:lnTo>
                  <a:pt x="731" y="1181"/>
                </a:lnTo>
                <a:lnTo>
                  <a:pt x="721" y="1171"/>
                </a:lnTo>
                <a:lnTo>
                  <a:pt x="702" y="1181"/>
                </a:lnTo>
                <a:lnTo>
                  <a:pt x="692" y="1171"/>
                </a:lnTo>
                <a:lnTo>
                  <a:pt x="663" y="1161"/>
                </a:lnTo>
                <a:lnTo>
                  <a:pt x="634" y="1161"/>
                </a:lnTo>
                <a:lnTo>
                  <a:pt x="604" y="1161"/>
                </a:lnTo>
                <a:lnTo>
                  <a:pt x="565" y="1132"/>
                </a:lnTo>
                <a:lnTo>
                  <a:pt x="556" y="1132"/>
                </a:lnTo>
                <a:lnTo>
                  <a:pt x="546" y="1152"/>
                </a:lnTo>
                <a:lnTo>
                  <a:pt x="526" y="1161"/>
                </a:lnTo>
                <a:lnTo>
                  <a:pt x="497" y="1161"/>
                </a:lnTo>
                <a:lnTo>
                  <a:pt x="468" y="1161"/>
                </a:lnTo>
                <a:lnTo>
                  <a:pt x="448" y="1161"/>
                </a:lnTo>
                <a:lnTo>
                  <a:pt x="429" y="1161"/>
                </a:lnTo>
                <a:lnTo>
                  <a:pt x="419" y="1171"/>
                </a:lnTo>
                <a:lnTo>
                  <a:pt x="400" y="1181"/>
                </a:lnTo>
                <a:lnTo>
                  <a:pt x="351" y="1181"/>
                </a:lnTo>
                <a:lnTo>
                  <a:pt x="351" y="1171"/>
                </a:lnTo>
                <a:lnTo>
                  <a:pt x="331" y="1171"/>
                </a:lnTo>
                <a:lnTo>
                  <a:pt x="321" y="1181"/>
                </a:lnTo>
                <a:lnTo>
                  <a:pt x="312" y="1161"/>
                </a:lnTo>
                <a:lnTo>
                  <a:pt x="292" y="1171"/>
                </a:lnTo>
                <a:lnTo>
                  <a:pt x="292" y="1161"/>
                </a:lnTo>
                <a:lnTo>
                  <a:pt x="292" y="1103"/>
                </a:lnTo>
                <a:lnTo>
                  <a:pt x="302" y="1093"/>
                </a:lnTo>
                <a:lnTo>
                  <a:pt x="312" y="1064"/>
                </a:lnTo>
                <a:lnTo>
                  <a:pt x="312" y="1044"/>
                </a:lnTo>
                <a:lnTo>
                  <a:pt x="302" y="1025"/>
                </a:lnTo>
                <a:lnTo>
                  <a:pt x="282" y="1015"/>
                </a:lnTo>
                <a:lnTo>
                  <a:pt x="273" y="1005"/>
                </a:lnTo>
                <a:lnTo>
                  <a:pt x="243" y="1005"/>
                </a:lnTo>
                <a:lnTo>
                  <a:pt x="214" y="996"/>
                </a:lnTo>
                <a:lnTo>
                  <a:pt x="195" y="996"/>
                </a:lnTo>
                <a:lnTo>
                  <a:pt x="195" y="986"/>
                </a:lnTo>
                <a:lnTo>
                  <a:pt x="204" y="966"/>
                </a:lnTo>
                <a:lnTo>
                  <a:pt x="185" y="966"/>
                </a:lnTo>
                <a:lnTo>
                  <a:pt x="175" y="976"/>
                </a:lnTo>
                <a:lnTo>
                  <a:pt x="175" y="986"/>
                </a:lnTo>
                <a:lnTo>
                  <a:pt x="165" y="996"/>
                </a:lnTo>
                <a:lnTo>
                  <a:pt x="156" y="996"/>
                </a:lnTo>
                <a:lnTo>
                  <a:pt x="156" y="1005"/>
                </a:lnTo>
                <a:lnTo>
                  <a:pt x="146" y="1015"/>
                </a:lnTo>
                <a:lnTo>
                  <a:pt x="146" y="1005"/>
                </a:lnTo>
                <a:lnTo>
                  <a:pt x="126" y="1015"/>
                </a:lnTo>
                <a:lnTo>
                  <a:pt x="117" y="1025"/>
                </a:lnTo>
                <a:lnTo>
                  <a:pt x="107" y="1035"/>
                </a:lnTo>
                <a:lnTo>
                  <a:pt x="87" y="1035"/>
                </a:lnTo>
                <a:lnTo>
                  <a:pt x="87" y="1025"/>
                </a:lnTo>
                <a:lnTo>
                  <a:pt x="78" y="1005"/>
                </a:lnTo>
                <a:lnTo>
                  <a:pt x="58" y="986"/>
                </a:lnTo>
                <a:lnTo>
                  <a:pt x="39" y="947"/>
                </a:lnTo>
                <a:lnTo>
                  <a:pt x="58" y="917"/>
                </a:lnTo>
                <a:lnTo>
                  <a:pt x="58" y="888"/>
                </a:lnTo>
                <a:lnTo>
                  <a:pt x="19" y="849"/>
                </a:lnTo>
                <a:lnTo>
                  <a:pt x="78" y="830"/>
                </a:lnTo>
                <a:lnTo>
                  <a:pt x="87" y="810"/>
                </a:lnTo>
                <a:lnTo>
                  <a:pt x="107" y="791"/>
                </a:lnTo>
                <a:lnTo>
                  <a:pt x="136" y="781"/>
                </a:lnTo>
                <a:lnTo>
                  <a:pt x="146" y="742"/>
                </a:lnTo>
                <a:lnTo>
                  <a:pt x="146" y="722"/>
                </a:lnTo>
                <a:lnTo>
                  <a:pt x="136" y="722"/>
                </a:lnTo>
                <a:lnTo>
                  <a:pt x="136" y="703"/>
                </a:lnTo>
                <a:lnTo>
                  <a:pt x="156" y="693"/>
                </a:lnTo>
                <a:lnTo>
                  <a:pt x="165" y="674"/>
                </a:lnTo>
                <a:lnTo>
                  <a:pt x="165" y="654"/>
                </a:lnTo>
                <a:lnTo>
                  <a:pt x="156" y="635"/>
                </a:lnTo>
                <a:lnTo>
                  <a:pt x="146" y="615"/>
                </a:lnTo>
                <a:lnTo>
                  <a:pt x="126" y="615"/>
                </a:lnTo>
                <a:lnTo>
                  <a:pt x="117" y="615"/>
                </a:lnTo>
                <a:lnTo>
                  <a:pt x="107" y="605"/>
                </a:lnTo>
                <a:lnTo>
                  <a:pt x="107" y="586"/>
                </a:lnTo>
                <a:lnTo>
                  <a:pt x="97" y="576"/>
                </a:lnTo>
                <a:lnTo>
                  <a:pt x="87" y="596"/>
                </a:lnTo>
                <a:lnTo>
                  <a:pt x="78" y="596"/>
                </a:lnTo>
                <a:lnTo>
                  <a:pt x="78" y="586"/>
                </a:lnTo>
                <a:lnTo>
                  <a:pt x="78" y="576"/>
                </a:lnTo>
                <a:lnTo>
                  <a:pt x="68" y="576"/>
                </a:lnTo>
                <a:lnTo>
                  <a:pt x="39" y="566"/>
                </a:lnTo>
                <a:lnTo>
                  <a:pt x="19" y="556"/>
                </a:lnTo>
                <a:lnTo>
                  <a:pt x="39" y="478"/>
                </a:lnTo>
                <a:lnTo>
                  <a:pt x="0" y="469"/>
                </a:lnTo>
                <a:lnTo>
                  <a:pt x="19" y="430"/>
                </a:lnTo>
                <a:lnTo>
                  <a:pt x="48" y="420"/>
                </a:lnTo>
                <a:lnTo>
                  <a:pt x="58" y="381"/>
                </a:lnTo>
                <a:lnTo>
                  <a:pt x="68" y="371"/>
                </a:lnTo>
                <a:lnTo>
                  <a:pt x="97" y="361"/>
                </a:lnTo>
                <a:lnTo>
                  <a:pt x="107" y="352"/>
                </a:lnTo>
                <a:lnTo>
                  <a:pt x="126" y="332"/>
                </a:lnTo>
                <a:lnTo>
                  <a:pt x="146" y="313"/>
                </a:lnTo>
                <a:lnTo>
                  <a:pt x="156" y="303"/>
                </a:lnTo>
                <a:lnTo>
                  <a:pt x="165" y="283"/>
                </a:lnTo>
                <a:lnTo>
                  <a:pt x="175" y="264"/>
                </a:lnTo>
                <a:lnTo>
                  <a:pt x="185" y="264"/>
                </a:lnTo>
                <a:lnTo>
                  <a:pt x="214" y="244"/>
                </a:lnTo>
                <a:lnTo>
                  <a:pt x="224" y="225"/>
                </a:lnTo>
                <a:lnTo>
                  <a:pt x="234" y="215"/>
                </a:lnTo>
                <a:lnTo>
                  <a:pt x="243" y="205"/>
                </a:lnTo>
                <a:lnTo>
                  <a:pt x="253" y="186"/>
                </a:lnTo>
                <a:lnTo>
                  <a:pt x="263" y="176"/>
                </a:lnTo>
                <a:lnTo>
                  <a:pt x="273" y="166"/>
                </a:lnTo>
                <a:lnTo>
                  <a:pt x="282" y="166"/>
                </a:lnTo>
                <a:lnTo>
                  <a:pt x="312" y="166"/>
                </a:lnTo>
                <a:lnTo>
                  <a:pt x="331" y="147"/>
                </a:lnTo>
                <a:lnTo>
                  <a:pt x="341" y="127"/>
                </a:lnTo>
                <a:lnTo>
                  <a:pt x="360" y="117"/>
                </a:lnTo>
                <a:lnTo>
                  <a:pt x="360" y="88"/>
                </a:lnTo>
                <a:lnTo>
                  <a:pt x="370" y="69"/>
                </a:lnTo>
                <a:lnTo>
                  <a:pt x="380" y="69"/>
                </a:lnTo>
                <a:lnTo>
                  <a:pt x="409" y="59"/>
                </a:lnTo>
                <a:lnTo>
                  <a:pt x="439" y="30"/>
                </a:lnTo>
                <a:lnTo>
                  <a:pt x="458" y="30"/>
                </a:lnTo>
                <a:lnTo>
                  <a:pt x="468" y="20"/>
                </a:lnTo>
                <a:lnTo>
                  <a:pt x="487" y="20"/>
                </a:lnTo>
                <a:lnTo>
                  <a:pt x="497" y="10"/>
                </a:lnTo>
                <a:lnTo>
                  <a:pt x="536" y="20"/>
                </a:lnTo>
                <a:lnTo>
                  <a:pt x="565" y="0"/>
                </a:lnTo>
                <a:lnTo>
                  <a:pt x="575" y="10"/>
                </a:lnTo>
                <a:lnTo>
                  <a:pt x="595" y="30"/>
                </a:lnTo>
                <a:lnTo>
                  <a:pt x="585" y="49"/>
                </a:lnTo>
                <a:lnTo>
                  <a:pt x="595" y="49"/>
                </a:lnTo>
                <a:lnTo>
                  <a:pt x="604" y="39"/>
                </a:lnTo>
                <a:lnTo>
                  <a:pt x="643" y="49"/>
                </a:lnTo>
                <a:lnTo>
                  <a:pt x="663" y="39"/>
                </a:lnTo>
                <a:lnTo>
                  <a:pt x="673" y="49"/>
                </a:lnTo>
                <a:lnTo>
                  <a:pt x="673" y="59"/>
                </a:lnTo>
                <a:lnTo>
                  <a:pt x="692" y="69"/>
                </a:lnTo>
                <a:lnTo>
                  <a:pt x="721" y="69"/>
                </a:lnTo>
                <a:lnTo>
                  <a:pt x="741" y="78"/>
                </a:lnTo>
                <a:lnTo>
                  <a:pt x="760" y="59"/>
                </a:lnTo>
                <a:lnTo>
                  <a:pt x="760" y="49"/>
                </a:lnTo>
                <a:lnTo>
                  <a:pt x="799" y="49"/>
                </a:lnTo>
                <a:lnTo>
                  <a:pt x="799" y="59"/>
                </a:lnTo>
                <a:lnTo>
                  <a:pt x="809" y="69"/>
                </a:lnTo>
                <a:lnTo>
                  <a:pt x="829" y="39"/>
                </a:lnTo>
                <a:lnTo>
                  <a:pt x="848" y="39"/>
                </a:lnTo>
                <a:lnTo>
                  <a:pt x="838" y="59"/>
                </a:lnTo>
                <a:close/>
              </a:path>
            </a:pathLst>
          </a:custGeom>
          <a:solidFill>
            <a:srgbClr val="CCFFCC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539" name="Freeform 251"/>
          <p:cNvSpPr>
            <a:spLocks noChangeAspect="1"/>
          </p:cNvSpPr>
          <p:nvPr>
            <p:custDataLst>
              <p:tags r:id="rId105"/>
            </p:custDataLst>
          </p:nvPr>
        </p:nvSpPr>
        <p:spPr bwMode="auto">
          <a:xfrm>
            <a:off x="7054850" y="3400425"/>
            <a:ext cx="469900" cy="814388"/>
          </a:xfrm>
          <a:custGeom>
            <a:avLst/>
            <a:gdLst>
              <a:gd name="T0" fmla="*/ 58821 w 703"/>
              <a:gd name="T1" fmla="*/ 152036 h 1307"/>
              <a:gd name="T2" fmla="*/ 117642 w 703"/>
              <a:gd name="T3" fmla="*/ 97203 h 1307"/>
              <a:gd name="T4" fmla="*/ 182479 w 703"/>
              <a:gd name="T5" fmla="*/ 79133 h 1307"/>
              <a:gd name="T6" fmla="*/ 228600 w 703"/>
              <a:gd name="T7" fmla="*/ 139574 h 1307"/>
              <a:gd name="T8" fmla="*/ 300121 w 703"/>
              <a:gd name="T9" fmla="*/ 115273 h 1307"/>
              <a:gd name="T10" fmla="*/ 326189 w 703"/>
              <a:gd name="T11" fmla="*/ 54832 h 1307"/>
              <a:gd name="T12" fmla="*/ 358942 w 703"/>
              <a:gd name="T13" fmla="*/ 6231 h 1307"/>
              <a:gd name="T14" fmla="*/ 404395 w 703"/>
              <a:gd name="T15" fmla="*/ 6231 h 1307"/>
              <a:gd name="T16" fmla="*/ 411079 w 703"/>
              <a:gd name="T17" fmla="*/ 36140 h 1307"/>
              <a:gd name="T18" fmla="*/ 417763 w 703"/>
              <a:gd name="T19" fmla="*/ 54832 h 1307"/>
              <a:gd name="T20" fmla="*/ 417763 w 703"/>
              <a:gd name="T21" fmla="*/ 72902 h 1307"/>
              <a:gd name="T22" fmla="*/ 423779 w 703"/>
              <a:gd name="T23" fmla="*/ 97203 h 1307"/>
              <a:gd name="T24" fmla="*/ 430463 w 703"/>
              <a:gd name="T25" fmla="*/ 109042 h 1307"/>
              <a:gd name="T26" fmla="*/ 437147 w 703"/>
              <a:gd name="T27" fmla="*/ 139574 h 1307"/>
              <a:gd name="T28" fmla="*/ 437147 w 703"/>
              <a:gd name="T29" fmla="*/ 170105 h 1307"/>
              <a:gd name="T30" fmla="*/ 469900 w 703"/>
              <a:gd name="T31" fmla="*/ 194406 h 1307"/>
              <a:gd name="T32" fmla="*/ 417763 w 703"/>
              <a:gd name="T33" fmla="*/ 200637 h 1307"/>
              <a:gd name="T34" fmla="*/ 385011 w 703"/>
              <a:gd name="T35" fmla="*/ 231169 h 1307"/>
              <a:gd name="T36" fmla="*/ 371642 w 703"/>
              <a:gd name="T37" fmla="*/ 279770 h 1307"/>
              <a:gd name="T38" fmla="*/ 385011 w 703"/>
              <a:gd name="T39" fmla="*/ 304071 h 1307"/>
              <a:gd name="T40" fmla="*/ 371642 w 703"/>
              <a:gd name="T41" fmla="*/ 315910 h 1307"/>
              <a:gd name="T42" fmla="*/ 352258 w 703"/>
              <a:gd name="T43" fmla="*/ 340211 h 1307"/>
              <a:gd name="T44" fmla="*/ 358942 w 703"/>
              <a:gd name="T45" fmla="*/ 370742 h 1307"/>
              <a:gd name="T46" fmla="*/ 339558 w 703"/>
              <a:gd name="T47" fmla="*/ 376973 h 1307"/>
              <a:gd name="T48" fmla="*/ 326189 w 703"/>
              <a:gd name="T49" fmla="*/ 395043 h 1307"/>
              <a:gd name="T50" fmla="*/ 339558 w 703"/>
              <a:gd name="T51" fmla="*/ 425575 h 1307"/>
              <a:gd name="T52" fmla="*/ 371642 w 703"/>
              <a:gd name="T53" fmla="*/ 443645 h 1307"/>
              <a:gd name="T54" fmla="*/ 371642 w 703"/>
              <a:gd name="T55" fmla="*/ 461714 h 1307"/>
              <a:gd name="T56" fmla="*/ 404395 w 703"/>
              <a:gd name="T57" fmla="*/ 529009 h 1307"/>
              <a:gd name="T58" fmla="*/ 437147 w 703"/>
              <a:gd name="T59" fmla="*/ 516547 h 1307"/>
              <a:gd name="T60" fmla="*/ 456532 w 703"/>
              <a:gd name="T61" fmla="*/ 492246 h 1307"/>
              <a:gd name="T62" fmla="*/ 456532 w 703"/>
              <a:gd name="T63" fmla="*/ 540848 h 1307"/>
              <a:gd name="T64" fmla="*/ 404395 w 703"/>
              <a:gd name="T65" fmla="*/ 583841 h 1307"/>
              <a:gd name="T66" fmla="*/ 430463 w 703"/>
              <a:gd name="T67" fmla="*/ 632443 h 1307"/>
              <a:gd name="T68" fmla="*/ 385011 w 703"/>
              <a:gd name="T69" fmla="*/ 686652 h 1307"/>
              <a:gd name="T70" fmla="*/ 411079 w 703"/>
              <a:gd name="T71" fmla="*/ 717184 h 1307"/>
              <a:gd name="T72" fmla="*/ 404395 w 703"/>
              <a:gd name="T73" fmla="*/ 772016 h 1307"/>
              <a:gd name="T74" fmla="*/ 365626 w 703"/>
              <a:gd name="T75" fmla="*/ 814387 h 1307"/>
              <a:gd name="T76" fmla="*/ 326189 w 703"/>
              <a:gd name="T77" fmla="*/ 753947 h 1307"/>
              <a:gd name="T78" fmla="*/ 326189 w 703"/>
              <a:gd name="T79" fmla="*/ 717184 h 1307"/>
              <a:gd name="T80" fmla="*/ 280737 w 703"/>
              <a:gd name="T81" fmla="*/ 674813 h 1307"/>
              <a:gd name="T82" fmla="*/ 293437 w 703"/>
              <a:gd name="T83" fmla="*/ 644282 h 1307"/>
              <a:gd name="T84" fmla="*/ 306805 w 703"/>
              <a:gd name="T85" fmla="*/ 583841 h 1307"/>
              <a:gd name="T86" fmla="*/ 286753 w 703"/>
              <a:gd name="T87" fmla="*/ 540848 h 1307"/>
              <a:gd name="T88" fmla="*/ 274053 w 703"/>
              <a:gd name="T89" fmla="*/ 486015 h 1307"/>
              <a:gd name="T90" fmla="*/ 254668 w 703"/>
              <a:gd name="T91" fmla="*/ 419344 h 1307"/>
              <a:gd name="T92" fmla="*/ 254668 w 703"/>
              <a:gd name="T93" fmla="*/ 370742 h 1307"/>
              <a:gd name="T94" fmla="*/ 247984 w 703"/>
              <a:gd name="T95" fmla="*/ 340211 h 1307"/>
              <a:gd name="T96" fmla="*/ 215232 w 703"/>
              <a:gd name="T97" fmla="*/ 322141 h 1307"/>
              <a:gd name="T98" fmla="*/ 182479 w 703"/>
              <a:gd name="T99" fmla="*/ 279770 h 1307"/>
              <a:gd name="T100" fmla="*/ 189163 w 703"/>
              <a:gd name="T101" fmla="*/ 249239 h 1307"/>
              <a:gd name="T102" fmla="*/ 163095 w 703"/>
              <a:gd name="T103" fmla="*/ 279770 h 1307"/>
              <a:gd name="T104" fmla="*/ 163095 w 703"/>
              <a:gd name="T105" fmla="*/ 309679 h 1307"/>
              <a:gd name="T106" fmla="*/ 202532 w 703"/>
              <a:gd name="T107" fmla="*/ 333980 h 1307"/>
              <a:gd name="T108" fmla="*/ 189163 w 703"/>
              <a:gd name="T109" fmla="*/ 352673 h 1307"/>
              <a:gd name="T110" fmla="*/ 156411 w 703"/>
              <a:gd name="T111" fmla="*/ 333980 h 1307"/>
              <a:gd name="T112" fmla="*/ 104274 w 703"/>
              <a:gd name="T113" fmla="*/ 297840 h 1307"/>
              <a:gd name="T114" fmla="*/ 72189 w 703"/>
              <a:gd name="T115" fmla="*/ 255470 h 1307"/>
              <a:gd name="T116" fmla="*/ 32753 w 703"/>
              <a:gd name="T117" fmla="*/ 236777 h 1307"/>
              <a:gd name="T118" fmla="*/ 0 w 703"/>
              <a:gd name="T119" fmla="*/ 194406 h 1307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703"/>
              <a:gd name="T181" fmla="*/ 0 h 1307"/>
              <a:gd name="T182" fmla="*/ 703 w 703"/>
              <a:gd name="T183" fmla="*/ 1307 h 1307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703" h="1307">
                <a:moveTo>
                  <a:pt x="49" y="244"/>
                </a:moveTo>
                <a:lnTo>
                  <a:pt x="59" y="234"/>
                </a:lnTo>
                <a:lnTo>
                  <a:pt x="69" y="234"/>
                </a:lnTo>
                <a:lnTo>
                  <a:pt x="78" y="224"/>
                </a:lnTo>
                <a:lnTo>
                  <a:pt x="88" y="224"/>
                </a:lnTo>
                <a:lnTo>
                  <a:pt x="88" y="244"/>
                </a:lnTo>
                <a:lnTo>
                  <a:pt x="108" y="244"/>
                </a:lnTo>
                <a:lnTo>
                  <a:pt x="108" y="224"/>
                </a:lnTo>
                <a:lnTo>
                  <a:pt x="127" y="205"/>
                </a:lnTo>
                <a:lnTo>
                  <a:pt x="137" y="175"/>
                </a:lnTo>
                <a:lnTo>
                  <a:pt x="156" y="175"/>
                </a:lnTo>
                <a:lnTo>
                  <a:pt x="176" y="156"/>
                </a:lnTo>
                <a:lnTo>
                  <a:pt x="176" y="146"/>
                </a:lnTo>
                <a:lnTo>
                  <a:pt x="195" y="136"/>
                </a:lnTo>
                <a:lnTo>
                  <a:pt x="215" y="136"/>
                </a:lnTo>
                <a:lnTo>
                  <a:pt x="244" y="146"/>
                </a:lnTo>
                <a:lnTo>
                  <a:pt x="264" y="146"/>
                </a:lnTo>
                <a:lnTo>
                  <a:pt x="273" y="127"/>
                </a:lnTo>
                <a:lnTo>
                  <a:pt x="303" y="127"/>
                </a:lnTo>
                <a:lnTo>
                  <a:pt x="312" y="136"/>
                </a:lnTo>
                <a:lnTo>
                  <a:pt x="312" y="156"/>
                </a:lnTo>
                <a:lnTo>
                  <a:pt x="322" y="195"/>
                </a:lnTo>
                <a:lnTo>
                  <a:pt x="322" y="224"/>
                </a:lnTo>
                <a:lnTo>
                  <a:pt x="342" y="224"/>
                </a:lnTo>
                <a:lnTo>
                  <a:pt x="342" y="205"/>
                </a:lnTo>
                <a:lnTo>
                  <a:pt x="371" y="195"/>
                </a:lnTo>
                <a:lnTo>
                  <a:pt x="400" y="175"/>
                </a:lnTo>
                <a:lnTo>
                  <a:pt x="420" y="166"/>
                </a:lnTo>
                <a:lnTo>
                  <a:pt x="429" y="175"/>
                </a:lnTo>
                <a:lnTo>
                  <a:pt x="449" y="185"/>
                </a:lnTo>
                <a:lnTo>
                  <a:pt x="459" y="185"/>
                </a:lnTo>
                <a:lnTo>
                  <a:pt x="468" y="175"/>
                </a:lnTo>
                <a:lnTo>
                  <a:pt x="468" y="146"/>
                </a:lnTo>
                <a:lnTo>
                  <a:pt x="468" y="127"/>
                </a:lnTo>
                <a:lnTo>
                  <a:pt x="488" y="107"/>
                </a:lnTo>
                <a:lnTo>
                  <a:pt x="488" y="88"/>
                </a:lnTo>
                <a:lnTo>
                  <a:pt x="498" y="68"/>
                </a:lnTo>
                <a:lnTo>
                  <a:pt x="508" y="68"/>
                </a:lnTo>
                <a:lnTo>
                  <a:pt x="517" y="49"/>
                </a:lnTo>
                <a:lnTo>
                  <a:pt x="517" y="19"/>
                </a:lnTo>
                <a:lnTo>
                  <a:pt x="527" y="10"/>
                </a:lnTo>
                <a:lnTo>
                  <a:pt x="537" y="10"/>
                </a:lnTo>
                <a:lnTo>
                  <a:pt x="547" y="0"/>
                </a:lnTo>
                <a:lnTo>
                  <a:pt x="547" y="19"/>
                </a:lnTo>
                <a:lnTo>
                  <a:pt x="556" y="19"/>
                </a:lnTo>
                <a:lnTo>
                  <a:pt x="576" y="10"/>
                </a:lnTo>
                <a:lnTo>
                  <a:pt x="595" y="10"/>
                </a:lnTo>
                <a:lnTo>
                  <a:pt x="605" y="10"/>
                </a:lnTo>
                <a:lnTo>
                  <a:pt x="615" y="10"/>
                </a:lnTo>
                <a:lnTo>
                  <a:pt x="615" y="29"/>
                </a:lnTo>
                <a:lnTo>
                  <a:pt x="605" y="29"/>
                </a:lnTo>
                <a:lnTo>
                  <a:pt x="605" y="39"/>
                </a:lnTo>
                <a:lnTo>
                  <a:pt x="615" y="39"/>
                </a:lnTo>
                <a:lnTo>
                  <a:pt x="615" y="58"/>
                </a:lnTo>
                <a:lnTo>
                  <a:pt x="605" y="58"/>
                </a:lnTo>
                <a:lnTo>
                  <a:pt x="605" y="68"/>
                </a:lnTo>
                <a:lnTo>
                  <a:pt x="605" y="78"/>
                </a:lnTo>
                <a:lnTo>
                  <a:pt x="615" y="78"/>
                </a:lnTo>
                <a:lnTo>
                  <a:pt x="615" y="88"/>
                </a:lnTo>
                <a:lnTo>
                  <a:pt x="625" y="88"/>
                </a:lnTo>
                <a:lnTo>
                  <a:pt x="625" y="97"/>
                </a:lnTo>
                <a:lnTo>
                  <a:pt x="625" y="107"/>
                </a:lnTo>
                <a:lnTo>
                  <a:pt x="615" y="107"/>
                </a:lnTo>
                <a:lnTo>
                  <a:pt x="605" y="117"/>
                </a:lnTo>
                <a:lnTo>
                  <a:pt x="625" y="117"/>
                </a:lnTo>
                <a:lnTo>
                  <a:pt x="634" y="117"/>
                </a:lnTo>
                <a:lnTo>
                  <a:pt x="634" y="136"/>
                </a:lnTo>
                <a:lnTo>
                  <a:pt x="634" y="146"/>
                </a:lnTo>
                <a:lnTo>
                  <a:pt x="625" y="156"/>
                </a:lnTo>
                <a:lnTo>
                  <a:pt x="634" y="156"/>
                </a:lnTo>
                <a:lnTo>
                  <a:pt x="644" y="156"/>
                </a:lnTo>
                <a:lnTo>
                  <a:pt x="634" y="166"/>
                </a:lnTo>
                <a:lnTo>
                  <a:pt x="644" y="175"/>
                </a:lnTo>
                <a:lnTo>
                  <a:pt x="654" y="175"/>
                </a:lnTo>
                <a:lnTo>
                  <a:pt x="644" y="175"/>
                </a:lnTo>
                <a:lnTo>
                  <a:pt x="644" y="185"/>
                </a:lnTo>
                <a:lnTo>
                  <a:pt x="654" y="195"/>
                </a:lnTo>
                <a:lnTo>
                  <a:pt x="644" y="195"/>
                </a:lnTo>
                <a:lnTo>
                  <a:pt x="644" y="205"/>
                </a:lnTo>
                <a:lnTo>
                  <a:pt x="654" y="205"/>
                </a:lnTo>
                <a:lnTo>
                  <a:pt x="654" y="224"/>
                </a:lnTo>
                <a:lnTo>
                  <a:pt x="654" y="234"/>
                </a:lnTo>
                <a:lnTo>
                  <a:pt x="654" y="244"/>
                </a:lnTo>
                <a:lnTo>
                  <a:pt x="654" y="263"/>
                </a:lnTo>
                <a:lnTo>
                  <a:pt x="664" y="273"/>
                </a:lnTo>
                <a:lnTo>
                  <a:pt x="654" y="273"/>
                </a:lnTo>
                <a:lnTo>
                  <a:pt x="664" y="273"/>
                </a:lnTo>
                <a:lnTo>
                  <a:pt x="673" y="283"/>
                </a:lnTo>
                <a:lnTo>
                  <a:pt x="673" y="293"/>
                </a:lnTo>
                <a:lnTo>
                  <a:pt x="683" y="302"/>
                </a:lnTo>
                <a:lnTo>
                  <a:pt x="693" y="302"/>
                </a:lnTo>
                <a:lnTo>
                  <a:pt x="703" y="312"/>
                </a:lnTo>
                <a:lnTo>
                  <a:pt x="703" y="322"/>
                </a:lnTo>
                <a:lnTo>
                  <a:pt x="683" y="322"/>
                </a:lnTo>
                <a:lnTo>
                  <a:pt x="673" y="322"/>
                </a:lnTo>
                <a:lnTo>
                  <a:pt x="654" y="322"/>
                </a:lnTo>
                <a:lnTo>
                  <a:pt x="644" y="322"/>
                </a:lnTo>
                <a:lnTo>
                  <a:pt x="625" y="322"/>
                </a:lnTo>
                <a:lnTo>
                  <a:pt x="615" y="332"/>
                </a:lnTo>
                <a:lnTo>
                  <a:pt x="605" y="322"/>
                </a:lnTo>
                <a:lnTo>
                  <a:pt x="595" y="332"/>
                </a:lnTo>
                <a:lnTo>
                  <a:pt x="595" y="351"/>
                </a:lnTo>
                <a:lnTo>
                  <a:pt x="586" y="361"/>
                </a:lnTo>
                <a:lnTo>
                  <a:pt x="576" y="371"/>
                </a:lnTo>
                <a:lnTo>
                  <a:pt x="566" y="400"/>
                </a:lnTo>
                <a:lnTo>
                  <a:pt x="566" y="410"/>
                </a:lnTo>
                <a:lnTo>
                  <a:pt x="566" y="429"/>
                </a:lnTo>
                <a:lnTo>
                  <a:pt x="566" y="449"/>
                </a:lnTo>
                <a:lnTo>
                  <a:pt x="556" y="449"/>
                </a:lnTo>
                <a:lnTo>
                  <a:pt x="566" y="458"/>
                </a:lnTo>
                <a:lnTo>
                  <a:pt x="566" y="478"/>
                </a:lnTo>
                <a:lnTo>
                  <a:pt x="566" y="488"/>
                </a:lnTo>
                <a:lnTo>
                  <a:pt x="576" y="488"/>
                </a:lnTo>
                <a:lnTo>
                  <a:pt x="576" y="507"/>
                </a:lnTo>
                <a:lnTo>
                  <a:pt x="586" y="507"/>
                </a:lnTo>
                <a:lnTo>
                  <a:pt x="586" y="517"/>
                </a:lnTo>
                <a:lnTo>
                  <a:pt x="576" y="527"/>
                </a:lnTo>
                <a:lnTo>
                  <a:pt x="566" y="517"/>
                </a:lnTo>
                <a:lnTo>
                  <a:pt x="556" y="507"/>
                </a:lnTo>
                <a:lnTo>
                  <a:pt x="537" y="497"/>
                </a:lnTo>
                <a:lnTo>
                  <a:pt x="527" y="488"/>
                </a:lnTo>
                <a:lnTo>
                  <a:pt x="527" y="478"/>
                </a:lnTo>
                <a:lnTo>
                  <a:pt x="517" y="478"/>
                </a:lnTo>
                <a:lnTo>
                  <a:pt x="517" y="536"/>
                </a:lnTo>
                <a:lnTo>
                  <a:pt x="527" y="546"/>
                </a:lnTo>
                <a:lnTo>
                  <a:pt x="517" y="556"/>
                </a:lnTo>
                <a:lnTo>
                  <a:pt x="527" y="556"/>
                </a:lnTo>
                <a:lnTo>
                  <a:pt x="537" y="566"/>
                </a:lnTo>
                <a:lnTo>
                  <a:pt x="547" y="576"/>
                </a:lnTo>
                <a:lnTo>
                  <a:pt x="547" y="585"/>
                </a:lnTo>
                <a:lnTo>
                  <a:pt x="537" y="595"/>
                </a:lnTo>
                <a:lnTo>
                  <a:pt x="527" y="585"/>
                </a:lnTo>
                <a:lnTo>
                  <a:pt x="508" y="585"/>
                </a:lnTo>
                <a:lnTo>
                  <a:pt x="498" y="595"/>
                </a:lnTo>
                <a:lnTo>
                  <a:pt x="508" y="605"/>
                </a:lnTo>
                <a:lnTo>
                  <a:pt x="498" y="615"/>
                </a:lnTo>
                <a:lnTo>
                  <a:pt x="478" y="615"/>
                </a:lnTo>
                <a:lnTo>
                  <a:pt x="478" y="624"/>
                </a:lnTo>
                <a:lnTo>
                  <a:pt x="498" y="624"/>
                </a:lnTo>
                <a:lnTo>
                  <a:pt x="488" y="634"/>
                </a:lnTo>
                <a:lnTo>
                  <a:pt x="488" y="644"/>
                </a:lnTo>
                <a:lnTo>
                  <a:pt x="488" y="654"/>
                </a:lnTo>
                <a:lnTo>
                  <a:pt x="498" y="663"/>
                </a:lnTo>
                <a:lnTo>
                  <a:pt x="508" y="663"/>
                </a:lnTo>
                <a:lnTo>
                  <a:pt x="508" y="673"/>
                </a:lnTo>
                <a:lnTo>
                  <a:pt x="508" y="683"/>
                </a:lnTo>
                <a:lnTo>
                  <a:pt x="527" y="683"/>
                </a:lnTo>
                <a:lnTo>
                  <a:pt x="537" y="693"/>
                </a:lnTo>
                <a:lnTo>
                  <a:pt x="527" y="693"/>
                </a:lnTo>
                <a:lnTo>
                  <a:pt x="527" y="702"/>
                </a:lnTo>
                <a:lnTo>
                  <a:pt x="547" y="702"/>
                </a:lnTo>
                <a:lnTo>
                  <a:pt x="556" y="712"/>
                </a:lnTo>
                <a:lnTo>
                  <a:pt x="537" y="712"/>
                </a:lnTo>
                <a:lnTo>
                  <a:pt x="537" y="722"/>
                </a:lnTo>
                <a:lnTo>
                  <a:pt x="556" y="722"/>
                </a:lnTo>
                <a:lnTo>
                  <a:pt x="556" y="732"/>
                </a:lnTo>
                <a:lnTo>
                  <a:pt x="556" y="741"/>
                </a:lnTo>
                <a:lnTo>
                  <a:pt x="566" y="751"/>
                </a:lnTo>
                <a:lnTo>
                  <a:pt x="566" y="761"/>
                </a:lnTo>
                <a:lnTo>
                  <a:pt x="566" y="790"/>
                </a:lnTo>
                <a:lnTo>
                  <a:pt x="586" y="819"/>
                </a:lnTo>
                <a:lnTo>
                  <a:pt x="595" y="829"/>
                </a:lnTo>
                <a:lnTo>
                  <a:pt x="605" y="849"/>
                </a:lnTo>
                <a:lnTo>
                  <a:pt x="625" y="849"/>
                </a:lnTo>
                <a:lnTo>
                  <a:pt x="634" y="849"/>
                </a:lnTo>
                <a:lnTo>
                  <a:pt x="644" y="839"/>
                </a:lnTo>
                <a:lnTo>
                  <a:pt x="654" y="849"/>
                </a:lnTo>
                <a:lnTo>
                  <a:pt x="654" y="839"/>
                </a:lnTo>
                <a:lnTo>
                  <a:pt x="654" y="829"/>
                </a:lnTo>
                <a:lnTo>
                  <a:pt x="644" y="829"/>
                </a:lnTo>
                <a:lnTo>
                  <a:pt x="634" y="810"/>
                </a:lnTo>
                <a:lnTo>
                  <a:pt x="644" y="810"/>
                </a:lnTo>
                <a:lnTo>
                  <a:pt x="654" y="810"/>
                </a:lnTo>
                <a:lnTo>
                  <a:pt x="673" y="790"/>
                </a:lnTo>
                <a:lnTo>
                  <a:pt x="683" y="790"/>
                </a:lnTo>
                <a:lnTo>
                  <a:pt x="683" y="800"/>
                </a:lnTo>
                <a:lnTo>
                  <a:pt x="703" y="810"/>
                </a:lnTo>
                <a:lnTo>
                  <a:pt x="703" y="819"/>
                </a:lnTo>
                <a:lnTo>
                  <a:pt x="703" y="829"/>
                </a:lnTo>
                <a:lnTo>
                  <a:pt x="703" y="849"/>
                </a:lnTo>
                <a:lnTo>
                  <a:pt x="683" y="868"/>
                </a:lnTo>
                <a:lnTo>
                  <a:pt x="673" y="878"/>
                </a:lnTo>
                <a:lnTo>
                  <a:pt x="664" y="888"/>
                </a:lnTo>
                <a:lnTo>
                  <a:pt x="664" y="907"/>
                </a:lnTo>
                <a:lnTo>
                  <a:pt x="654" y="907"/>
                </a:lnTo>
                <a:lnTo>
                  <a:pt x="625" y="917"/>
                </a:lnTo>
                <a:lnTo>
                  <a:pt x="605" y="937"/>
                </a:lnTo>
                <a:lnTo>
                  <a:pt x="605" y="946"/>
                </a:lnTo>
                <a:lnTo>
                  <a:pt x="605" y="956"/>
                </a:lnTo>
                <a:lnTo>
                  <a:pt x="615" y="976"/>
                </a:lnTo>
                <a:lnTo>
                  <a:pt x="615" y="995"/>
                </a:lnTo>
                <a:lnTo>
                  <a:pt x="625" y="1005"/>
                </a:lnTo>
                <a:lnTo>
                  <a:pt x="644" y="1015"/>
                </a:lnTo>
                <a:lnTo>
                  <a:pt x="644" y="1034"/>
                </a:lnTo>
                <a:lnTo>
                  <a:pt x="625" y="1063"/>
                </a:lnTo>
                <a:lnTo>
                  <a:pt x="615" y="1093"/>
                </a:lnTo>
                <a:lnTo>
                  <a:pt x="605" y="1093"/>
                </a:lnTo>
                <a:lnTo>
                  <a:pt x="586" y="1093"/>
                </a:lnTo>
                <a:lnTo>
                  <a:pt x="576" y="1102"/>
                </a:lnTo>
                <a:lnTo>
                  <a:pt x="576" y="1122"/>
                </a:lnTo>
                <a:lnTo>
                  <a:pt x="576" y="1141"/>
                </a:lnTo>
                <a:lnTo>
                  <a:pt x="576" y="1151"/>
                </a:lnTo>
                <a:lnTo>
                  <a:pt x="586" y="1161"/>
                </a:lnTo>
                <a:lnTo>
                  <a:pt x="595" y="1161"/>
                </a:lnTo>
                <a:lnTo>
                  <a:pt x="615" y="1151"/>
                </a:lnTo>
                <a:lnTo>
                  <a:pt x="634" y="1141"/>
                </a:lnTo>
                <a:lnTo>
                  <a:pt x="644" y="1141"/>
                </a:lnTo>
                <a:lnTo>
                  <a:pt x="644" y="1210"/>
                </a:lnTo>
                <a:lnTo>
                  <a:pt x="625" y="1219"/>
                </a:lnTo>
                <a:lnTo>
                  <a:pt x="615" y="1229"/>
                </a:lnTo>
                <a:lnTo>
                  <a:pt x="605" y="1239"/>
                </a:lnTo>
                <a:lnTo>
                  <a:pt x="595" y="1249"/>
                </a:lnTo>
                <a:lnTo>
                  <a:pt x="595" y="1278"/>
                </a:lnTo>
                <a:lnTo>
                  <a:pt x="586" y="1288"/>
                </a:lnTo>
                <a:lnTo>
                  <a:pt x="566" y="1288"/>
                </a:lnTo>
                <a:lnTo>
                  <a:pt x="556" y="1298"/>
                </a:lnTo>
                <a:lnTo>
                  <a:pt x="547" y="1307"/>
                </a:lnTo>
                <a:lnTo>
                  <a:pt x="527" y="1288"/>
                </a:lnTo>
                <a:lnTo>
                  <a:pt x="527" y="1278"/>
                </a:lnTo>
                <a:lnTo>
                  <a:pt x="517" y="1258"/>
                </a:lnTo>
                <a:lnTo>
                  <a:pt x="508" y="1249"/>
                </a:lnTo>
                <a:lnTo>
                  <a:pt x="498" y="1229"/>
                </a:lnTo>
                <a:lnTo>
                  <a:pt x="488" y="1210"/>
                </a:lnTo>
                <a:lnTo>
                  <a:pt x="488" y="1200"/>
                </a:lnTo>
                <a:lnTo>
                  <a:pt x="488" y="1190"/>
                </a:lnTo>
                <a:lnTo>
                  <a:pt x="478" y="1171"/>
                </a:lnTo>
                <a:lnTo>
                  <a:pt x="468" y="1161"/>
                </a:lnTo>
                <a:lnTo>
                  <a:pt x="488" y="1151"/>
                </a:lnTo>
                <a:lnTo>
                  <a:pt x="468" y="1141"/>
                </a:lnTo>
                <a:lnTo>
                  <a:pt x="468" y="1122"/>
                </a:lnTo>
                <a:lnTo>
                  <a:pt x="459" y="1112"/>
                </a:lnTo>
                <a:lnTo>
                  <a:pt x="439" y="1102"/>
                </a:lnTo>
                <a:lnTo>
                  <a:pt x="429" y="1093"/>
                </a:lnTo>
                <a:lnTo>
                  <a:pt x="420" y="1083"/>
                </a:lnTo>
                <a:lnTo>
                  <a:pt x="429" y="1083"/>
                </a:lnTo>
                <a:lnTo>
                  <a:pt x="439" y="1073"/>
                </a:lnTo>
                <a:lnTo>
                  <a:pt x="449" y="1073"/>
                </a:lnTo>
                <a:lnTo>
                  <a:pt x="449" y="1054"/>
                </a:lnTo>
                <a:lnTo>
                  <a:pt x="439" y="1044"/>
                </a:lnTo>
                <a:lnTo>
                  <a:pt x="439" y="1034"/>
                </a:lnTo>
                <a:lnTo>
                  <a:pt x="449" y="1024"/>
                </a:lnTo>
                <a:lnTo>
                  <a:pt x="459" y="1015"/>
                </a:lnTo>
                <a:lnTo>
                  <a:pt x="449" y="995"/>
                </a:lnTo>
                <a:lnTo>
                  <a:pt x="449" y="985"/>
                </a:lnTo>
                <a:lnTo>
                  <a:pt x="449" y="946"/>
                </a:lnTo>
                <a:lnTo>
                  <a:pt x="459" y="937"/>
                </a:lnTo>
                <a:lnTo>
                  <a:pt x="449" y="927"/>
                </a:lnTo>
                <a:lnTo>
                  <a:pt x="449" y="907"/>
                </a:lnTo>
                <a:lnTo>
                  <a:pt x="449" y="897"/>
                </a:lnTo>
                <a:lnTo>
                  <a:pt x="449" y="888"/>
                </a:lnTo>
                <a:lnTo>
                  <a:pt x="429" y="878"/>
                </a:lnTo>
                <a:lnTo>
                  <a:pt x="429" y="868"/>
                </a:lnTo>
                <a:lnTo>
                  <a:pt x="420" y="849"/>
                </a:lnTo>
                <a:lnTo>
                  <a:pt x="420" y="839"/>
                </a:lnTo>
                <a:lnTo>
                  <a:pt x="420" y="819"/>
                </a:lnTo>
                <a:lnTo>
                  <a:pt x="420" y="810"/>
                </a:lnTo>
                <a:lnTo>
                  <a:pt x="420" y="800"/>
                </a:lnTo>
                <a:lnTo>
                  <a:pt x="410" y="780"/>
                </a:lnTo>
                <a:lnTo>
                  <a:pt x="410" y="761"/>
                </a:lnTo>
                <a:lnTo>
                  <a:pt x="410" y="751"/>
                </a:lnTo>
                <a:lnTo>
                  <a:pt x="400" y="741"/>
                </a:lnTo>
                <a:lnTo>
                  <a:pt x="400" y="712"/>
                </a:lnTo>
                <a:lnTo>
                  <a:pt x="400" y="693"/>
                </a:lnTo>
                <a:lnTo>
                  <a:pt x="381" y="673"/>
                </a:lnTo>
                <a:lnTo>
                  <a:pt x="371" y="654"/>
                </a:lnTo>
                <a:lnTo>
                  <a:pt x="381" y="634"/>
                </a:lnTo>
                <a:lnTo>
                  <a:pt x="381" y="624"/>
                </a:lnTo>
                <a:lnTo>
                  <a:pt x="381" y="615"/>
                </a:lnTo>
                <a:lnTo>
                  <a:pt x="381" y="605"/>
                </a:lnTo>
                <a:lnTo>
                  <a:pt x="381" y="595"/>
                </a:lnTo>
                <a:lnTo>
                  <a:pt x="390" y="595"/>
                </a:lnTo>
                <a:lnTo>
                  <a:pt x="390" y="585"/>
                </a:lnTo>
                <a:lnTo>
                  <a:pt x="390" y="566"/>
                </a:lnTo>
                <a:lnTo>
                  <a:pt x="371" y="566"/>
                </a:lnTo>
                <a:lnTo>
                  <a:pt x="371" y="556"/>
                </a:lnTo>
                <a:lnTo>
                  <a:pt x="371" y="546"/>
                </a:lnTo>
                <a:lnTo>
                  <a:pt x="371" y="536"/>
                </a:lnTo>
                <a:lnTo>
                  <a:pt x="361" y="527"/>
                </a:lnTo>
                <a:lnTo>
                  <a:pt x="351" y="527"/>
                </a:lnTo>
                <a:lnTo>
                  <a:pt x="342" y="527"/>
                </a:lnTo>
                <a:lnTo>
                  <a:pt x="332" y="517"/>
                </a:lnTo>
                <a:lnTo>
                  <a:pt x="322" y="517"/>
                </a:lnTo>
                <a:lnTo>
                  <a:pt x="322" y="497"/>
                </a:lnTo>
                <a:lnTo>
                  <a:pt x="312" y="497"/>
                </a:lnTo>
                <a:lnTo>
                  <a:pt x="303" y="488"/>
                </a:lnTo>
                <a:lnTo>
                  <a:pt x="293" y="478"/>
                </a:lnTo>
                <a:lnTo>
                  <a:pt x="273" y="458"/>
                </a:lnTo>
                <a:lnTo>
                  <a:pt x="273" y="449"/>
                </a:lnTo>
                <a:lnTo>
                  <a:pt x="273" y="429"/>
                </a:lnTo>
                <a:lnTo>
                  <a:pt x="283" y="410"/>
                </a:lnTo>
                <a:lnTo>
                  <a:pt x="293" y="410"/>
                </a:lnTo>
                <a:lnTo>
                  <a:pt x="293" y="400"/>
                </a:lnTo>
                <a:lnTo>
                  <a:pt x="293" y="390"/>
                </a:lnTo>
                <a:lnTo>
                  <a:pt x="283" y="400"/>
                </a:lnTo>
                <a:lnTo>
                  <a:pt x="273" y="410"/>
                </a:lnTo>
                <a:lnTo>
                  <a:pt x="264" y="410"/>
                </a:lnTo>
                <a:lnTo>
                  <a:pt x="254" y="410"/>
                </a:lnTo>
                <a:lnTo>
                  <a:pt x="244" y="429"/>
                </a:lnTo>
                <a:lnTo>
                  <a:pt x="244" y="449"/>
                </a:lnTo>
                <a:lnTo>
                  <a:pt x="234" y="458"/>
                </a:lnTo>
                <a:lnTo>
                  <a:pt x="225" y="458"/>
                </a:lnTo>
                <a:lnTo>
                  <a:pt x="225" y="478"/>
                </a:lnTo>
                <a:lnTo>
                  <a:pt x="234" y="488"/>
                </a:lnTo>
                <a:lnTo>
                  <a:pt x="244" y="488"/>
                </a:lnTo>
                <a:lnTo>
                  <a:pt x="244" y="497"/>
                </a:lnTo>
                <a:lnTo>
                  <a:pt x="254" y="507"/>
                </a:lnTo>
                <a:lnTo>
                  <a:pt x="264" y="507"/>
                </a:lnTo>
                <a:lnTo>
                  <a:pt x="273" y="517"/>
                </a:lnTo>
                <a:lnTo>
                  <a:pt x="273" y="527"/>
                </a:lnTo>
                <a:lnTo>
                  <a:pt x="283" y="536"/>
                </a:lnTo>
                <a:lnTo>
                  <a:pt x="303" y="536"/>
                </a:lnTo>
                <a:lnTo>
                  <a:pt x="312" y="536"/>
                </a:lnTo>
                <a:lnTo>
                  <a:pt x="312" y="556"/>
                </a:lnTo>
                <a:lnTo>
                  <a:pt x="303" y="556"/>
                </a:lnTo>
                <a:lnTo>
                  <a:pt x="293" y="556"/>
                </a:lnTo>
                <a:lnTo>
                  <a:pt x="283" y="566"/>
                </a:lnTo>
                <a:lnTo>
                  <a:pt x="283" y="576"/>
                </a:lnTo>
                <a:lnTo>
                  <a:pt x="254" y="556"/>
                </a:lnTo>
                <a:lnTo>
                  <a:pt x="264" y="536"/>
                </a:lnTo>
                <a:lnTo>
                  <a:pt x="254" y="536"/>
                </a:lnTo>
                <a:lnTo>
                  <a:pt x="234" y="536"/>
                </a:lnTo>
                <a:lnTo>
                  <a:pt x="234" y="527"/>
                </a:lnTo>
                <a:lnTo>
                  <a:pt x="225" y="517"/>
                </a:lnTo>
                <a:lnTo>
                  <a:pt x="215" y="497"/>
                </a:lnTo>
                <a:lnTo>
                  <a:pt x="195" y="488"/>
                </a:lnTo>
                <a:lnTo>
                  <a:pt x="156" y="478"/>
                </a:lnTo>
                <a:lnTo>
                  <a:pt x="156" y="449"/>
                </a:lnTo>
                <a:lnTo>
                  <a:pt x="127" y="449"/>
                </a:lnTo>
                <a:lnTo>
                  <a:pt x="127" y="439"/>
                </a:lnTo>
                <a:lnTo>
                  <a:pt x="127" y="429"/>
                </a:lnTo>
                <a:lnTo>
                  <a:pt x="117" y="410"/>
                </a:lnTo>
                <a:lnTo>
                  <a:pt x="108" y="410"/>
                </a:lnTo>
                <a:lnTo>
                  <a:pt x="98" y="410"/>
                </a:lnTo>
                <a:lnTo>
                  <a:pt x="78" y="410"/>
                </a:lnTo>
                <a:lnTo>
                  <a:pt x="78" y="400"/>
                </a:lnTo>
                <a:lnTo>
                  <a:pt x="78" y="390"/>
                </a:lnTo>
                <a:lnTo>
                  <a:pt x="59" y="380"/>
                </a:lnTo>
                <a:lnTo>
                  <a:pt x="49" y="380"/>
                </a:lnTo>
                <a:lnTo>
                  <a:pt x="59" y="371"/>
                </a:lnTo>
                <a:lnTo>
                  <a:pt x="49" y="351"/>
                </a:lnTo>
                <a:lnTo>
                  <a:pt x="30" y="351"/>
                </a:lnTo>
                <a:lnTo>
                  <a:pt x="20" y="332"/>
                </a:lnTo>
                <a:lnTo>
                  <a:pt x="10" y="322"/>
                </a:lnTo>
                <a:lnTo>
                  <a:pt x="0" y="312"/>
                </a:lnTo>
                <a:lnTo>
                  <a:pt x="20" y="293"/>
                </a:lnTo>
                <a:lnTo>
                  <a:pt x="30" y="273"/>
                </a:lnTo>
                <a:lnTo>
                  <a:pt x="39" y="263"/>
                </a:lnTo>
                <a:lnTo>
                  <a:pt x="59" y="263"/>
                </a:lnTo>
                <a:lnTo>
                  <a:pt x="49" y="244"/>
                </a:lnTo>
                <a:close/>
              </a:path>
            </a:pathLst>
          </a:custGeom>
          <a:solidFill>
            <a:srgbClr val="969696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grpSp>
        <p:nvGrpSpPr>
          <p:cNvPr id="18540" name="Group 248"/>
          <p:cNvGrpSpPr>
            <a:grpSpLocks noChangeAspect="1"/>
          </p:cNvGrpSpPr>
          <p:nvPr>
            <p:custDataLst>
              <p:tags r:id="rId106"/>
            </p:custDataLst>
          </p:nvPr>
        </p:nvGrpSpPr>
        <p:grpSpPr bwMode="auto">
          <a:xfrm>
            <a:off x="7054850" y="3400425"/>
            <a:ext cx="469900" cy="814388"/>
            <a:chOff x="8086" y="888"/>
            <a:chExt cx="703" cy="1307"/>
          </a:xfrm>
        </p:grpSpPr>
        <p:sp>
          <p:nvSpPr>
            <p:cNvPr id="18780" name="Freeform 250"/>
            <p:cNvSpPr>
              <a:spLocks noChangeAspect="1"/>
            </p:cNvSpPr>
            <p:nvPr/>
          </p:nvSpPr>
          <p:spPr bwMode="auto">
            <a:xfrm>
              <a:off x="8086" y="888"/>
              <a:ext cx="703" cy="1307"/>
            </a:xfrm>
            <a:custGeom>
              <a:avLst/>
              <a:gdLst>
                <a:gd name="T0" fmla="*/ 88 w 703"/>
                <a:gd name="T1" fmla="*/ 244 h 1307"/>
                <a:gd name="T2" fmla="*/ 176 w 703"/>
                <a:gd name="T3" fmla="*/ 166 h 1307"/>
                <a:gd name="T4" fmla="*/ 273 w 703"/>
                <a:gd name="T5" fmla="*/ 127 h 1307"/>
                <a:gd name="T6" fmla="*/ 342 w 703"/>
                <a:gd name="T7" fmla="*/ 215 h 1307"/>
                <a:gd name="T8" fmla="*/ 449 w 703"/>
                <a:gd name="T9" fmla="*/ 185 h 1307"/>
                <a:gd name="T10" fmla="*/ 488 w 703"/>
                <a:gd name="T11" fmla="*/ 88 h 1307"/>
                <a:gd name="T12" fmla="*/ 537 w 703"/>
                <a:gd name="T13" fmla="*/ 10 h 1307"/>
                <a:gd name="T14" fmla="*/ 605 w 703"/>
                <a:gd name="T15" fmla="*/ 10 h 1307"/>
                <a:gd name="T16" fmla="*/ 615 w 703"/>
                <a:gd name="T17" fmla="*/ 58 h 1307"/>
                <a:gd name="T18" fmla="*/ 625 w 703"/>
                <a:gd name="T19" fmla="*/ 88 h 1307"/>
                <a:gd name="T20" fmla="*/ 625 w 703"/>
                <a:gd name="T21" fmla="*/ 117 h 1307"/>
                <a:gd name="T22" fmla="*/ 634 w 703"/>
                <a:gd name="T23" fmla="*/ 156 h 1307"/>
                <a:gd name="T24" fmla="*/ 644 w 703"/>
                <a:gd name="T25" fmla="*/ 175 h 1307"/>
                <a:gd name="T26" fmla="*/ 654 w 703"/>
                <a:gd name="T27" fmla="*/ 215 h 1307"/>
                <a:gd name="T28" fmla="*/ 654 w 703"/>
                <a:gd name="T29" fmla="*/ 273 h 1307"/>
                <a:gd name="T30" fmla="*/ 703 w 703"/>
                <a:gd name="T31" fmla="*/ 312 h 1307"/>
                <a:gd name="T32" fmla="*/ 625 w 703"/>
                <a:gd name="T33" fmla="*/ 332 h 1307"/>
                <a:gd name="T34" fmla="*/ 576 w 703"/>
                <a:gd name="T35" fmla="*/ 371 h 1307"/>
                <a:gd name="T36" fmla="*/ 556 w 703"/>
                <a:gd name="T37" fmla="*/ 449 h 1307"/>
                <a:gd name="T38" fmla="*/ 576 w 703"/>
                <a:gd name="T39" fmla="*/ 488 h 1307"/>
                <a:gd name="T40" fmla="*/ 556 w 703"/>
                <a:gd name="T41" fmla="*/ 507 h 1307"/>
                <a:gd name="T42" fmla="*/ 527 w 703"/>
                <a:gd name="T43" fmla="*/ 546 h 1307"/>
                <a:gd name="T44" fmla="*/ 537 w 703"/>
                <a:gd name="T45" fmla="*/ 595 h 1307"/>
                <a:gd name="T46" fmla="*/ 508 w 703"/>
                <a:gd name="T47" fmla="*/ 605 h 1307"/>
                <a:gd name="T48" fmla="*/ 488 w 703"/>
                <a:gd name="T49" fmla="*/ 634 h 1307"/>
                <a:gd name="T50" fmla="*/ 508 w 703"/>
                <a:gd name="T51" fmla="*/ 683 h 1307"/>
                <a:gd name="T52" fmla="*/ 556 w 703"/>
                <a:gd name="T53" fmla="*/ 712 h 1307"/>
                <a:gd name="T54" fmla="*/ 556 w 703"/>
                <a:gd name="T55" fmla="*/ 741 h 1307"/>
                <a:gd name="T56" fmla="*/ 605 w 703"/>
                <a:gd name="T57" fmla="*/ 849 h 1307"/>
                <a:gd name="T58" fmla="*/ 654 w 703"/>
                <a:gd name="T59" fmla="*/ 829 h 1307"/>
                <a:gd name="T60" fmla="*/ 683 w 703"/>
                <a:gd name="T61" fmla="*/ 790 h 1307"/>
                <a:gd name="T62" fmla="*/ 683 w 703"/>
                <a:gd name="T63" fmla="*/ 868 h 1307"/>
                <a:gd name="T64" fmla="*/ 605 w 703"/>
                <a:gd name="T65" fmla="*/ 937 h 1307"/>
                <a:gd name="T66" fmla="*/ 644 w 703"/>
                <a:gd name="T67" fmla="*/ 1024 h 1307"/>
                <a:gd name="T68" fmla="*/ 576 w 703"/>
                <a:gd name="T69" fmla="*/ 1102 h 1307"/>
                <a:gd name="T70" fmla="*/ 615 w 703"/>
                <a:gd name="T71" fmla="*/ 1151 h 1307"/>
                <a:gd name="T72" fmla="*/ 605 w 703"/>
                <a:gd name="T73" fmla="*/ 1239 h 1307"/>
                <a:gd name="T74" fmla="*/ 547 w 703"/>
                <a:gd name="T75" fmla="*/ 1307 h 1307"/>
                <a:gd name="T76" fmla="*/ 488 w 703"/>
                <a:gd name="T77" fmla="*/ 1210 h 1307"/>
                <a:gd name="T78" fmla="*/ 488 w 703"/>
                <a:gd name="T79" fmla="*/ 1151 h 1307"/>
                <a:gd name="T80" fmla="*/ 420 w 703"/>
                <a:gd name="T81" fmla="*/ 1083 h 1307"/>
                <a:gd name="T82" fmla="*/ 439 w 703"/>
                <a:gd name="T83" fmla="*/ 1034 h 1307"/>
                <a:gd name="T84" fmla="*/ 459 w 703"/>
                <a:gd name="T85" fmla="*/ 937 h 1307"/>
                <a:gd name="T86" fmla="*/ 429 w 703"/>
                <a:gd name="T87" fmla="*/ 868 h 1307"/>
                <a:gd name="T88" fmla="*/ 410 w 703"/>
                <a:gd name="T89" fmla="*/ 780 h 1307"/>
                <a:gd name="T90" fmla="*/ 381 w 703"/>
                <a:gd name="T91" fmla="*/ 683 h 1307"/>
                <a:gd name="T92" fmla="*/ 381 w 703"/>
                <a:gd name="T93" fmla="*/ 595 h 1307"/>
                <a:gd name="T94" fmla="*/ 371 w 703"/>
                <a:gd name="T95" fmla="*/ 546 h 1307"/>
                <a:gd name="T96" fmla="*/ 322 w 703"/>
                <a:gd name="T97" fmla="*/ 517 h 1307"/>
                <a:gd name="T98" fmla="*/ 273 w 703"/>
                <a:gd name="T99" fmla="*/ 449 h 1307"/>
                <a:gd name="T100" fmla="*/ 283 w 703"/>
                <a:gd name="T101" fmla="*/ 400 h 1307"/>
                <a:gd name="T102" fmla="*/ 244 w 703"/>
                <a:gd name="T103" fmla="*/ 449 h 1307"/>
                <a:gd name="T104" fmla="*/ 244 w 703"/>
                <a:gd name="T105" fmla="*/ 497 h 1307"/>
                <a:gd name="T106" fmla="*/ 303 w 703"/>
                <a:gd name="T107" fmla="*/ 536 h 1307"/>
                <a:gd name="T108" fmla="*/ 283 w 703"/>
                <a:gd name="T109" fmla="*/ 566 h 1307"/>
                <a:gd name="T110" fmla="*/ 234 w 703"/>
                <a:gd name="T111" fmla="*/ 536 h 1307"/>
                <a:gd name="T112" fmla="*/ 156 w 703"/>
                <a:gd name="T113" fmla="*/ 478 h 1307"/>
                <a:gd name="T114" fmla="*/ 108 w 703"/>
                <a:gd name="T115" fmla="*/ 410 h 1307"/>
                <a:gd name="T116" fmla="*/ 49 w 703"/>
                <a:gd name="T117" fmla="*/ 380 h 1307"/>
                <a:gd name="T118" fmla="*/ 0 w 703"/>
                <a:gd name="T119" fmla="*/ 312 h 1307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703"/>
                <a:gd name="T181" fmla="*/ 0 h 1307"/>
                <a:gd name="T182" fmla="*/ 703 w 703"/>
                <a:gd name="T183" fmla="*/ 1307 h 1307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703" h="1307">
                  <a:moveTo>
                    <a:pt x="49" y="244"/>
                  </a:moveTo>
                  <a:lnTo>
                    <a:pt x="59" y="234"/>
                  </a:lnTo>
                  <a:lnTo>
                    <a:pt x="69" y="234"/>
                  </a:lnTo>
                  <a:lnTo>
                    <a:pt x="78" y="224"/>
                  </a:lnTo>
                  <a:lnTo>
                    <a:pt x="88" y="224"/>
                  </a:lnTo>
                  <a:lnTo>
                    <a:pt x="88" y="244"/>
                  </a:lnTo>
                  <a:lnTo>
                    <a:pt x="108" y="244"/>
                  </a:lnTo>
                  <a:lnTo>
                    <a:pt x="108" y="215"/>
                  </a:lnTo>
                  <a:lnTo>
                    <a:pt x="127" y="205"/>
                  </a:lnTo>
                  <a:lnTo>
                    <a:pt x="137" y="175"/>
                  </a:lnTo>
                  <a:lnTo>
                    <a:pt x="156" y="175"/>
                  </a:lnTo>
                  <a:lnTo>
                    <a:pt x="176" y="166"/>
                  </a:lnTo>
                  <a:lnTo>
                    <a:pt x="176" y="146"/>
                  </a:lnTo>
                  <a:lnTo>
                    <a:pt x="195" y="136"/>
                  </a:lnTo>
                  <a:lnTo>
                    <a:pt x="215" y="136"/>
                  </a:lnTo>
                  <a:lnTo>
                    <a:pt x="244" y="146"/>
                  </a:lnTo>
                  <a:lnTo>
                    <a:pt x="264" y="146"/>
                  </a:lnTo>
                  <a:lnTo>
                    <a:pt x="273" y="127"/>
                  </a:lnTo>
                  <a:lnTo>
                    <a:pt x="303" y="127"/>
                  </a:lnTo>
                  <a:lnTo>
                    <a:pt x="312" y="136"/>
                  </a:lnTo>
                  <a:lnTo>
                    <a:pt x="312" y="156"/>
                  </a:lnTo>
                  <a:lnTo>
                    <a:pt x="322" y="195"/>
                  </a:lnTo>
                  <a:lnTo>
                    <a:pt x="322" y="215"/>
                  </a:lnTo>
                  <a:lnTo>
                    <a:pt x="342" y="215"/>
                  </a:lnTo>
                  <a:lnTo>
                    <a:pt x="342" y="205"/>
                  </a:lnTo>
                  <a:lnTo>
                    <a:pt x="371" y="195"/>
                  </a:lnTo>
                  <a:lnTo>
                    <a:pt x="400" y="175"/>
                  </a:lnTo>
                  <a:lnTo>
                    <a:pt x="410" y="166"/>
                  </a:lnTo>
                  <a:lnTo>
                    <a:pt x="429" y="175"/>
                  </a:lnTo>
                  <a:lnTo>
                    <a:pt x="449" y="185"/>
                  </a:lnTo>
                  <a:lnTo>
                    <a:pt x="459" y="185"/>
                  </a:lnTo>
                  <a:lnTo>
                    <a:pt x="468" y="175"/>
                  </a:lnTo>
                  <a:lnTo>
                    <a:pt x="468" y="146"/>
                  </a:lnTo>
                  <a:lnTo>
                    <a:pt x="468" y="127"/>
                  </a:lnTo>
                  <a:lnTo>
                    <a:pt x="488" y="107"/>
                  </a:lnTo>
                  <a:lnTo>
                    <a:pt x="488" y="88"/>
                  </a:lnTo>
                  <a:lnTo>
                    <a:pt x="498" y="68"/>
                  </a:lnTo>
                  <a:lnTo>
                    <a:pt x="508" y="68"/>
                  </a:lnTo>
                  <a:lnTo>
                    <a:pt x="517" y="49"/>
                  </a:lnTo>
                  <a:lnTo>
                    <a:pt x="517" y="19"/>
                  </a:lnTo>
                  <a:lnTo>
                    <a:pt x="527" y="10"/>
                  </a:lnTo>
                  <a:lnTo>
                    <a:pt x="537" y="10"/>
                  </a:lnTo>
                  <a:lnTo>
                    <a:pt x="547" y="0"/>
                  </a:lnTo>
                  <a:lnTo>
                    <a:pt x="547" y="19"/>
                  </a:lnTo>
                  <a:lnTo>
                    <a:pt x="556" y="19"/>
                  </a:lnTo>
                  <a:lnTo>
                    <a:pt x="576" y="10"/>
                  </a:lnTo>
                  <a:lnTo>
                    <a:pt x="595" y="10"/>
                  </a:lnTo>
                  <a:lnTo>
                    <a:pt x="605" y="10"/>
                  </a:lnTo>
                  <a:lnTo>
                    <a:pt x="615" y="10"/>
                  </a:lnTo>
                  <a:lnTo>
                    <a:pt x="615" y="29"/>
                  </a:lnTo>
                  <a:lnTo>
                    <a:pt x="605" y="29"/>
                  </a:lnTo>
                  <a:lnTo>
                    <a:pt x="605" y="39"/>
                  </a:lnTo>
                  <a:lnTo>
                    <a:pt x="615" y="49"/>
                  </a:lnTo>
                  <a:lnTo>
                    <a:pt x="615" y="58"/>
                  </a:lnTo>
                  <a:lnTo>
                    <a:pt x="605" y="58"/>
                  </a:lnTo>
                  <a:lnTo>
                    <a:pt x="605" y="68"/>
                  </a:lnTo>
                  <a:lnTo>
                    <a:pt x="605" y="78"/>
                  </a:lnTo>
                  <a:lnTo>
                    <a:pt x="615" y="78"/>
                  </a:lnTo>
                  <a:lnTo>
                    <a:pt x="615" y="88"/>
                  </a:lnTo>
                  <a:lnTo>
                    <a:pt x="625" y="88"/>
                  </a:lnTo>
                  <a:lnTo>
                    <a:pt x="625" y="97"/>
                  </a:lnTo>
                  <a:lnTo>
                    <a:pt x="625" y="107"/>
                  </a:lnTo>
                  <a:lnTo>
                    <a:pt x="615" y="107"/>
                  </a:lnTo>
                  <a:lnTo>
                    <a:pt x="605" y="117"/>
                  </a:lnTo>
                  <a:lnTo>
                    <a:pt x="625" y="117"/>
                  </a:lnTo>
                  <a:lnTo>
                    <a:pt x="634" y="127"/>
                  </a:lnTo>
                  <a:lnTo>
                    <a:pt x="634" y="136"/>
                  </a:lnTo>
                  <a:lnTo>
                    <a:pt x="634" y="146"/>
                  </a:lnTo>
                  <a:lnTo>
                    <a:pt x="625" y="156"/>
                  </a:lnTo>
                  <a:lnTo>
                    <a:pt x="634" y="156"/>
                  </a:lnTo>
                  <a:lnTo>
                    <a:pt x="644" y="156"/>
                  </a:lnTo>
                  <a:lnTo>
                    <a:pt x="644" y="166"/>
                  </a:lnTo>
                  <a:lnTo>
                    <a:pt x="634" y="166"/>
                  </a:lnTo>
                  <a:lnTo>
                    <a:pt x="644" y="175"/>
                  </a:lnTo>
                  <a:lnTo>
                    <a:pt x="654" y="175"/>
                  </a:lnTo>
                  <a:lnTo>
                    <a:pt x="644" y="175"/>
                  </a:lnTo>
                  <a:lnTo>
                    <a:pt x="644" y="185"/>
                  </a:lnTo>
                  <a:lnTo>
                    <a:pt x="654" y="195"/>
                  </a:lnTo>
                  <a:lnTo>
                    <a:pt x="644" y="195"/>
                  </a:lnTo>
                  <a:lnTo>
                    <a:pt x="644" y="205"/>
                  </a:lnTo>
                  <a:lnTo>
                    <a:pt x="654" y="205"/>
                  </a:lnTo>
                  <a:lnTo>
                    <a:pt x="654" y="215"/>
                  </a:lnTo>
                  <a:lnTo>
                    <a:pt x="654" y="224"/>
                  </a:lnTo>
                  <a:lnTo>
                    <a:pt x="654" y="234"/>
                  </a:lnTo>
                  <a:lnTo>
                    <a:pt x="654" y="244"/>
                  </a:lnTo>
                  <a:lnTo>
                    <a:pt x="654" y="263"/>
                  </a:lnTo>
                  <a:lnTo>
                    <a:pt x="664" y="273"/>
                  </a:lnTo>
                  <a:lnTo>
                    <a:pt x="654" y="273"/>
                  </a:lnTo>
                  <a:lnTo>
                    <a:pt x="664" y="273"/>
                  </a:lnTo>
                  <a:lnTo>
                    <a:pt x="673" y="283"/>
                  </a:lnTo>
                  <a:lnTo>
                    <a:pt x="673" y="293"/>
                  </a:lnTo>
                  <a:lnTo>
                    <a:pt x="683" y="302"/>
                  </a:lnTo>
                  <a:lnTo>
                    <a:pt x="693" y="302"/>
                  </a:lnTo>
                  <a:lnTo>
                    <a:pt x="703" y="312"/>
                  </a:lnTo>
                  <a:lnTo>
                    <a:pt x="703" y="322"/>
                  </a:lnTo>
                  <a:lnTo>
                    <a:pt x="683" y="322"/>
                  </a:lnTo>
                  <a:lnTo>
                    <a:pt x="673" y="332"/>
                  </a:lnTo>
                  <a:lnTo>
                    <a:pt x="654" y="332"/>
                  </a:lnTo>
                  <a:lnTo>
                    <a:pt x="644" y="322"/>
                  </a:lnTo>
                  <a:lnTo>
                    <a:pt x="625" y="332"/>
                  </a:lnTo>
                  <a:lnTo>
                    <a:pt x="615" y="332"/>
                  </a:lnTo>
                  <a:lnTo>
                    <a:pt x="605" y="332"/>
                  </a:lnTo>
                  <a:lnTo>
                    <a:pt x="595" y="332"/>
                  </a:lnTo>
                  <a:lnTo>
                    <a:pt x="595" y="351"/>
                  </a:lnTo>
                  <a:lnTo>
                    <a:pt x="586" y="361"/>
                  </a:lnTo>
                  <a:lnTo>
                    <a:pt x="576" y="371"/>
                  </a:lnTo>
                  <a:lnTo>
                    <a:pt x="566" y="400"/>
                  </a:lnTo>
                  <a:lnTo>
                    <a:pt x="566" y="410"/>
                  </a:lnTo>
                  <a:lnTo>
                    <a:pt x="566" y="429"/>
                  </a:lnTo>
                  <a:lnTo>
                    <a:pt x="566" y="449"/>
                  </a:lnTo>
                  <a:lnTo>
                    <a:pt x="556" y="449"/>
                  </a:lnTo>
                  <a:lnTo>
                    <a:pt x="556" y="458"/>
                  </a:lnTo>
                  <a:lnTo>
                    <a:pt x="556" y="468"/>
                  </a:lnTo>
                  <a:lnTo>
                    <a:pt x="566" y="478"/>
                  </a:lnTo>
                  <a:lnTo>
                    <a:pt x="566" y="488"/>
                  </a:lnTo>
                  <a:lnTo>
                    <a:pt x="576" y="488"/>
                  </a:lnTo>
                  <a:lnTo>
                    <a:pt x="576" y="507"/>
                  </a:lnTo>
                  <a:lnTo>
                    <a:pt x="586" y="507"/>
                  </a:lnTo>
                  <a:lnTo>
                    <a:pt x="586" y="527"/>
                  </a:lnTo>
                  <a:lnTo>
                    <a:pt x="576" y="527"/>
                  </a:lnTo>
                  <a:lnTo>
                    <a:pt x="566" y="517"/>
                  </a:lnTo>
                  <a:lnTo>
                    <a:pt x="556" y="507"/>
                  </a:lnTo>
                  <a:lnTo>
                    <a:pt x="537" y="497"/>
                  </a:lnTo>
                  <a:lnTo>
                    <a:pt x="527" y="488"/>
                  </a:lnTo>
                  <a:lnTo>
                    <a:pt x="527" y="478"/>
                  </a:lnTo>
                  <a:lnTo>
                    <a:pt x="517" y="478"/>
                  </a:lnTo>
                  <a:lnTo>
                    <a:pt x="517" y="536"/>
                  </a:lnTo>
                  <a:lnTo>
                    <a:pt x="527" y="546"/>
                  </a:lnTo>
                  <a:lnTo>
                    <a:pt x="517" y="556"/>
                  </a:lnTo>
                  <a:lnTo>
                    <a:pt x="527" y="556"/>
                  </a:lnTo>
                  <a:lnTo>
                    <a:pt x="537" y="566"/>
                  </a:lnTo>
                  <a:lnTo>
                    <a:pt x="547" y="576"/>
                  </a:lnTo>
                  <a:lnTo>
                    <a:pt x="547" y="585"/>
                  </a:lnTo>
                  <a:lnTo>
                    <a:pt x="537" y="595"/>
                  </a:lnTo>
                  <a:lnTo>
                    <a:pt x="527" y="585"/>
                  </a:lnTo>
                  <a:lnTo>
                    <a:pt x="508" y="585"/>
                  </a:lnTo>
                  <a:lnTo>
                    <a:pt x="498" y="595"/>
                  </a:lnTo>
                  <a:lnTo>
                    <a:pt x="498" y="605"/>
                  </a:lnTo>
                  <a:lnTo>
                    <a:pt x="508" y="605"/>
                  </a:lnTo>
                  <a:lnTo>
                    <a:pt x="498" y="615"/>
                  </a:lnTo>
                  <a:lnTo>
                    <a:pt x="478" y="624"/>
                  </a:lnTo>
                  <a:lnTo>
                    <a:pt x="498" y="624"/>
                  </a:lnTo>
                  <a:lnTo>
                    <a:pt x="488" y="634"/>
                  </a:lnTo>
                  <a:lnTo>
                    <a:pt x="488" y="644"/>
                  </a:lnTo>
                  <a:lnTo>
                    <a:pt x="488" y="654"/>
                  </a:lnTo>
                  <a:lnTo>
                    <a:pt x="498" y="663"/>
                  </a:lnTo>
                  <a:lnTo>
                    <a:pt x="508" y="663"/>
                  </a:lnTo>
                  <a:lnTo>
                    <a:pt x="508" y="673"/>
                  </a:lnTo>
                  <a:lnTo>
                    <a:pt x="508" y="683"/>
                  </a:lnTo>
                  <a:lnTo>
                    <a:pt x="527" y="683"/>
                  </a:lnTo>
                  <a:lnTo>
                    <a:pt x="537" y="693"/>
                  </a:lnTo>
                  <a:lnTo>
                    <a:pt x="527" y="693"/>
                  </a:lnTo>
                  <a:lnTo>
                    <a:pt x="527" y="702"/>
                  </a:lnTo>
                  <a:lnTo>
                    <a:pt x="547" y="702"/>
                  </a:lnTo>
                  <a:lnTo>
                    <a:pt x="556" y="712"/>
                  </a:lnTo>
                  <a:lnTo>
                    <a:pt x="537" y="712"/>
                  </a:lnTo>
                  <a:lnTo>
                    <a:pt x="537" y="722"/>
                  </a:lnTo>
                  <a:lnTo>
                    <a:pt x="556" y="722"/>
                  </a:lnTo>
                  <a:lnTo>
                    <a:pt x="556" y="732"/>
                  </a:lnTo>
                  <a:lnTo>
                    <a:pt x="556" y="741"/>
                  </a:lnTo>
                  <a:lnTo>
                    <a:pt x="556" y="751"/>
                  </a:lnTo>
                  <a:lnTo>
                    <a:pt x="556" y="761"/>
                  </a:lnTo>
                  <a:lnTo>
                    <a:pt x="566" y="790"/>
                  </a:lnTo>
                  <a:lnTo>
                    <a:pt x="586" y="819"/>
                  </a:lnTo>
                  <a:lnTo>
                    <a:pt x="595" y="829"/>
                  </a:lnTo>
                  <a:lnTo>
                    <a:pt x="605" y="849"/>
                  </a:lnTo>
                  <a:lnTo>
                    <a:pt x="625" y="849"/>
                  </a:lnTo>
                  <a:lnTo>
                    <a:pt x="634" y="849"/>
                  </a:lnTo>
                  <a:lnTo>
                    <a:pt x="644" y="839"/>
                  </a:lnTo>
                  <a:lnTo>
                    <a:pt x="654" y="849"/>
                  </a:lnTo>
                  <a:lnTo>
                    <a:pt x="654" y="839"/>
                  </a:lnTo>
                  <a:lnTo>
                    <a:pt x="654" y="829"/>
                  </a:lnTo>
                  <a:lnTo>
                    <a:pt x="644" y="829"/>
                  </a:lnTo>
                  <a:lnTo>
                    <a:pt x="634" y="810"/>
                  </a:lnTo>
                  <a:lnTo>
                    <a:pt x="644" y="810"/>
                  </a:lnTo>
                  <a:lnTo>
                    <a:pt x="654" y="810"/>
                  </a:lnTo>
                  <a:lnTo>
                    <a:pt x="673" y="790"/>
                  </a:lnTo>
                  <a:lnTo>
                    <a:pt x="683" y="790"/>
                  </a:lnTo>
                  <a:lnTo>
                    <a:pt x="683" y="800"/>
                  </a:lnTo>
                  <a:lnTo>
                    <a:pt x="703" y="810"/>
                  </a:lnTo>
                  <a:lnTo>
                    <a:pt x="703" y="819"/>
                  </a:lnTo>
                  <a:lnTo>
                    <a:pt x="703" y="829"/>
                  </a:lnTo>
                  <a:lnTo>
                    <a:pt x="703" y="849"/>
                  </a:lnTo>
                  <a:lnTo>
                    <a:pt x="683" y="868"/>
                  </a:lnTo>
                  <a:lnTo>
                    <a:pt x="673" y="878"/>
                  </a:lnTo>
                  <a:lnTo>
                    <a:pt x="664" y="888"/>
                  </a:lnTo>
                  <a:lnTo>
                    <a:pt x="664" y="907"/>
                  </a:lnTo>
                  <a:lnTo>
                    <a:pt x="654" y="907"/>
                  </a:lnTo>
                  <a:lnTo>
                    <a:pt x="625" y="917"/>
                  </a:lnTo>
                  <a:lnTo>
                    <a:pt x="605" y="937"/>
                  </a:lnTo>
                  <a:lnTo>
                    <a:pt x="605" y="946"/>
                  </a:lnTo>
                  <a:lnTo>
                    <a:pt x="605" y="956"/>
                  </a:lnTo>
                  <a:lnTo>
                    <a:pt x="615" y="976"/>
                  </a:lnTo>
                  <a:lnTo>
                    <a:pt x="615" y="995"/>
                  </a:lnTo>
                  <a:lnTo>
                    <a:pt x="625" y="1005"/>
                  </a:lnTo>
                  <a:lnTo>
                    <a:pt x="644" y="1024"/>
                  </a:lnTo>
                  <a:lnTo>
                    <a:pt x="644" y="1034"/>
                  </a:lnTo>
                  <a:lnTo>
                    <a:pt x="625" y="1063"/>
                  </a:lnTo>
                  <a:lnTo>
                    <a:pt x="615" y="1093"/>
                  </a:lnTo>
                  <a:lnTo>
                    <a:pt x="605" y="1093"/>
                  </a:lnTo>
                  <a:lnTo>
                    <a:pt x="586" y="1102"/>
                  </a:lnTo>
                  <a:lnTo>
                    <a:pt x="576" y="1102"/>
                  </a:lnTo>
                  <a:lnTo>
                    <a:pt x="576" y="1122"/>
                  </a:lnTo>
                  <a:lnTo>
                    <a:pt x="576" y="1141"/>
                  </a:lnTo>
                  <a:lnTo>
                    <a:pt x="576" y="1151"/>
                  </a:lnTo>
                  <a:lnTo>
                    <a:pt x="586" y="1161"/>
                  </a:lnTo>
                  <a:lnTo>
                    <a:pt x="595" y="1161"/>
                  </a:lnTo>
                  <a:lnTo>
                    <a:pt x="615" y="1151"/>
                  </a:lnTo>
                  <a:lnTo>
                    <a:pt x="634" y="1141"/>
                  </a:lnTo>
                  <a:lnTo>
                    <a:pt x="644" y="1141"/>
                  </a:lnTo>
                  <a:lnTo>
                    <a:pt x="644" y="1219"/>
                  </a:lnTo>
                  <a:lnTo>
                    <a:pt x="625" y="1219"/>
                  </a:lnTo>
                  <a:lnTo>
                    <a:pt x="615" y="1229"/>
                  </a:lnTo>
                  <a:lnTo>
                    <a:pt x="605" y="1239"/>
                  </a:lnTo>
                  <a:lnTo>
                    <a:pt x="595" y="1249"/>
                  </a:lnTo>
                  <a:lnTo>
                    <a:pt x="595" y="1278"/>
                  </a:lnTo>
                  <a:lnTo>
                    <a:pt x="586" y="1288"/>
                  </a:lnTo>
                  <a:lnTo>
                    <a:pt x="566" y="1288"/>
                  </a:lnTo>
                  <a:lnTo>
                    <a:pt x="556" y="1298"/>
                  </a:lnTo>
                  <a:lnTo>
                    <a:pt x="547" y="1307"/>
                  </a:lnTo>
                  <a:lnTo>
                    <a:pt x="527" y="1288"/>
                  </a:lnTo>
                  <a:lnTo>
                    <a:pt x="527" y="1278"/>
                  </a:lnTo>
                  <a:lnTo>
                    <a:pt x="517" y="1258"/>
                  </a:lnTo>
                  <a:lnTo>
                    <a:pt x="508" y="1249"/>
                  </a:lnTo>
                  <a:lnTo>
                    <a:pt x="498" y="1229"/>
                  </a:lnTo>
                  <a:lnTo>
                    <a:pt x="488" y="1210"/>
                  </a:lnTo>
                  <a:lnTo>
                    <a:pt x="488" y="1200"/>
                  </a:lnTo>
                  <a:lnTo>
                    <a:pt x="488" y="1190"/>
                  </a:lnTo>
                  <a:lnTo>
                    <a:pt x="478" y="1180"/>
                  </a:lnTo>
                  <a:lnTo>
                    <a:pt x="468" y="1161"/>
                  </a:lnTo>
                  <a:lnTo>
                    <a:pt x="488" y="1161"/>
                  </a:lnTo>
                  <a:lnTo>
                    <a:pt x="488" y="1151"/>
                  </a:lnTo>
                  <a:lnTo>
                    <a:pt x="468" y="1141"/>
                  </a:lnTo>
                  <a:lnTo>
                    <a:pt x="468" y="1122"/>
                  </a:lnTo>
                  <a:lnTo>
                    <a:pt x="459" y="1112"/>
                  </a:lnTo>
                  <a:lnTo>
                    <a:pt x="439" y="1102"/>
                  </a:lnTo>
                  <a:lnTo>
                    <a:pt x="429" y="1102"/>
                  </a:lnTo>
                  <a:lnTo>
                    <a:pt x="420" y="1083"/>
                  </a:lnTo>
                  <a:lnTo>
                    <a:pt x="429" y="1083"/>
                  </a:lnTo>
                  <a:lnTo>
                    <a:pt x="439" y="1073"/>
                  </a:lnTo>
                  <a:lnTo>
                    <a:pt x="449" y="1073"/>
                  </a:lnTo>
                  <a:lnTo>
                    <a:pt x="449" y="1054"/>
                  </a:lnTo>
                  <a:lnTo>
                    <a:pt x="439" y="1044"/>
                  </a:lnTo>
                  <a:lnTo>
                    <a:pt x="439" y="1034"/>
                  </a:lnTo>
                  <a:lnTo>
                    <a:pt x="459" y="1024"/>
                  </a:lnTo>
                  <a:lnTo>
                    <a:pt x="459" y="1015"/>
                  </a:lnTo>
                  <a:lnTo>
                    <a:pt x="459" y="995"/>
                  </a:lnTo>
                  <a:lnTo>
                    <a:pt x="459" y="985"/>
                  </a:lnTo>
                  <a:lnTo>
                    <a:pt x="459" y="946"/>
                  </a:lnTo>
                  <a:lnTo>
                    <a:pt x="459" y="937"/>
                  </a:lnTo>
                  <a:lnTo>
                    <a:pt x="459" y="927"/>
                  </a:lnTo>
                  <a:lnTo>
                    <a:pt x="459" y="907"/>
                  </a:lnTo>
                  <a:lnTo>
                    <a:pt x="449" y="897"/>
                  </a:lnTo>
                  <a:lnTo>
                    <a:pt x="449" y="888"/>
                  </a:lnTo>
                  <a:lnTo>
                    <a:pt x="429" y="878"/>
                  </a:lnTo>
                  <a:lnTo>
                    <a:pt x="429" y="868"/>
                  </a:lnTo>
                  <a:lnTo>
                    <a:pt x="420" y="849"/>
                  </a:lnTo>
                  <a:lnTo>
                    <a:pt x="420" y="839"/>
                  </a:lnTo>
                  <a:lnTo>
                    <a:pt x="420" y="819"/>
                  </a:lnTo>
                  <a:lnTo>
                    <a:pt x="410" y="810"/>
                  </a:lnTo>
                  <a:lnTo>
                    <a:pt x="410" y="800"/>
                  </a:lnTo>
                  <a:lnTo>
                    <a:pt x="410" y="780"/>
                  </a:lnTo>
                  <a:lnTo>
                    <a:pt x="410" y="761"/>
                  </a:lnTo>
                  <a:lnTo>
                    <a:pt x="410" y="751"/>
                  </a:lnTo>
                  <a:lnTo>
                    <a:pt x="400" y="741"/>
                  </a:lnTo>
                  <a:lnTo>
                    <a:pt x="400" y="712"/>
                  </a:lnTo>
                  <a:lnTo>
                    <a:pt x="400" y="693"/>
                  </a:lnTo>
                  <a:lnTo>
                    <a:pt x="381" y="683"/>
                  </a:lnTo>
                  <a:lnTo>
                    <a:pt x="371" y="663"/>
                  </a:lnTo>
                  <a:lnTo>
                    <a:pt x="381" y="634"/>
                  </a:lnTo>
                  <a:lnTo>
                    <a:pt x="381" y="624"/>
                  </a:lnTo>
                  <a:lnTo>
                    <a:pt x="381" y="615"/>
                  </a:lnTo>
                  <a:lnTo>
                    <a:pt x="381" y="605"/>
                  </a:lnTo>
                  <a:lnTo>
                    <a:pt x="381" y="595"/>
                  </a:lnTo>
                  <a:lnTo>
                    <a:pt x="390" y="595"/>
                  </a:lnTo>
                  <a:lnTo>
                    <a:pt x="390" y="585"/>
                  </a:lnTo>
                  <a:lnTo>
                    <a:pt x="390" y="566"/>
                  </a:lnTo>
                  <a:lnTo>
                    <a:pt x="371" y="566"/>
                  </a:lnTo>
                  <a:lnTo>
                    <a:pt x="371" y="556"/>
                  </a:lnTo>
                  <a:lnTo>
                    <a:pt x="371" y="546"/>
                  </a:lnTo>
                  <a:lnTo>
                    <a:pt x="371" y="536"/>
                  </a:lnTo>
                  <a:lnTo>
                    <a:pt x="361" y="527"/>
                  </a:lnTo>
                  <a:lnTo>
                    <a:pt x="351" y="527"/>
                  </a:lnTo>
                  <a:lnTo>
                    <a:pt x="342" y="527"/>
                  </a:lnTo>
                  <a:lnTo>
                    <a:pt x="332" y="517"/>
                  </a:lnTo>
                  <a:lnTo>
                    <a:pt x="322" y="517"/>
                  </a:lnTo>
                  <a:lnTo>
                    <a:pt x="322" y="497"/>
                  </a:lnTo>
                  <a:lnTo>
                    <a:pt x="312" y="497"/>
                  </a:lnTo>
                  <a:lnTo>
                    <a:pt x="303" y="488"/>
                  </a:lnTo>
                  <a:lnTo>
                    <a:pt x="293" y="478"/>
                  </a:lnTo>
                  <a:lnTo>
                    <a:pt x="273" y="468"/>
                  </a:lnTo>
                  <a:lnTo>
                    <a:pt x="273" y="449"/>
                  </a:lnTo>
                  <a:lnTo>
                    <a:pt x="273" y="429"/>
                  </a:lnTo>
                  <a:lnTo>
                    <a:pt x="283" y="410"/>
                  </a:lnTo>
                  <a:lnTo>
                    <a:pt x="293" y="410"/>
                  </a:lnTo>
                  <a:lnTo>
                    <a:pt x="293" y="400"/>
                  </a:lnTo>
                  <a:lnTo>
                    <a:pt x="293" y="390"/>
                  </a:lnTo>
                  <a:lnTo>
                    <a:pt x="283" y="400"/>
                  </a:lnTo>
                  <a:lnTo>
                    <a:pt x="273" y="410"/>
                  </a:lnTo>
                  <a:lnTo>
                    <a:pt x="264" y="410"/>
                  </a:lnTo>
                  <a:lnTo>
                    <a:pt x="254" y="410"/>
                  </a:lnTo>
                  <a:lnTo>
                    <a:pt x="244" y="429"/>
                  </a:lnTo>
                  <a:lnTo>
                    <a:pt x="244" y="449"/>
                  </a:lnTo>
                  <a:lnTo>
                    <a:pt x="234" y="458"/>
                  </a:lnTo>
                  <a:lnTo>
                    <a:pt x="225" y="468"/>
                  </a:lnTo>
                  <a:lnTo>
                    <a:pt x="225" y="478"/>
                  </a:lnTo>
                  <a:lnTo>
                    <a:pt x="234" y="488"/>
                  </a:lnTo>
                  <a:lnTo>
                    <a:pt x="244" y="488"/>
                  </a:lnTo>
                  <a:lnTo>
                    <a:pt x="244" y="497"/>
                  </a:lnTo>
                  <a:lnTo>
                    <a:pt x="254" y="507"/>
                  </a:lnTo>
                  <a:lnTo>
                    <a:pt x="264" y="507"/>
                  </a:lnTo>
                  <a:lnTo>
                    <a:pt x="273" y="517"/>
                  </a:lnTo>
                  <a:lnTo>
                    <a:pt x="273" y="527"/>
                  </a:lnTo>
                  <a:lnTo>
                    <a:pt x="283" y="536"/>
                  </a:lnTo>
                  <a:lnTo>
                    <a:pt x="303" y="536"/>
                  </a:lnTo>
                  <a:lnTo>
                    <a:pt x="312" y="536"/>
                  </a:lnTo>
                  <a:lnTo>
                    <a:pt x="312" y="556"/>
                  </a:lnTo>
                  <a:lnTo>
                    <a:pt x="303" y="556"/>
                  </a:lnTo>
                  <a:lnTo>
                    <a:pt x="293" y="556"/>
                  </a:lnTo>
                  <a:lnTo>
                    <a:pt x="283" y="566"/>
                  </a:lnTo>
                  <a:lnTo>
                    <a:pt x="283" y="576"/>
                  </a:lnTo>
                  <a:lnTo>
                    <a:pt x="254" y="556"/>
                  </a:lnTo>
                  <a:lnTo>
                    <a:pt x="264" y="546"/>
                  </a:lnTo>
                  <a:lnTo>
                    <a:pt x="254" y="536"/>
                  </a:lnTo>
                  <a:lnTo>
                    <a:pt x="234" y="546"/>
                  </a:lnTo>
                  <a:lnTo>
                    <a:pt x="234" y="536"/>
                  </a:lnTo>
                  <a:lnTo>
                    <a:pt x="234" y="527"/>
                  </a:lnTo>
                  <a:lnTo>
                    <a:pt x="225" y="517"/>
                  </a:lnTo>
                  <a:lnTo>
                    <a:pt x="215" y="497"/>
                  </a:lnTo>
                  <a:lnTo>
                    <a:pt x="195" y="488"/>
                  </a:lnTo>
                  <a:lnTo>
                    <a:pt x="166" y="478"/>
                  </a:lnTo>
                  <a:lnTo>
                    <a:pt x="156" y="478"/>
                  </a:lnTo>
                  <a:lnTo>
                    <a:pt x="156" y="449"/>
                  </a:lnTo>
                  <a:lnTo>
                    <a:pt x="127" y="449"/>
                  </a:lnTo>
                  <a:lnTo>
                    <a:pt x="127" y="439"/>
                  </a:lnTo>
                  <a:lnTo>
                    <a:pt x="127" y="429"/>
                  </a:lnTo>
                  <a:lnTo>
                    <a:pt x="117" y="410"/>
                  </a:lnTo>
                  <a:lnTo>
                    <a:pt x="108" y="410"/>
                  </a:lnTo>
                  <a:lnTo>
                    <a:pt x="98" y="410"/>
                  </a:lnTo>
                  <a:lnTo>
                    <a:pt x="78" y="410"/>
                  </a:lnTo>
                  <a:lnTo>
                    <a:pt x="78" y="400"/>
                  </a:lnTo>
                  <a:lnTo>
                    <a:pt x="78" y="390"/>
                  </a:lnTo>
                  <a:lnTo>
                    <a:pt x="69" y="380"/>
                  </a:lnTo>
                  <a:lnTo>
                    <a:pt x="49" y="380"/>
                  </a:lnTo>
                  <a:lnTo>
                    <a:pt x="59" y="371"/>
                  </a:lnTo>
                  <a:lnTo>
                    <a:pt x="49" y="351"/>
                  </a:lnTo>
                  <a:lnTo>
                    <a:pt x="30" y="351"/>
                  </a:lnTo>
                  <a:lnTo>
                    <a:pt x="20" y="332"/>
                  </a:lnTo>
                  <a:lnTo>
                    <a:pt x="10" y="322"/>
                  </a:lnTo>
                  <a:lnTo>
                    <a:pt x="0" y="312"/>
                  </a:lnTo>
                  <a:lnTo>
                    <a:pt x="20" y="293"/>
                  </a:lnTo>
                  <a:lnTo>
                    <a:pt x="30" y="273"/>
                  </a:lnTo>
                  <a:lnTo>
                    <a:pt x="39" y="263"/>
                  </a:lnTo>
                  <a:lnTo>
                    <a:pt x="59" y="263"/>
                  </a:lnTo>
                  <a:lnTo>
                    <a:pt x="49" y="244"/>
                  </a:lnTo>
                  <a:close/>
                </a:path>
              </a:pathLst>
            </a:custGeom>
            <a:solidFill>
              <a:srgbClr val="96969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8781" name="Freeform 249"/>
            <p:cNvSpPr>
              <a:spLocks noChangeAspect="1"/>
            </p:cNvSpPr>
            <p:nvPr/>
          </p:nvSpPr>
          <p:spPr bwMode="auto">
            <a:xfrm>
              <a:off x="8086" y="888"/>
              <a:ext cx="703" cy="1307"/>
            </a:xfrm>
            <a:custGeom>
              <a:avLst/>
              <a:gdLst>
                <a:gd name="T0" fmla="*/ 88 w 703"/>
                <a:gd name="T1" fmla="*/ 244 h 1307"/>
                <a:gd name="T2" fmla="*/ 176 w 703"/>
                <a:gd name="T3" fmla="*/ 166 h 1307"/>
                <a:gd name="T4" fmla="*/ 273 w 703"/>
                <a:gd name="T5" fmla="*/ 127 h 1307"/>
                <a:gd name="T6" fmla="*/ 342 w 703"/>
                <a:gd name="T7" fmla="*/ 215 h 1307"/>
                <a:gd name="T8" fmla="*/ 449 w 703"/>
                <a:gd name="T9" fmla="*/ 185 h 1307"/>
                <a:gd name="T10" fmla="*/ 488 w 703"/>
                <a:gd name="T11" fmla="*/ 88 h 1307"/>
                <a:gd name="T12" fmla="*/ 537 w 703"/>
                <a:gd name="T13" fmla="*/ 10 h 1307"/>
                <a:gd name="T14" fmla="*/ 605 w 703"/>
                <a:gd name="T15" fmla="*/ 10 h 1307"/>
                <a:gd name="T16" fmla="*/ 615 w 703"/>
                <a:gd name="T17" fmla="*/ 58 h 1307"/>
                <a:gd name="T18" fmla="*/ 625 w 703"/>
                <a:gd name="T19" fmla="*/ 88 h 1307"/>
                <a:gd name="T20" fmla="*/ 625 w 703"/>
                <a:gd name="T21" fmla="*/ 117 h 1307"/>
                <a:gd name="T22" fmla="*/ 634 w 703"/>
                <a:gd name="T23" fmla="*/ 156 h 1307"/>
                <a:gd name="T24" fmla="*/ 644 w 703"/>
                <a:gd name="T25" fmla="*/ 175 h 1307"/>
                <a:gd name="T26" fmla="*/ 654 w 703"/>
                <a:gd name="T27" fmla="*/ 215 h 1307"/>
                <a:gd name="T28" fmla="*/ 654 w 703"/>
                <a:gd name="T29" fmla="*/ 273 h 1307"/>
                <a:gd name="T30" fmla="*/ 703 w 703"/>
                <a:gd name="T31" fmla="*/ 312 h 1307"/>
                <a:gd name="T32" fmla="*/ 625 w 703"/>
                <a:gd name="T33" fmla="*/ 332 h 1307"/>
                <a:gd name="T34" fmla="*/ 576 w 703"/>
                <a:gd name="T35" fmla="*/ 371 h 1307"/>
                <a:gd name="T36" fmla="*/ 556 w 703"/>
                <a:gd name="T37" fmla="*/ 449 h 1307"/>
                <a:gd name="T38" fmla="*/ 576 w 703"/>
                <a:gd name="T39" fmla="*/ 488 h 1307"/>
                <a:gd name="T40" fmla="*/ 556 w 703"/>
                <a:gd name="T41" fmla="*/ 507 h 1307"/>
                <a:gd name="T42" fmla="*/ 527 w 703"/>
                <a:gd name="T43" fmla="*/ 546 h 1307"/>
                <a:gd name="T44" fmla="*/ 537 w 703"/>
                <a:gd name="T45" fmla="*/ 595 h 1307"/>
                <a:gd name="T46" fmla="*/ 508 w 703"/>
                <a:gd name="T47" fmla="*/ 605 h 1307"/>
                <a:gd name="T48" fmla="*/ 488 w 703"/>
                <a:gd name="T49" fmla="*/ 634 h 1307"/>
                <a:gd name="T50" fmla="*/ 508 w 703"/>
                <a:gd name="T51" fmla="*/ 683 h 1307"/>
                <a:gd name="T52" fmla="*/ 556 w 703"/>
                <a:gd name="T53" fmla="*/ 712 h 1307"/>
                <a:gd name="T54" fmla="*/ 556 w 703"/>
                <a:gd name="T55" fmla="*/ 741 h 1307"/>
                <a:gd name="T56" fmla="*/ 605 w 703"/>
                <a:gd name="T57" fmla="*/ 849 h 1307"/>
                <a:gd name="T58" fmla="*/ 654 w 703"/>
                <a:gd name="T59" fmla="*/ 829 h 1307"/>
                <a:gd name="T60" fmla="*/ 683 w 703"/>
                <a:gd name="T61" fmla="*/ 790 h 1307"/>
                <a:gd name="T62" fmla="*/ 683 w 703"/>
                <a:gd name="T63" fmla="*/ 868 h 1307"/>
                <a:gd name="T64" fmla="*/ 605 w 703"/>
                <a:gd name="T65" fmla="*/ 937 h 1307"/>
                <a:gd name="T66" fmla="*/ 644 w 703"/>
                <a:gd name="T67" fmla="*/ 1024 h 1307"/>
                <a:gd name="T68" fmla="*/ 576 w 703"/>
                <a:gd name="T69" fmla="*/ 1102 h 1307"/>
                <a:gd name="T70" fmla="*/ 615 w 703"/>
                <a:gd name="T71" fmla="*/ 1151 h 1307"/>
                <a:gd name="T72" fmla="*/ 605 w 703"/>
                <a:gd name="T73" fmla="*/ 1239 h 1307"/>
                <a:gd name="T74" fmla="*/ 547 w 703"/>
                <a:gd name="T75" fmla="*/ 1307 h 1307"/>
                <a:gd name="T76" fmla="*/ 488 w 703"/>
                <a:gd name="T77" fmla="*/ 1210 h 1307"/>
                <a:gd name="T78" fmla="*/ 488 w 703"/>
                <a:gd name="T79" fmla="*/ 1151 h 1307"/>
                <a:gd name="T80" fmla="*/ 420 w 703"/>
                <a:gd name="T81" fmla="*/ 1083 h 1307"/>
                <a:gd name="T82" fmla="*/ 439 w 703"/>
                <a:gd name="T83" fmla="*/ 1034 h 1307"/>
                <a:gd name="T84" fmla="*/ 459 w 703"/>
                <a:gd name="T85" fmla="*/ 937 h 1307"/>
                <a:gd name="T86" fmla="*/ 429 w 703"/>
                <a:gd name="T87" fmla="*/ 868 h 1307"/>
                <a:gd name="T88" fmla="*/ 410 w 703"/>
                <a:gd name="T89" fmla="*/ 780 h 1307"/>
                <a:gd name="T90" fmla="*/ 381 w 703"/>
                <a:gd name="T91" fmla="*/ 683 h 1307"/>
                <a:gd name="T92" fmla="*/ 381 w 703"/>
                <a:gd name="T93" fmla="*/ 595 h 1307"/>
                <a:gd name="T94" fmla="*/ 371 w 703"/>
                <a:gd name="T95" fmla="*/ 546 h 1307"/>
                <a:gd name="T96" fmla="*/ 322 w 703"/>
                <a:gd name="T97" fmla="*/ 517 h 1307"/>
                <a:gd name="T98" fmla="*/ 273 w 703"/>
                <a:gd name="T99" fmla="*/ 449 h 1307"/>
                <a:gd name="T100" fmla="*/ 283 w 703"/>
                <a:gd name="T101" fmla="*/ 400 h 1307"/>
                <a:gd name="T102" fmla="*/ 244 w 703"/>
                <a:gd name="T103" fmla="*/ 449 h 1307"/>
                <a:gd name="T104" fmla="*/ 244 w 703"/>
                <a:gd name="T105" fmla="*/ 497 h 1307"/>
                <a:gd name="T106" fmla="*/ 303 w 703"/>
                <a:gd name="T107" fmla="*/ 536 h 1307"/>
                <a:gd name="T108" fmla="*/ 283 w 703"/>
                <a:gd name="T109" fmla="*/ 566 h 1307"/>
                <a:gd name="T110" fmla="*/ 234 w 703"/>
                <a:gd name="T111" fmla="*/ 536 h 1307"/>
                <a:gd name="T112" fmla="*/ 156 w 703"/>
                <a:gd name="T113" fmla="*/ 478 h 1307"/>
                <a:gd name="T114" fmla="*/ 108 w 703"/>
                <a:gd name="T115" fmla="*/ 410 h 1307"/>
                <a:gd name="T116" fmla="*/ 49 w 703"/>
                <a:gd name="T117" fmla="*/ 380 h 1307"/>
                <a:gd name="T118" fmla="*/ 0 w 703"/>
                <a:gd name="T119" fmla="*/ 312 h 1307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703"/>
                <a:gd name="T181" fmla="*/ 0 h 1307"/>
                <a:gd name="T182" fmla="*/ 703 w 703"/>
                <a:gd name="T183" fmla="*/ 1307 h 1307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703" h="1307">
                  <a:moveTo>
                    <a:pt x="49" y="244"/>
                  </a:moveTo>
                  <a:lnTo>
                    <a:pt x="59" y="234"/>
                  </a:lnTo>
                  <a:lnTo>
                    <a:pt x="69" y="234"/>
                  </a:lnTo>
                  <a:lnTo>
                    <a:pt x="78" y="224"/>
                  </a:lnTo>
                  <a:lnTo>
                    <a:pt x="88" y="224"/>
                  </a:lnTo>
                  <a:lnTo>
                    <a:pt x="88" y="244"/>
                  </a:lnTo>
                  <a:lnTo>
                    <a:pt x="108" y="244"/>
                  </a:lnTo>
                  <a:lnTo>
                    <a:pt x="108" y="215"/>
                  </a:lnTo>
                  <a:lnTo>
                    <a:pt x="127" y="205"/>
                  </a:lnTo>
                  <a:lnTo>
                    <a:pt x="137" y="175"/>
                  </a:lnTo>
                  <a:lnTo>
                    <a:pt x="156" y="175"/>
                  </a:lnTo>
                  <a:lnTo>
                    <a:pt x="176" y="166"/>
                  </a:lnTo>
                  <a:lnTo>
                    <a:pt x="176" y="146"/>
                  </a:lnTo>
                  <a:lnTo>
                    <a:pt x="195" y="136"/>
                  </a:lnTo>
                  <a:lnTo>
                    <a:pt x="215" y="136"/>
                  </a:lnTo>
                  <a:lnTo>
                    <a:pt x="244" y="146"/>
                  </a:lnTo>
                  <a:lnTo>
                    <a:pt x="264" y="146"/>
                  </a:lnTo>
                  <a:lnTo>
                    <a:pt x="273" y="127"/>
                  </a:lnTo>
                  <a:lnTo>
                    <a:pt x="303" y="127"/>
                  </a:lnTo>
                  <a:lnTo>
                    <a:pt x="312" y="136"/>
                  </a:lnTo>
                  <a:lnTo>
                    <a:pt x="312" y="156"/>
                  </a:lnTo>
                  <a:lnTo>
                    <a:pt x="322" y="195"/>
                  </a:lnTo>
                  <a:lnTo>
                    <a:pt x="322" y="215"/>
                  </a:lnTo>
                  <a:lnTo>
                    <a:pt x="342" y="215"/>
                  </a:lnTo>
                  <a:lnTo>
                    <a:pt x="342" y="205"/>
                  </a:lnTo>
                  <a:lnTo>
                    <a:pt x="371" y="195"/>
                  </a:lnTo>
                  <a:lnTo>
                    <a:pt x="400" y="175"/>
                  </a:lnTo>
                  <a:lnTo>
                    <a:pt x="410" y="166"/>
                  </a:lnTo>
                  <a:lnTo>
                    <a:pt x="429" y="175"/>
                  </a:lnTo>
                  <a:lnTo>
                    <a:pt x="449" y="185"/>
                  </a:lnTo>
                  <a:lnTo>
                    <a:pt x="459" y="185"/>
                  </a:lnTo>
                  <a:lnTo>
                    <a:pt x="468" y="175"/>
                  </a:lnTo>
                  <a:lnTo>
                    <a:pt x="468" y="146"/>
                  </a:lnTo>
                  <a:lnTo>
                    <a:pt x="468" y="127"/>
                  </a:lnTo>
                  <a:lnTo>
                    <a:pt x="488" y="107"/>
                  </a:lnTo>
                  <a:lnTo>
                    <a:pt x="488" y="88"/>
                  </a:lnTo>
                  <a:lnTo>
                    <a:pt x="498" y="68"/>
                  </a:lnTo>
                  <a:lnTo>
                    <a:pt x="508" y="68"/>
                  </a:lnTo>
                  <a:lnTo>
                    <a:pt x="517" y="49"/>
                  </a:lnTo>
                  <a:lnTo>
                    <a:pt x="517" y="19"/>
                  </a:lnTo>
                  <a:lnTo>
                    <a:pt x="527" y="10"/>
                  </a:lnTo>
                  <a:lnTo>
                    <a:pt x="537" y="10"/>
                  </a:lnTo>
                  <a:lnTo>
                    <a:pt x="547" y="0"/>
                  </a:lnTo>
                  <a:lnTo>
                    <a:pt x="547" y="19"/>
                  </a:lnTo>
                  <a:lnTo>
                    <a:pt x="556" y="19"/>
                  </a:lnTo>
                  <a:lnTo>
                    <a:pt x="576" y="10"/>
                  </a:lnTo>
                  <a:lnTo>
                    <a:pt x="595" y="10"/>
                  </a:lnTo>
                  <a:lnTo>
                    <a:pt x="605" y="10"/>
                  </a:lnTo>
                  <a:lnTo>
                    <a:pt x="615" y="10"/>
                  </a:lnTo>
                  <a:lnTo>
                    <a:pt x="615" y="29"/>
                  </a:lnTo>
                  <a:lnTo>
                    <a:pt x="605" y="29"/>
                  </a:lnTo>
                  <a:lnTo>
                    <a:pt x="605" y="39"/>
                  </a:lnTo>
                  <a:lnTo>
                    <a:pt x="615" y="49"/>
                  </a:lnTo>
                  <a:lnTo>
                    <a:pt x="615" y="58"/>
                  </a:lnTo>
                  <a:lnTo>
                    <a:pt x="605" y="58"/>
                  </a:lnTo>
                  <a:lnTo>
                    <a:pt x="605" y="68"/>
                  </a:lnTo>
                  <a:lnTo>
                    <a:pt x="605" y="78"/>
                  </a:lnTo>
                  <a:lnTo>
                    <a:pt x="615" y="78"/>
                  </a:lnTo>
                  <a:lnTo>
                    <a:pt x="615" y="88"/>
                  </a:lnTo>
                  <a:lnTo>
                    <a:pt x="625" y="88"/>
                  </a:lnTo>
                  <a:lnTo>
                    <a:pt x="625" y="97"/>
                  </a:lnTo>
                  <a:lnTo>
                    <a:pt x="625" y="107"/>
                  </a:lnTo>
                  <a:lnTo>
                    <a:pt x="615" y="107"/>
                  </a:lnTo>
                  <a:lnTo>
                    <a:pt x="605" y="117"/>
                  </a:lnTo>
                  <a:lnTo>
                    <a:pt x="625" y="117"/>
                  </a:lnTo>
                  <a:lnTo>
                    <a:pt x="634" y="127"/>
                  </a:lnTo>
                  <a:lnTo>
                    <a:pt x="634" y="136"/>
                  </a:lnTo>
                  <a:lnTo>
                    <a:pt x="634" y="146"/>
                  </a:lnTo>
                  <a:lnTo>
                    <a:pt x="625" y="156"/>
                  </a:lnTo>
                  <a:lnTo>
                    <a:pt x="634" y="156"/>
                  </a:lnTo>
                  <a:lnTo>
                    <a:pt x="644" y="156"/>
                  </a:lnTo>
                  <a:lnTo>
                    <a:pt x="644" y="166"/>
                  </a:lnTo>
                  <a:lnTo>
                    <a:pt x="634" y="166"/>
                  </a:lnTo>
                  <a:lnTo>
                    <a:pt x="644" y="175"/>
                  </a:lnTo>
                  <a:lnTo>
                    <a:pt x="654" y="175"/>
                  </a:lnTo>
                  <a:lnTo>
                    <a:pt x="644" y="175"/>
                  </a:lnTo>
                  <a:lnTo>
                    <a:pt x="644" y="185"/>
                  </a:lnTo>
                  <a:lnTo>
                    <a:pt x="654" y="195"/>
                  </a:lnTo>
                  <a:lnTo>
                    <a:pt x="644" y="195"/>
                  </a:lnTo>
                  <a:lnTo>
                    <a:pt x="644" y="205"/>
                  </a:lnTo>
                  <a:lnTo>
                    <a:pt x="654" y="205"/>
                  </a:lnTo>
                  <a:lnTo>
                    <a:pt x="654" y="215"/>
                  </a:lnTo>
                  <a:lnTo>
                    <a:pt x="654" y="224"/>
                  </a:lnTo>
                  <a:lnTo>
                    <a:pt x="654" y="234"/>
                  </a:lnTo>
                  <a:lnTo>
                    <a:pt x="654" y="244"/>
                  </a:lnTo>
                  <a:lnTo>
                    <a:pt x="654" y="263"/>
                  </a:lnTo>
                  <a:lnTo>
                    <a:pt x="664" y="273"/>
                  </a:lnTo>
                  <a:lnTo>
                    <a:pt x="654" y="273"/>
                  </a:lnTo>
                  <a:lnTo>
                    <a:pt x="664" y="273"/>
                  </a:lnTo>
                  <a:lnTo>
                    <a:pt x="673" y="283"/>
                  </a:lnTo>
                  <a:lnTo>
                    <a:pt x="673" y="293"/>
                  </a:lnTo>
                  <a:lnTo>
                    <a:pt x="683" y="302"/>
                  </a:lnTo>
                  <a:lnTo>
                    <a:pt x="693" y="302"/>
                  </a:lnTo>
                  <a:lnTo>
                    <a:pt x="703" y="312"/>
                  </a:lnTo>
                  <a:lnTo>
                    <a:pt x="703" y="322"/>
                  </a:lnTo>
                  <a:lnTo>
                    <a:pt x="683" y="322"/>
                  </a:lnTo>
                  <a:lnTo>
                    <a:pt x="673" y="332"/>
                  </a:lnTo>
                  <a:lnTo>
                    <a:pt x="654" y="332"/>
                  </a:lnTo>
                  <a:lnTo>
                    <a:pt x="644" y="322"/>
                  </a:lnTo>
                  <a:lnTo>
                    <a:pt x="625" y="332"/>
                  </a:lnTo>
                  <a:lnTo>
                    <a:pt x="615" y="332"/>
                  </a:lnTo>
                  <a:lnTo>
                    <a:pt x="605" y="332"/>
                  </a:lnTo>
                  <a:lnTo>
                    <a:pt x="595" y="332"/>
                  </a:lnTo>
                  <a:lnTo>
                    <a:pt x="595" y="351"/>
                  </a:lnTo>
                  <a:lnTo>
                    <a:pt x="586" y="361"/>
                  </a:lnTo>
                  <a:lnTo>
                    <a:pt x="576" y="371"/>
                  </a:lnTo>
                  <a:lnTo>
                    <a:pt x="566" y="400"/>
                  </a:lnTo>
                  <a:lnTo>
                    <a:pt x="566" y="410"/>
                  </a:lnTo>
                  <a:lnTo>
                    <a:pt x="566" y="429"/>
                  </a:lnTo>
                  <a:lnTo>
                    <a:pt x="566" y="449"/>
                  </a:lnTo>
                  <a:lnTo>
                    <a:pt x="556" y="449"/>
                  </a:lnTo>
                  <a:lnTo>
                    <a:pt x="556" y="458"/>
                  </a:lnTo>
                  <a:lnTo>
                    <a:pt x="556" y="468"/>
                  </a:lnTo>
                  <a:lnTo>
                    <a:pt x="566" y="478"/>
                  </a:lnTo>
                  <a:lnTo>
                    <a:pt x="566" y="488"/>
                  </a:lnTo>
                  <a:lnTo>
                    <a:pt x="576" y="488"/>
                  </a:lnTo>
                  <a:lnTo>
                    <a:pt x="576" y="507"/>
                  </a:lnTo>
                  <a:lnTo>
                    <a:pt x="586" y="507"/>
                  </a:lnTo>
                  <a:lnTo>
                    <a:pt x="586" y="527"/>
                  </a:lnTo>
                  <a:lnTo>
                    <a:pt x="576" y="527"/>
                  </a:lnTo>
                  <a:lnTo>
                    <a:pt x="566" y="517"/>
                  </a:lnTo>
                  <a:lnTo>
                    <a:pt x="556" y="507"/>
                  </a:lnTo>
                  <a:lnTo>
                    <a:pt x="537" y="497"/>
                  </a:lnTo>
                  <a:lnTo>
                    <a:pt x="527" y="488"/>
                  </a:lnTo>
                  <a:lnTo>
                    <a:pt x="527" y="478"/>
                  </a:lnTo>
                  <a:lnTo>
                    <a:pt x="517" y="478"/>
                  </a:lnTo>
                  <a:lnTo>
                    <a:pt x="517" y="536"/>
                  </a:lnTo>
                  <a:lnTo>
                    <a:pt x="527" y="546"/>
                  </a:lnTo>
                  <a:lnTo>
                    <a:pt x="517" y="556"/>
                  </a:lnTo>
                  <a:lnTo>
                    <a:pt x="527" y="556"/>
                  </a:lnTo>
                  <a:lnTo>
                    <a:pt x="537" y="566"/>
                  </a:lnTo>
                  <a:lnTo>
                    <a:pt x="547" y="576"/>
                  </a:lnTo>
                  <a:lnTo>
                    <a:pt x="547" y="585"/>
                  </a:lnTo>
                  <a:lnTo>
                    <a:pt x="537" y="595"/>
                  </a:lnTo>
                  <a:lnTo>
                    <a:pt x="527" y="585"/>
                  </a:lnTo>
                  <a:lnTo>
                    <a:pt x="508" y="585"/>
                  </a:lnTo>
                  <a:lnTo>
                    <a:pt x="498" y="595"/>
                  </a:lnTo>
                  <a:lnTo>
                    <a:pt x="498" y="605"/>
                  </a:lnTo>
                  <a:lnTo>
                    <a:pt x="508" y="605"/>
                  </a:lnTo>
                  <a:lnTo>
                    <a:pt x="498" y="615"/>
                  </a:lnTo>
                  <a:lnTo>
                    <a:pt x="478" y="624"/>
                  </a:lnTo>
                  <a:lnTo>
                    <a:pt x="498" y="624"/>
                  </a:lnTo>
                  <a:lnTo>
                    <a:pt x="488" y="634"/>
                  </a:lnTo>
                  <a:lnTo>
                    <a:pt x="488" y="644"/>
                  </a:lnTo>
                  <a:lnTo>
                    <a:pt x="488" y="654"/>
                  </a:lnTo>
                  <a:lnTo>
                    <a:pt x="498" y="663"/>
                  </a:lnTo>
                  <a:lnTo>
                    <a:pt x="508" y="663"/>
                  </a:lnTo>
                  <a:lnTo>
                    <a:pt x="508" y="673"/>
                  </a:lnTo>
                  <a:lnTo>
                    <a:pt x="508" y="683"/>
                  </a:lnTo>
                  <a:lnTo>
                    <a:pt x="527" y="683"/>
                  </a:lnTo>
                  <a:lnTo>
                    <a:pt x="537" y="693"/>
                  </a:lnTo>
                  <a:lnTo>
                    <a:pt x="527" y="693"/>
                  </a:lnTo>
                  <a:lnTo>
                    <a:pt x="527" y="702"/>
                  </a:lnTo>
                  <a:lnTo>
                    <a:pt x="547" y="702"/>
                  </a:lnTo>
                  <a:lnTo>
                    <a:pt x="556" y="712"/>
                  </a:lnTo>
                  <a:lnTo>
                    <a:pt x="537" y="712"/>
                  </a:lnTo>
                  <a:lnTo>
                    <a:pt x="537" y="722"/>
                  </a:lnTo>
                  <a:lnTo>
                    <a:pt x="556" y="722"/>
                  </a:lnTo>
                  <a:lnTo>
                    <a:pt x="556" y="732"/>
                  </a:lnTo>
                  <a:lnTo>
                    <a:pt x="556" y="741"/>
                  </a:lnTo>
                  <a:lnTo>
                    <a:pt x="556" y="751"/>
                  </a:lnTo>
                  <a:lnTo>
                    <a:pt x="556" y="761"/>
                  </a:lnTo>
                  <a:lnTo>
                    <a:pt x="566" y="790"/>
                  </a:lnTo>
                  <a:lnTo>
                    <a:pt x="586" y="819"/>
                  </a:lnTo>
                  <a:lnTo>
                    <a:pt x="595" y="829"/>
                  </a:lnTo>
                  <a:lnTo>
                    <a:pt x="605" y="849"/>
                  </a:lnTo>
                  <a:lnTo>
                    <a:pt x="625" y="849"/>
                  </a:lnTo>
                  <a:lnTo>
                    <a:pt x="634" y="849"/>
                  </a:lnTo>
                  <a:lnTo>
                    <a:pt x="644" y="839"/>
                  </a:lnTo>
                  <a:lnTo>
                    <a:pt x="654" y="849"/>
                  </a:lnTo>
                  <a:lnTo>
                    <a:pt x="654" y="839"/>
                  </a:lnTo>
                  <a:lnTo>
                    <a:pt x="654" y="829"/>
                  </a:lnTo>
                  <a:lnTo>
                    <a:pt x="644" y="829"/>
                  </a:lnTo>
                  <a:lnTo>
                    <a:pt x="634" y="810"/>
                  </a:lnTo>
                  <a:lnTo>
                    <a:pt x="644" y="810"/>
                  </a:lnTo>
                  <a:lnTo>
                    <a:pt x="654" y="810"/>
                  </a:lnTo>
                  <a:lnTo>
                    <a:pt x="673" y="790"/>
                  </a:lnTo>
                  <a:lnTo>
                    <a:pt x="683" y="790"/>
                  </a:lnTo>
                  <a:lnTo>
                    <a:pt x="683" y="800"/>
                  </a:lnTo>
                  <a:lnTo>
                    <a:pt x="703" y="810"/>
                  </a:lnTo>
                  <a:lnTo>
                    <a:pt x="703" y="819"/>
                  </a:lnTo>
                  <a:lnTo>
                    <a:pt x="703" y="829"/>
                  </a:lnTo>
                  <a:lnTo>
                    <a:pt x="703" y="849"/>
                  </a:lnTo>
                  <a:lnTo>
                    <a:pt x="683" y="868"/>
                  </a:lnTo>
                  <a:lnTo>
                    <a:pt x="673" y="878"/>
                  </a:lnTo>
                  <a:lnTo>
                    <a:pt x="664" y="888"/>
                  </a:lnTo>
                  <a:lnTo>
                    <a:pt x="664" y="907"/>
                  </a:lnTo>
                  <a:lnTo>
                    <a:pt x="654" y="907"/>
                  </a:lnTo>
                  <a:lnTo>
                    <a:pt x="625" y="917"/>
                  </a:lnTo>
                  <a:lnTo>
                    <a:pt x="605" y="937"/>
                  </a:lnTo>
                  <a:lnTo>
                    <a:pt x="605" y="946"/>
                  </a:lnTo>
                  <a:lnTo>
                    <a:pt x="605" y="956"/>
                  </a:lnTo>
                  <a:lnTo>
                    <a:pt x="615" y="976"/>
                  </a:lnTo>
                  <a:lnTo>
                    <a:pt x="615" y="995"/>
                  </a:lnTo>
                  <a:lnTo>
                    <a:pt x="625" y="1005"/>
                  </a:lnTo>
                  <a:lnTo>
                    <a:pt x="644" y="1024"/>
                  </a:lnTo>
                  <a:lnTo>
                    <a:pt x="644" y="1034"/>
                  </a:lnTo>
                  <a:lnTo>
                    <a:pt x="625" y="1063"/>
                  </a:lnTo>
                  <a:lnTo>
                    <a:pt x="615" y="1093"/>
                  </a:lnTo>
                  <a:lnTo>
                    <a:pt x="605" y="1093"/>
                  </a:lnTo>
                  <a:lnTo>
                    <a:pt x="586" y="1102"/>
                  </a:lnTo>
                  <a:lnTo>
                    <a:pt x="576" y="1102"/>
                  </a:lnTo>
                  <a:lnTo>
                    <a:pt x="576" y="1122"/>
                  </a:lnTo>
                  <a:lnTo>
                    <a:pt x="576" y="1141"/>
                  </a:lnTo>
                  <a:lnTo>
                    <a:pt x="576" y="1151"/>
                  </a:lnTo>
                  <a:lnTo>
                    <a:pt x="586" y="1161"/>
                  </a:lnTo>
                  <a:lnTo>
                    <a:pt x="595" y="1161"/>
                  </a:lnTo>
                  <a:lnTo>
                    <a:pt x="615" y="1151"/>
                  </a:lnTo>
                  <a:lnTo>
                    <a:pt x="634" y="1141"/>
                  </a:lnTo>
                  <a:lnTo>
                    <a:pt x="644" y="1141"/>
                  </a:lnTo>
                  <a:lnTo>
                    <a:pt x="644" y="1219"/>
                  </a:lnTo>
                  <a:lnTo>
                    <a:pt x="625" y="1219"/>
                  </a:lnTo>
                  <a:lnTo>
                    <a:pt x="615" y="1229"/>
                  </a:lnTo>
                  <a:lnTo>
                    <a:pt x="605" y="1239"/>
                  </a:lnTo>
                  <a:lnTo>
                    <a:pt x="595" y="1249"/>
                  </a:lnTo>
                  <a:lnTo>
                    <a:pt x="595" y="1278"/>
                  </a:lnTo>
                  <a:lnTo>
                    <a:pt x="586" y="1288"/>
                  </a:lnTo>
                  <a:lnTo>
                    <a:pt x="566" y="1288"/>
                  </a:lnTo>
                  <a:lnTo>
                    <a:pt x="556" y="1298"/>
                  </a:lnTo>
                  <a:lnTo>
                    <a:pt x="547" y="1307"/>
                  </a:lnTo>
                  <a:lnTo>
                    <a:pt x="527" y="1288"/>
                  </a:lnTo>
                  <a:lnTo>
                    <a:pt x="527" y="1278"/>
                  </a:lnTo>
                  <a:lnTo>
                    <a:pt x="517" y="1258"/>
                  </a:lnTo>
                  <a:lnTo>
                    <a:pt x="508" y="1249"/>
                  </a:lnTo>
                  <a:lnTo>
                    <a:pt x="498" y="1229"/>
                  </a:lnTo>
                  <a:lnTo>
                    <a:pt x="488" y="1210"/>
                  </a:lnTo>
                  <a:lnTo>
                    <a:pt x="488" y="1200"/>
                  </a:lnTo>
                  <a:lnTo>
                    <a:pt x="488" y="1190"/>
                  </a:lnTo>
                  <a:lnTo>
                    <a:pt x="478" y="1180"/>
                  </a:lnTo>
                  <a:lnTo>
                    <a:pt x="468" y="1161"/>
                  </a:lnTo>
                  <a:lnTo>
                    <a:pt x="488" y="1161"/>
                  </a:lnTo>
                  <a:lnTo>
                    <a:pt x="488" y="1151"/>
                  </a:lnTo>
                  <a:lnTo>
                    <a:pt x="468" y="1141"/>
                  </a:lnTo>
                  <a:lnTo>
                    <a:pt x="468" y="1122"/>
                  </a:lnTo>
                  <a:lnTo>
                    <a:pt x="459" y="1112"/>
                  </a:lnTo>
                  <a:lnTo>
                    <a:pt x="439" y="1102"/>
                  </a:lnTo>
                  <a:lnTo>
                    <a:pt x="429" y="1102"/>
                  </a:lnTo>
                  <a:lnTo>
                    <a:pt x="420" y="1083"/>
                  </a:lnTo>
                  <a:lnTo>
                    <a:pt x="429" y="1083"/>
                  </a:lnTo>
                  <a:lnTo>
                    <a:pt x="439" y="1073"/>
                  </a:lnTo>
                  <a:lnTo>
                    <a:pt x="449" y="1073"/>
                  </a:lnTo>
                  <a:lnTo>
                    <a:pt x="449" y="1054"/>
                  </a:lnTo>
                  <a:lnTo>
                    <a:pt x="439" y="1044"/>
                  </a:lnTo>
                  <a:lnTo>
                    <a:pt x="439" y="1034"/>
                  </a:lnTo>
                  <a:lnTo>
                    <a:pt x="459" y="1024"/>
                  </a:lnTo>
                  <a:lnTo>
                    <a:pt x="459" y="1015"/>
                  </a:lnTo>
                  <a:lnTo>
                    <a:pt x="459" y="995"/>
                  </a:lnTo>
                  <a:lnTo>
                    <a:pt x="459" y="985"/>
                  </a:lnTo>
                  <a:lnTo>
                    <a:pt x="459" y="946"/>
                  </a:lnTo>
                  <a:lnTo>
                    <a:pt x="459" y="937"/>
                  </a:lnTo>
                  <a:lnTo>
                    <a:pt x="459" y="927"/>
                  </a:lnTo>
                  <a:lnTo>
                    <a:pt x="459" y="907"/>
                  </a:lnTo>
                  <a:lnTo>
                    <a:pt x="449" y="897"/>
                  </a:lnTo>
                  <a:lnTo>
                    <a:pt x="449" y="888"/>
                  </a:lnTo>
                  <a:lnTo>
                    <a:pt x="429" y="878"/>
                  </a:lnTo>
                  <a:lnTo>
                    <a:pt x="429" y="868"/>
                  </a:lnTo>
                  <a:lnTo>
                    <a:pt x="420" y="849"/>
                  </a:lnTo>
                  <a:lnTo>
                    <a:pt x="420" y="839"/>
                  </a:lnTo>
                  <a:lnTo>
                    <a:pt x="420" y="819"/>
                  </a:lnTo>
                  <a:lnTo>
                    <a:pt x="410" y="810"/>
                  </a:lnTo>
                  <a:lnTo>
                    <a:pt x="410" y="800"/>
                  </a:lnTo>
                  <a:lnTo>
                    <a:pt x="410" y="780"/>
                  </a:lnTo>
                  <a:lnTo>
                    <a:pt x="410" y="761"/>
                  </a:lnTo>
                  <a:lnTo>
                    <a:pt x="410" y="751"/>
                  </a:lnTo>
                  <a:lnTo>
                    <a:pt x="400" y="741"/>
                  </a:lnTo>
                  <a:lnTo>
                    <a:pt x="400" y="712"/>
                  </a:lnTo>
                  <a:lnTo>
                    <a:pt x="400" y="693"/>
                  </a:lnTo>
                  <a:lnTo>
                    <a:pt x="381" y="683"/>
                  </a:lnTo>
                  <a:lnTo>
                    <a:pt x="371" y="663"/>
                  </a:lnTo>
                  <a:lnTo>
                    <a:pt x="381" y="634"/>
                  </a:lnTo>
                  <a:lnTo>
                    <a:pt x="381" y="624"/>
                  </a:lnTo>
                  <a:lnTo>
                    <a:pt x="381" y="615"/>
                  </a:lnTo>
                  <a:lnTo>
                    <a:pt x="381" y="605"/>
                  </a:lnTo>
                  <a:lnTo>
                    <a:pt x="381" y="595"/>
                  </a:lnTo>
                  <a:lnTo>
                    <a:pt x="390" y="595"/>
                  </a:lnTo>
                  <a:lnTo>
                    <a:pt x="390" y="585"/>
                  </a:lnTo>
                  <a:lnTo>
                    <a:pt x="390" y="566"/>
                  </a:lnTo>
                  <a:lnTo>
                    <a:pt x="371" y="566"/>
                  </a:lnTo>
                  <a:lnTo>
                    <a:pt x="371" y="556"/>
                  </a:lnTo>
                  <a:lnTo>
                    <a:pt x="371" y="546"/>
                  </a:lnTo>
                  <a:lnTo>
                    <a:pt x="371" y="536"/>
                  </a:lnTo>
                  <a:lnTo>
                    <a:pt x="361" y="527"/>
                  </a:lnTo>
                  <a:lnTo>
                    <a:pt x="351" y="527"/>
                  </a:lnTo>
                  <a:lnTo>
                    <a:pt x="342" y="527"/>
                  </a:lnTo>
                  <a:lnTo>
                    <a:pt x="332" y="517"/>
                  </a:lnTo>
                  <a:lnTo>
                    <a:pt x="322" y="517"/>
                  </a:lnTo>
                  <a:lnTo>
                    <a:pt x="322" y="497"/>
                  </a:lnTo>
                  <a:lnTo>
                    <a:pt x="312" y="497"/>
                  </a:lnTo>
                  <a:lnTo>
                    <a:pt x="303" y="488"/>
                  </a:lnTo>
                  <a:lnTo>
                    <a:pt x="293" y="478"/>
                  </a:lnTo>
                  <a:lnTo>
                    <a:pt x="273" y="468"/>
                  </a:lnTo>
                  <a:lnTo>
                    <a:pt x="273" y="449"/>
                  </a:lnTo>
                  <a:lnTo>
                    <a:pt x="273" y="429"/>
                  </a:lnTo>
                  <a:lnTo>
                    <a:pt x="283" y="410"/>
                  </a:lnTo>
                  <a:lnTo>
                    <a:pt x="293" y="410"/>
                  </a:lnTo>
                  <a:lnTo>
                    <a:pt x="293" y="400"/>
                  </a:lnTo>
                  <a:lnTo>
                    <a:pt x="293" y="390"/>
                  </a:lnTo>
                  <a:lnTo>
                    <a:pt x="283" y="400"/>
                  </a:lnTo>
                  <a:lnTo>
                    <a:pt x="273" y="410"/>
                  </a:lnTo>
                  <a:lnTo>
                    <a:pt x="264" y="410"/>
                  </a:lnTo>
                  <a:lnTo>
                    <a:pt x="254" y="410"/>
                  </a:lnTo>
                  <a:lnTo>
                    <a:pt x="244" y="429"/>
                  </a:lnTo>
                  <a:lnTo>
                    <a:pt x="244" y="449"/>
                  </a:lnTo>
                  <a:lnTo>
                    <a:pt x="234" y="458"/>
                  </a:lnTo>
                  <a:lnTo>
                    <a:pt x="225" y="468"/>
                  </a:lnTo>
                  <a:lnTo>
                    <a:pt x="225" y="478"/>
                  </a:lnTo>
                  <a:lnTo>
                    <a:pt x="234" y="488"/>
                  </a:lnTo>
                  <a:lnTo>
                    <a:pt x="244" y="488"/>
                  </a:lnTo>
                  <a:lnTo>
                    <a:pt x="244" y="497"/>
                  </a:lnTo>
                  <a:lnTo>
                    <a:pt x="254" y="507"/>
                  </a:lnTo>
                  <a:lnTo>
                    <a:pt x="264" y="507"/>
                  </a:lnTo>
                  <a:lnTo>
                    <a:pt x="273" y="517"/>
                  </a:lnTo>
                  <a:lnTo>
                    <a:pt x="273" y="527"/>
                  </a:lnTo>
                  <a:lnTo>
                    <a:pt x="283" y="536"/>
                  </a:lnTo>
                  <a:lnTo>
                    <a:pt x="303" y="536"/>
                  </a:lnTo>
                  <a:lnTo>
                    <a:pt x="312" y="536"/>
                  </a:lnTo>
                  <a:lnTo>
                    <a:pt x="312" y="556"/>
                  </a:lnTo>
                  <a:lnTo>
                    <a:pt x="303" y="556"/>
                  </a:lnTo>
                  <a:lnTo>
                    <a:pt x="293" y="556"/>
                  </a:lnTo>
                  <a:lnTo>
                    <a:pt x="283" y="566"/>
                  </a:lnTo>
                  <a:lnTo>
                    <a:pt x="283" y="576"/>
                  </a:lnTo>
                  <a:lnTo>
                    <a:pt x="254" y="556"/>
                  </a:lnTo>
                  <a:lnTo>
                    <a:pt x="264" y="546"/>
                  </a:lnTo>
                  <a:lnTo>
                    <a:pt x="254" y="536"/>
                  </a:lnTo>
                  <a:lnTo>
                    <a:pt x="234" y="546"/>
                  </a:lnTo>
                  <a:lnTo>
                    <a:pt x="234" y="536"/>
                  </a:lnTo>
                  <a:lnTo>
                    <a:pt x="234" y="527"/>
                  </a:lnTo>
                  <a:lnTo>
                    <a:pt x="225" y="517"/>
                  </a:lnTo>
                  <a:lnTo>
                    <a:pt x="215" y="497"/>
                  </a:lnTo>
                  <a:lnTo>
                    <a:pt x="195" y="488"/>
                  </a:lnTo>
                  <a:lnTo>
                    <a:pt x="166" y="478"/>
                  </a:lnTo>
                  <a:lnTo>
                    <a:pt x="156" y="478"/>
                  </a:lnTo>
                  <a:lnTo>
                    <a:pt x="156" y="449"/>
                  </a:lnTo>
                  <a:lnTo>
                    <a:pt x="127" y="449"/>
                  </a:lnTo>
                  <a:lnTo>
                    <a:pt x="127" y="439"/>
                  </a:lnTo>
                  <a:lnTo>
                    <a:pt x="127" y="429"/>
                  </a:lnTo>
                  <a:lnTo>
                    <a:pt x="117" y="410"/>
                  </a:lnTo>
                  <a:lnTo>
                    <a:pt x="108" y="410"/>
                  </a:lnTo>
                  <a:lnTo>
                    <a:pt x="98" y="410"/>
                  </a:lnTo>
                  <a:lnTo>
                    <a:pt x="78" y="410"/>
                  </a:lnTo>
                  <a:lnTo>
                    <a:pt x="78" y="400"/>
                  </a:lnTo>
                  <a:lnTo>
                    <a:pt x="78" y="390"/>
                  </a:lnTo>
                  <a:lnTo>
                    <a:pt x="69" y="380"/>
                  </a:lnTo>
                  <a:lnTo>
                    <a:pt x="49" y="380"/>
                  </a:lnTo>
                  <a:lnTo>
                    <a:pt x="59" y="371"/>
                  </a:lnTo>
                  <a:lnTo>
                    <a:pt x="49" y="351"/>
                  </a:lnTo>
                  <a:lnTo>
                    <a:pt x="30" y="351"/>
                  </a:lnTo>
                  <a:lnTo>
                    <a:pt x="20" y="332"/>
                  </a:lnTo>
                  <a:lnTo>
                    <a:pt x="10" y="322"/>
                  </a:lnTo>
                  <a:lnTo>
                    <a:pt x="0" y="312"/>
                  </a:lnTo>
                  <a:lnTo>
                    <a:pt x="20" y="293"/>
                  </a:lnTo>
                  <a:lnTo>
                    <a:pt x="30" y="273"/>
                  </a:lnTo>
                  <a:lnTo>
                    <a:pt x="39" y="263"/>
                  </a:lnTo>
                  <a:lnTo>
                    <a:pt x="59" y="263"/>
                  </a:lnTo>
                </a:path>
              </a:pathLst>
            </a:custGeom>
            <a:solidFill>
              <a:srgbClr val="969696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18541" name="Freeform 239"/>
          <p:cNvSpPr>
            <a:spLocks noChangeAspect="1"/>
          </p:cNvSpPr>
          <p:nvPr>
            <p:custDataLst>
              <p:tags r:id="rId107"/>
            </p:custDataLst>
          </p:nvPr>
        </p:nvSpPr>
        <p:spPr bwMode="auto">
          <a:xfrm>
            <a:off x="2162175" y="4500563"/>
            <a:ext cx="90488" cy="114300"/>
          </a:xfrm>
          <a:custGeom>
            <a:avLst/>
            <a:gdLst>
              <a:gd name="T0" fmla="*/ 32602 w 136"/>
              <a:gd name="T1" fmla="*/ 84026 h 185"/>
              <a:gd name="T2" fmla="*/ 38590 w 136"/>
              <a:gd name="T3" fmla="*/ 78465 h 185"/>
              <a:gd name="T4" fmla="*/ 45244 w 136"/>
              <a:gd name="T5" fmla="*/ 72287 h 185"/>
              <a:gd name="T6" fmla="*/ 58551 w 136"/>
              <a:gd name="T7" fmla="*/ 66109 h 185"/>
              <a:gd name="T8" fmla="*/ 64539 w 136"/>
              <a:gd name="T9" fmla="*/ 59930 h 185"/>
              <a:gd name="T10" fmla="*/ 64539 w 136"/>
              <a:gd name="T11" fmla="*/ 54370 h 185"/>
              <a:gd name="T12" fmla="*/ 64539 w 136"/>
              <a:gd name="T13" fmla="*/ 48191 h 185"/>
              <a:gd name="T14" fmla="*/ 51898 w 136"/>
              <a:gd name="T15" fmla="*/ 30274 h 185"/>
              <a:gd name="T16" fmla="*/ 45244 w 136"/>
              <a:gd name="T17" fmla="*/ 30274 h 185"/>
              <a:gd name="T18" fmla="*/ 38590 w 136"/>
              <a:gd name="T19" fmla="*/ 24096 h 185"/>
              <a:gd name="T20" fmla="*/ 32602 w 136"/>
              <a:gd name="T21" fmla="*/ 17917 h 185"/>
              <a:gd name="T22" fmla="*/ 32602 w 136"/>
              <a:gd name="T23" fmla="*/ 11739 h 185"/>
              <a:gd name="T24" fmla="*/ 25949 w 136"/>
              <a:gd name="T25" fmla="*/ 6178 h 185"/>
              <a:gd name="T26" fmla="*/ 32602 w 136"/>
              <a:gd name="T27" fmla="*/ 0 h 185"/>
              <a:gd name="T28" fmla="*/ 32602 w 136"/>
              <a:gd name="T29" fmla="*/ 6178 h 185"/>
              <a:gd name="T30" fmla="*/ 45244 w 136"/>
              <a:gd name="T31" fmla="*/ 17917 h 185"/>
              <a:gd name="T32" fmla="*/ 51898 w 136"/>
              <a:gd name="T33" fmla="*/ 24096 h 185"/>
              <a:gd name="T34" fmla="*/ 58551 w 136"/>
              <a:gd name="T35" fmla="*/ 30274 h 185"/>
              <a:gd name="T36" fmla="*/ 71193 w 136"/>
              <a:gd name="T37" fmla="*/ 30274 h 185"/>
              <a:gd name="T38" fmla="*/ 77846 w 136"/>
              <a:gd name="T39" fmla="*/ 30274 h 185"/>
              <a:gd name="T40" fmla="*/ 77846 w 136"/>
              <a:gd name="T41" fmla="*/ 42013 h 185"/>
              <a:gd name="T42" fmla="*/ 90488 w 136"/>
              <a:gd name="T43" fmla="*/ 59930 h 185"/>
              <a:gd name="T44" fmla="*/ 84500 w 136"/>
              <a:gd name="T45" fmla="*/ 72287 h 185"/>
              <a:gd name="T46" fmla="*/ 84500 w 136"/>
              <a:gd name="T47" fmla="*/ 78465 h 185"/>
              <a:gd name="T48" fmla="*/ 84500 w 136"/>
              <a:gd name="T49" fmla="*/ 90204 h 185"/>
              <a:gd name="T50" fmla="*/ 71193 w 136"/>
              <a:gd name="T51" fmla="*/ 102561 h 185"/>
              <a:gd name="T52" fmla="*/ 64539 w 136"/>
              <a:gd name="T53" fmla="*/ 108122 h 185"/>
              <a:gd name="T54" fmla="*/ 58551 w 136"/>
              <a:gd name="T55" fmla="*/ 108122 h 185"/>
              <a:gd name="T56" fmla="*/ 58551 w 136"/>
              <a:gd name="T57" fmla="*/ 102561 h 185"/>
              <a:gd name="T58" fmla="*/ 58551 w 136"/>
              <a:gd name="T59" fmla="*/ 96383 h 185"/>
              <a:gd name="T60" fmla="*/ 64539 w 136"/>
              <a:gd name="T61" fmla="*/ 90204 h 185"/>
              <a:gd name="T62" fmla="*/ 71193 w 136"/>
              <a:gd name="T63" fmla="*/ 84026 h 185"/>
              <a:gd name="T64" fmla="*/ 64539 w 136"/>
              <a:gd name="T65" fmla="*/ 84026 h 185"/>
              <a:gd name="T66" fmla="*/ 58551 w 136"/>
              <a:gd name="T67" fmla="*/ 84026 h 185"/>
              <a:gd name="T68" fmla="*/ 51898 w 136"/>
              <a:gd name="T69" fmla="*/ 90204 h 185"/>
              <a:gd name="T70" fmla="*/ 45244 w 136"/>
              <a:gd name="T71" fmla="*/ 96383 h 185"/>
              <a:gd name="T72" fmla="*/ 32602 w 136"/>
              <a:gd name="T73" fmla="*/ 108122 h 185"/>
              <a:gd name="T74" fmla="*/ 25949 w 136"/>
              <a:gd name="T75" fmla="*/ 114300 h 185"/>
              <a:gd name="T76" fmla="*/ 19295 w 136"/>
              <a:gd name="T77" fmla="*/ 114300 h 185"/>
              <a:gd name="T78" fmla="*/ 12642 w 136"/>
              <a:gd name="T79" fmla="*/ 108122 h 185"/>
              <a:gd name="T80" fmla="*/ 12642 w 136"/>
              <a:gd name="T81" fmla="*/ 108122 h 185"/>
              <a:gd name="T82" fmla="*/ 6654 w 136"/>
              <a:gd name="T83" fmla="*/ 102561 h 185"/>
              <a:gd name="T84" fmla="*/ 0 w 136"/>
              <a:gd name="T85" fmla="*/ 96383 h 185"/>
              <a:gd name="T86" fmla="*/ 0 w 136"/>
              <a:gd name="T87" fmla="*/ 90204 h 185"/>
              <a:gd name="T88" fmla="*/ 12642 w 136"/>
              <a:gd name="T89" fmla="*/ 84026 h 185"/>
              <a:gd name="T90" fmla="*/ 19295 w 136"/>
              <a:gd name="T91" fmla="*/ 84026 h 185"/>
              <a:gd name="T92" fmla="*/ 19295 w 136"/>
              <a:gd name="T93" fmla="*/ 84026 h 185"/>
              <a:gd name="T94" fmla="*/ 25949 w 136"/>
              <a:gd name="T95" fmla="*/ 90204 h 185"/>
              <a:gd name="T96" fmla="*/ 32602 w 136"/>
              <a:gd name="T97" fmla="*/ 90204 h 185"/>
              <a:gd name="T98" fmla="*/ 32602 w 136"/>
              <a:gd name="T99" fmla="*/ 84026 h 185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136"/>
              <a:gd name="T151" fmla="*/ 0 h 185"/>
              <a:gd name="T152" fmla="*/ 136 w 136"/>
              <a:gd name="T153" fmla="*/ 185 h 185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136" h="185">
                <a:moveTo>
                  <a:pt x="49" y="136"/>
                </a:moveTo>
                <a:lnTo>
                  <a:pt x="58" y="127"/>
                </a:lnTo>
                <a:lnTo>
                  <a:pt x="68" y="117"/>
                </a:lnTo>
                <a:lnTo>
                  <a:pt x="88" y="107"/>
                </a:lnTo>
                <a:lnTo>
                  <a:pt x="97" y="97"/>
                </a:lnTo>
                <a:lnTo>
                  <a:pt x="97" y="88"/>
                </a:lnTo>
                <a:lnTo>
                  <a:pt x="97" y="78"/>
                </a:lnTo>
                <a:lnTo>
                  <a:pt x="78" y="49"/>
                </a:lnTo>
                <a:lnTo>
                  <a:pt x="68" y="49"/>
                </a:lnTo>
                <a:lnTo>
                  <a:pt x="58" y="39"/>
                </a:lnTo>
                <a:lnTo>
                  <a:pt x="49" y="29"/>
                </a:lnTo>
                <a:lnTo>
                  <a:pt x="49" y="19"/>
                </a:lnTo>
                <a:lnTo>
                  <a:pt x="39" y="10"/>
                </a:lnTo>
                <a:lnTo>
                  <a:pt x="49" y="0"/>
                </a:lnTo>
                <a:lnTo>
                  <a:pt x="49" y="10"/>
                </a:lnTo>
                <a:lnTo>
                  <a:pt x="68" y="29"/>
                </a:lnTo>
                <a:lnTo>
                  <a:pt x="78" y="39"/>
                </a:lnTo>
                <a:lnTo>
                  <a:pt x="88" y="49"/>
                </a:lnTo>
                <a:lnTo>
                  <a:pt x="107" y="49"/>
                </a:lnTo>
                <a:lnTo>
                  <a:pt x="117" y="49"/>
                </a:lnTo>
                <a:lnTo>
                  <a:pt x="117" y="68"/>
                </a:lnTo>
                <a:lnTo>
                  <a:pt x="136" y="97"/>
                </a:lnTo>
                <a:lnTo>
                  <a:pt x="127" y="117"/>
                </a:lnTo>
                <a:lnTo>
                  <a:pt x="127" y="127"/>
                </a:lnTo>
                <a:lnTo>
                  <a:pt x="127" y="146"/>
                </a:lnTo>
                <a:lnTo>
                  <a:pt x="107" y="166"/>
                </a:lnTo>
                <a:lnTo>
                  <a:pt x="97" y="175"/>
                </a:lnTo>
                <a:lnTo>
                  <a:pt x="88" y="175"/>
                </a:lnTo>
                <a:lnTo>
                  <a:pt x="88" y="166"/>
                </a:lnTo>
                <a:lnTo>
                  <a:pt x="88" y="156"/>
                </a:lnTo>
                <a:lnTo>
                  <a:pt x="97" y="146"/>
                </a:lnTo>
                <a:lnTo>
                  <a:pt x="107" y="136"/>
                </a:lnTo>
                <a:lnTo>
                  <a:pt x="97" y="136"/>
                </a:lnTo>
                <a:lnTo>
                  <a:pt x="88" y="136"/>
                </a:lnTo>
                <a:lnTo>
                  <a:pt x="78" y="146"/>
                </a:lnTo>
                <a:lnTo>
                  <a:pt x="68" y="156"/>
                </a:lnTo>
                <a:lnTo>
                  <a:pt x="49" y="175"/>
                </a:lnTo>
                <a:lnTo>
                  <a:pt x="39" y="185"/>
                </a:lnTo>
                <a:lnTo>
                  <a:pt x="29" y="185"/>
                </a:lnTo>
                <a:lnTo>
                  <a:pt x="19" y="175"/>
                </a:lnTo>
                <a:lnTo>
                  <a:pt x="10" y="166"/>
                </a:lnTo>
                <a:lnTo>
                  <a:pt x="0" y="156"/>
                </a:lnTo>
                <a:lnTo>
                  <a:pt x="0" y="146"/>
                </a:lnTo>
                <a:lnTo>
                  <a:pt x="19" y="136"/>
                </a:lnTo>
                <a:lnTo>
                  <a:pt x="29" y="136"/>
                </a:lnTo>
                <a:lnTo>
                  <a:pt x="39" y="146"/>
                </a:lnTo>
                <a:lnTo>
                  <a:pt x="49" y="146"/>
                </a:lnTo>
                <a:lnTo>
                  <a:pt x="49" y="136"/>
                </a:lnTo>
                <a:close/>
              </a:path>
            </a:pathLst>
          </a:custGeom>
          <a:solidFill>
            <a:srgbClr val="CCECFF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grpSp>
        <p:nvGrpSpPr>
          <p:cNvPr id="18542" name="Group 236"/>
          <p:cNvGrpSpPr>
            <a:grpSpLocks noChangeAspect="1"/>
          </p:cNvGrpSpPr>
          <p:nvPr>
            <p:custDataLst>
              <p:tags r:id="rId108"/>
            </p:custDataLst>
          </p:nvPr>
        </p:nvGrpSpPr>
        <p:grpSpPr bwMode="auto">
          <a:xfrm>
            <a:off x="2162175" y="4500563"/>
            <a:ext cx="90488" cy="114300"/>
            <a:chOff x="761" y="2654"/>
            <a:chExt cx="136" cy="185"/>
          </a:xfrm>
        </p:grpSpPr>
        <p:sp>
          <p:nvSpPr>
            <p:cNvPr id="18778" name="Freeform 238"/>
            <p:cNvSpPr>
              <a:spLocks noChangeAspect="1"/>
            </p:cNvSpPr>
            <p:nvPr/>
          </p:nvSpPr>
          <p:spPr bwMode="auto">
            <a:xfrm>
              <a:off x="761" y="2654"/>
              <a:ext cx="136" cy="185"/>
            </a:xfrm>
            <a:custGeom>
              <a:avLst/>
              <a:gdLst>
                <a:gd name="T0" fmla="*/ 49 w 136"/>
                <a:gd name="T1" fmla="*/ 136 h 185"/>
                <a:gd name="T2" fmla="*/ 58 w 136"/>
                <a:gd name="T3" fmla="*/ 127 h 185"/>
                <a:gd name="T4" fmla="*/ 68 w 136"/>
                <a:gd name="T5" fmla="*/ 117 h 185"/>
                <a:gd name="T6" fmla="*/ 88 w 136"/>
                <a:gd name="T7" fmla="*/ 107 h 185"/>
                <a:gd name="T8" fmla="*/ 97 w 136"/>
                <a:gd name="T9" fmla="*/ 97 h 185"/>
                <a:gd name="T10" fmla="*/ 97 w 136"/>
                <a:gd name="T11" fmla="*/ 88 h 185"/>
                <a:gd name="T12" fmla="*/ 97 w 136"/>
                <a:gd name="T13" fmla="*/ 78 h 185"/>
                <a:gd name="T14" fmla="*/ 78 w 136"/>
                <a:gd name="T15" fmla="*/ 49 h 185"/>
                <a:gd name="T16" fmla="*/ 68 w 136"/>
                <a:gd name="T17" fmla="*/ 49 h 185"/>
                <a:gd name="T18" fmla="*/ 58 w 136"/>
                <a:gd name="T19" fmla="*/ 39 h 185"/>
                <a:gd name="T20" fmla="*/ 49 w 136"/>
                <a:gd name="T21" fmla="*/ 29 h 185"/>
                <a:gd name="T22" fmla="*/ 49 w 136"/>
                <a:gd name="T23" fmla="*/ 19 h 185"/>
                <a:gd name="T24" fmla="*/ 39 w 136"/>
                <a:gd name="T25" fmla="*/ 10 h 185"/>
                <a:gd name="T26" fmla="*/ 49 w 136"/>
                <a:gd name="T27" fmla="*/ 0 h 185"/>
                <a:gd name="T28" fmla="*/ 49 w 136"/>
                <a:gd name="T29" fmla="*/ 10 h 185"/>
                <a:gd name="T30" fmla="*/ 68 w 136"/>
                <a:gd name="T31" fmla="*/ 29 h 185"/>
                <a:gd name="T32" fmla="*/ 78 w 136"/>
                <a:gd name="T33" fmla="*/ 39 h 185"/>
                <a:gd name="T34" fmla="*/ 88 w 136"/>
                <a:gd name="T35" fmla="*/ 49 h 185"/>
                <a:gd name="T36" fmla="*/ 107 w 136"/>
                <a:gd name="T37" fmla="*/ 49 h 185"/>
                <a:gd name="T38" fmla="*/ 117 w 136"/>
                <a:gd name="T39" fmla="*/ 49 h 185"/>
                <a:gd name="T40" fmla="*/ 117 w 136"/>
                <a:gd name="T41" fmla="*/ 68 h 185"/>
                <a:gd name="T42" fmla="*/ 136 w 136"/>
                <a:gd name="T43" fmla="*/ 97 h 185"/>
                <a:gd name="T44" fmla="*/ 127 w 136"/>
                <a:gd name="T45" fmla="*/ 117 h 185"/>
                <a:gd name="T46" fmla="*/ 127 w 136"/>
                <a:gd name="T47" fmla="*/ 127 h 185"/>
                <a:gd name="T48" fmla="*/ 127 w 136"/>
                <a:gd name="T49" fmla="*/ 146 h 185"/>
                <a:gd name="T50" fmla="*/ 107 w 136"/>
                <a:gd name="T51" fmla="*/ 166 h 185"/>
                <a:gd name="T52" fmla="*/ 97 w 136"/>
                <a:gd name="T53" fmla="*/ 175 h 185"/>
                <a:gd name="T54" fmla="*/ 88 w 136"/>
                <a:gd name="T55" fmla="*/ 175 h 185"/>
                <a:gd name="T56" fmla="*/ 88 w 136"/>
                <a:gd name="T57" fmla="*/ 166 h 185"/>
                <a:gd name="T58" fmla="*/ 88 w 136"/>
                <a:gd name="T59" fmla="*/ 156 h 185"/>
                <a:gd name="T60" fmla="*/ 97 w 136"/>
                <a:gd name="T61" fmla="*/ 146 h 185"/>
                <a:gd name="T62" fmla="*/ 107 w 136"/>
                <a:gd name="T63" fmla="*/ 136 h 185"/>
                <a:gd name="T64" fmla="*/ 97 w 136"/>
                <a:gd name="T65" fmla="*/ 136 h 185"/>
                <a:gd name="T66" fmla="*/ 88 w 136"/>
                <a:gd name="T67" fmla="*/ 136 h 185"/>
                <a:gd name="T68" fmla="*/ 78 w 136"/>
                <a:gd name="T69" fmla="*/ 146 h 185"/>
                <a:gd name="T70" fmla="*/ 68 w 136"/>
                <a:gd name="T71" fmla="*/ 156 h 185"/>
                <a:gd name="T72" fmla="*/ 49 w 136"/>
                <a:gd name="T73" fmla="*/ 175 h 185"/>
                <a:gd name="T74" fmla="*/ 29 w 136"/>
                <a:gd name="T75" fmla="*/ 185 h 185"/>
                <a:gd name="T76" fmla="*/ 29 w 136"/>
                <a:gd name="T77" fmla="*/ 185 h 185"/>
                <a:gd name="T78" fmla="*/ 19 w 136"/>
                <a:gd name="T79" fmla="*/ 175 h 185"/>
                <a:gd name="T80" fmla="*/ 19 w 136"/>
                <a:gd name="T81" fmla="*/ 175 h 185"/>
                <a:gd name="T82" fmla="*/ 10 w 136"/>
                <a:gd name="T83" fmla="*/ 166 h 185"/>
                <a:gd name="T84" fmla="*/ 0 w 136"/>
                <a:gd name="T85" fmla="*/ 156 h 185"/>
                <a:gd name="T86" fmla="*/ 0 w 136"/>
                <a:gd name="T87" fmla="*/ 146 h 185"/>
                <a:gd name="T88" fmla="*/ 19 w 136"/>
                <a:gd name="T89" fmla="*/ 136 h 185"/>
                <a:gd name="T90" fmla="*/ 29 w 136"/>
                <a:gd name="T91" fmla="*/ 136 h 185"/>
                <a:gd name="T92" fmla="*/ 29 w 136"/>
                <a:gd name="T93" fmla="*/ 136 h 185"/>
                <a:gd name="T94" fmla="*/ 39 w 136"/>
                <a:gd name="T95" fmla="*/ 146 h 185"/>
                <a:gd name="T96" fmla="*/ 49 w 136"/>
                <a:gd name="T97" fmla="*/ 146 h 185"/>
                <a:gd name="T98" fmla="*/ 49 w 136"/>
                <a:gd name="T99" fmla="*/ 136 h 185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36"/>
                <a:gd name="T151" fmla="*/ 0 h 185"/>
                <a:gd name="T152" fmla="*/ 136 w 136"/>
                <a:gd name="T153" fmla="*/ 185 h 185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36" h="185">
                  <a:moveTo>
                    <a:pt x="49" y="136"/>
                  </a:moveTo>
                  <a:lnTo>
                    <a:pt x="58" y="127"/>
                  </a:lnTo>
                  <a:lnTo>
                    <a:pt x="68" y="117"/>
                  </a:lnTo>
                  <a:lnTo>
                    <a:pt x="88" y="107"/>
                  </a:lnTo>
                  <a:lnTo>
                    <a:pt x="97" y="97"/>
                  </a:lnTo>
                  <a:lnTo>
                    <a:pt x="97" y="88"/>
                  </a:lnTo>
                  <a:lnTo>
                    <a:pt x="97" y="78"/>
                  </a:lnTo>
                  <a:lnTo>
                    <a:pt x="78" y="49"/>
                  </a:lnTo>
                  <a:lnTo>
                    <a:pt x="68" y="49"/>
                  </a:lnTo>
                  <a:lnTo>
                    <a:pt x="58" y="39"/>
                  </a:lnTo>
                  <a:lnTo>
                    <a:pt x="49" y="29"/>
                  </a:lnTo>
                  <a:lnTo>
                    <a:pt x="49" y="19"/>
                  </a:lnTo>
                  <a:lnTo>
                    <a:pt x="39" y="10"/>
                  </a:lnTo>
                  <a:lnTo>
                    <a:pt x="49" y="0"/>
                  </a:lnTo>
                  <a:lnTo>
                    <a:pt x="49" y="10"/>
                  </a:lnTo>
                  <a:lnTo>
                    <a:pt x="68" y="29"/>
                  </a:lnTo>
                  <a:lnTo>
                    <a:pt x="78" y="39"/>
                  </a:lnTo>
                  <a:lnTo>
                    <a:pt x="88" y="49"/>
                  </a:lnTo>
                  <a:lnTo>
                    <a:pt x="107" y="49"/>
                  </a:lnTo>
                  <a:lnTo>
                    <a:pt x="117" y="49"/>
                  </a:lnTo>
                  <a:lnTo>
                    <a:pt x="117" y="68"/>
                  </a:lnTo>
                  <a:lnTo>
                    <a:pt x="136" y="97"/>
                  </a:lnTo>
                  <a:lnTo>
                    <a:pt x="127" y="117"/>
                  </a:lnTo>
                  <a:lnTo>
                    <a:pt x="127" y="127"/>
                  </a:lnTo>
                  <a:lnTo>
                    <a:pt x="127" y="146"/>
                  </a:lnTo>
                  <a:lnTo>
                    <a:pt x="107" y="166"/>
                  </a:lnTo>
                  <a:lnTo>
                    <a:pt x="97" y="175"/>
                  </a:lnTo>
                  <a:lnTo>
                    <a:pt x="88" y="175"/>
                  </a:lnTo>
                  <a:lnTo>
                    <a:pt x="88" y="166"/>
                  </a:lnTo>
                  <a:lnTo>
                    <a:pt x="88" y="156"/>
                  </a:lnTo>
                  <a:lnTo>
                    <a:pt x="97" y="146"/>
                  </a:lnTo>
                  <a:lnTo>
                    <a:pt x="107" y="136"/>
                  </a:lnTo>
                  <a:lnTo>
                    <a:pt x="97" y="136"/>
                  </a:lnTo>
                  <a:lnTo>
                    <a:pt x="88" y="136"/>
                  </a:lnTo>
                  <a:lnTo>
                    <a:pt x="78" y="146"/>
                  </a:lnTo>
                  <a:lnTo>
                    <a:pt x="68" y="156"/>
                  </a:lnTo>
                  <a:lnTo>
                    <a:pt x="49" y="175"/>
                  </a:lnTo>
                  <a:lnTo>
                    <a:pt x="29" y="185"/>
                  </a:lnTo>
                  <a:lnTo>
                    <a:pt x="19" y="175"/>
                  </a:lnTo>
                  <a:lnTo>
                    <a:pt x="10" y="166"/>
                  </a:lnTo>
                  <a:lnTo>
                    <a:pt x="0" y="156"/>
                  </a:lnTo>
                  <a:lnTo>
                    <a:pt x="0" y="146"/>
                  </a:lnTo>
                  <a:lnTo>
                    <a:pt x="19" y="136"/>
                  </a:lnTo>
                  <a:lnTo>
                    <a:pt x="29" y="136"/>
                  </a:lnTo>
                  <a:lnTo>
                    <a:pt x="39" y="146"/>
                  </a:lnTo>
                  <a:lnTo>
                    <a:pt x="49" y="146"/>
                  </a:lnTo>
                  <a:lnTo>
                    <a:pt x="49" y="136"/>
                  </a:lnTo>
                  <a:close/>
                </a:path>
              </a:pathLst>
            </a:custGeom>
            <a:solidFill>
              <a:srgbClr val="99C7B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8779" name="Freeform 237"/>
            <p:cNvSpPr>
              <a:spLocks noChangeAspect="1"/>
            </p:cNvSpPr>
            <p:nvPr/>
          </p:nvSpPr>
          <p:spPr bwMode="auto">
            <a:xfrm>
              <a:off x="761" y="2654"/>
              <a:ext cx="136" cy="185"/>
            </a:xfrm>
            <a:custGeom>
              <a:avLst/>
              <a:gdLst>
                <a:gd name="T0" fmla="*/ 49 w 136"/>
                <a:gd name="T1" fmla="*/ 136 h 185"/>
                <a:gd name="T2" fmla="*/ 58 w 136"/>
                <a:gd name="T3" fmla="*/ 127 h 185"/>
                <a:gd name="T4" fmla="*/ 68 w 136"/>
                <a:gd name="T5" fmla="*/ 117 h 185"/>
                <a:gd name="T6" fmla="*/ 88 w 136"/>
                <a:gd name="T7" fmla="*/ 107 h 185"/>
                <a:gd name="T8" fmla="*/ 97 w 136"/>
                <a:gd name="T9" fmla="*/ 97 h 185"/>
                <a:gd name="T10" fmla="*/ 97 w 136"/>
                <a:gd name="T11" fmla="*/ 88 h 185"/>
                <a:gd name="T12" fmla="*/ 97 w 136"/>
                <a:gd name="T13" fmla="*/ 78 h 185"/>
                <a:gd name="T14" fmla="*/ 78 w 136"/>
                <a:gd name="T15" fmla="*/ 49 h 185"/>
                <a:gd name="T16" fmla="*/ 68 w 136"/>
                <a:gd name="T17" fmla="*/ 49 h 185"/>
                <a:gd name="T18" fmla="*/ 58 w 136"/>
                <a:gd name="T19" fmla="*/ 39 h 185"/>
                <a:gd name="T20" fmla="*/ 49 w 136"/>
                <a:gd name="T21" fmla="*/ 29 h 185"/>
                <a:gd name="T22" fmla="*/ 49 w 136"/>
                <a:gd name="T23" fmla="*/ 19 h 185"/>
                <a:gd name="T24" fmla="*/ 39 w 136"/>
                <a:gd name="T25" fmla="*/ 10 h 185"/>
                <a:gd name="T26" fmla="*/ 49 w 136"/>
                <a:gd name="T27" fmla="*/ 0 h 185"/>
                <a:gd name="T28" fmla="*/ 49 w 136"/>
                <a:gd name="T29" fmla="*/ 10 h 185"/>
                <a:gd name="T30" fmla="*/ 68 w 136"/>
                <a:gd name="T31" fmla="*/ 29 h 185"/>
                <a:gd name="T32" fmla="*/ 78 w 136"/>
                <a:gd name="T33" fmla="*/ 39 h 185"/>
                <a:gd name="T34" fmla="*/ 88 w 136"/>
                <a:gd name="T35" fmla="*/ 49 h 185"/>
                <a:gd name="T36" fmla="*/ 107 w 136"/>
                <a:gd name="T37" fmla="*/ 49 h 185"/>
                <a:gd name="T38" fmla="*/ 117 w 136"/>
                <a:gd name="T39" fmla="*/ 49 h 185"/>
                <a:gd name="T40" fmla="*/ 117 w 136"/>
                <a:gd name="T41" fmla="*/ 68 h 185"/>
                <a:gd name="T42" fmla="*/ 136 w 136"/>
                <a:gd name="T43" fmla="*/ 97 h 185"/>
                <a:gd name="T44" fmla="*/ 127 w 136"/>
                <a:gd name="T45" fmla="*/ 117 h 185"/>
                <a:gd name="T46" fmla="*/ 127 w 136"/>
                <a:gd name="T47" fmla="*/ 127 h 185"/>
                <a:gd name="T48" fmla="*/ 127 w 136"/>
                <a:gd name="T49" fmla="*/ 146 h 185"/>
                <a:gd name="T50" fmla="*/ 107 w 136"/>
                <a:gd name="T51" fmla="*/ 166 h 185"/>
                <a:gd name="T52" fmla="*/ 97 w 136"/>
                <a:gd name="T53" fmla="*/ 175 h 185"/>
                <a:gd name="T54" fmla="*/ 88 w 136"/>
                <a:gd name="T55" fmla="*/ 175 h 185"/>
                <a:gd name="T56" fmla="*/ 88 w 136"/>
                <a:gd name="T57" fmla="*/ 166 h 185"/>
                <a:gd name="T58" fmla="*/ 88 w 136"/>
                <a:gd name="T59" fmla="*/ 156 h 185"/>
                <a:gd name="T60" fmla="*/ 97 w 136"/>
                <a:gd name="T61" fmla="*/ 146 h 185"/>
                <a:gd name="T62" fmla="*/ 107 w 136"/>
                <a:gd name="T63" fmla="*/ 136 h 185"/>
                <a:gd name="T64" fmla="*/ 97 w 136"/>
                <a:gd name="T65" fmla="*/ 136 h 185"/>
                <a:gd name="T66" fmla="*/ 88 w 136"/>
                <a:gd name="T67" fmla="*/ 136 h 185"/>
                <a:gd name="T68" fmla="*/ 78 w 136"/>
                <a:gd name="T69" fmla="*/ 146 h 185"/>
                <a:gd name="T70" fmla="*/ 68 w 136"/>
                <a:gd name="T71" fmla="*/ 156 h 185"/>
                <a:gd name="T72" fmla="*/ 49 w 136"/>
                <a:gd name="T73" fmla="*/ 175 h 185"/>
                <a:gd name="T74" fmla="*/ 29 w 136"/>
                <a:gd name="T75" fmla="*/ 185 h 185"/>
                <a:gd name="T76" fmla="*/ 29 w 136"/>
                <a:gd name="T77" fmla="*/ 185 h 185"/>
                <a:gd name="T78" fmla="*/ 19 w 136"/>
                <a:gd name="T79" fmla="*/ 175 h 185"/>
                <a:gd name="T80" fmla="*/ 19 w 136"/>
                <a:gd name="T81" fmla="*/ 175 h 185"/>
                <a:gd name="T82" fmla="*/ 10 w 136"/>
                <a:gd name="T83" fmla="*/ 166 h 185"/>
                <a:gd name="T84" fmla="*/ 0 w 136"/>
                <a:gd name="T85" fmla="*/ 156 h 185"/>
                <a:gd name="T86" fmla="*/ 0 w 136"/>
                <a:gd name="T87" fmla="*/ 146 h 185"/>
                <a:gd name="T88" fmla="*/ 19 w 136"/>
                <a:gd name="T89" fmla="*/ 136 h 185"/>
                <a:gd name="T90" fmla="*/ 29 w 136"/>
                <a:gd name="T91" fmla="*/ 136 h 185"/>
                <a:gd name="T92" fmla="*/ 29 w 136"/>
                <a:gd name="T93" fmla="*/ 136 h 185"/>
                <a:gd name="T94" fmla="*/ 39 w 136"/>
                <a:gd name="T95" fmla="*/ 146 h 185"/>
                <a:gd name="T96" fmla="*/ 49 w 136"/>
                <a:gd name="T97" fmla="*/ 146 h 185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36"/>
                <a:gd name="T148" fmla="*/ 0 h 185"/>
                <a:gd name="T149" fmla="*/ 136 w 136"/>
                <a:gd name="T150" fmla="*/ 185 h 185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36" h="185">
                  <a:moveTo>
                    <a:pt x="49" y="136"/>
                  </a:moveTo>
                  <a:lnTo>
                    <a:pt x="58" y="127"/>
                  </a:lnTo>
                  <a:lnTo>
                    <a:pt x="68" y="117"/>
                  </a:lnTo>
                  <a:lnTo>
                    <a:pt x="88" y="107"/>
                  </a:lnTo>
                  <a:lnTo>
                    <a:pt x="97" y="97"/>
                  </a:lnTo>
                  <a:lnTo>
                    <a:pt x="97" y="88"/>
                  </a:lnTo>
                  <a:lnTo>
                    <a:pt x="97" y="78"/>
                  </a:lnTo>
                  <a:lnTo>
                    <a:pt x="78" y="49"/>
                  </a:lnTo>
                  <a:lnTo>
                    <a:pt x="68" y="49"/>
                  </a:lnTo>
                  <a:lnTo>
                    <a:pt x="58" y="39"/>
                  </a:lnTo>
                  <a:lnTo>
                    <a:pt x="49" y="29"/>
                  </a:lnTo>
                  <a:lnTo>
                    <a:pt x="49" y="19"/>
                  </a:lnTo>
                  <a:lnTo>
                    <a:pt x="39" y="10"/>
                  </a:lnTo>
                  <a:lnTo>
                    <a:pt x="49" y="0"/>
                  </a:lnTo>
                  <a:lnTo>
                    <a:pt x="49" y="10"/>
                  </a:lnTo>
                  <a:lnTo>
                    <a:pt x="68" y="29"/>
                  </a:lnTo>
                  <a:lnTo>
                    <a:pt x="78" y="39"/>
                  </a:lnTo>
                  <a:lnTo>
                    <a:pt x="88" y="49"/>
                  </a:lnTo>
                  <a:lnTo>
                    <a:pt x="107" y="49"/>
                  </a:lnTo>
                  <a:lnTo>
                    <a:pt x="117" y="49"/>
                  </a:lnTo>
                  <a:lnTo>
                    <a:pt x="117" y="68"/>
                  </a:lnTo>
                  <a:lnTo>
                    <a:pt x="136" y="97"/>
                  </a:lnTo>
                  <a:lnTo>
                    <a:pt x="127" y="117"/>
                  </a:lnTo>
                  <a:lnTo>
                    <a:pt x="127" y="127"/>
                  </a:lnTo>
                  <a:lnTo>
                    <a:pt x="127" y="146"/>
                  </a:lnTo>
                  <a:lnTo>
                    <a:pt x="107" y="166"/>
                  </a:lnTo>
                  <a:lnTo>
                    <a:pt x="97" y="175"/>
                  </a:lnTo>
                  <a:lnTo>
                    <a:pt x="88" y="175"/>
                  </a:lnTo>
                  <a:lnTo>
                    <a:pt x="88" y="166"/>
                  </a:lnTo>
                  <a:lnTo>
                    <a:pt x="88" y="156"/>
                  </a:lnTo>
                  <a:lnTo>
                    <a:pt x="97" y="146"/>
                  </a:lnTo>
                  <a:lnTo>
                    <a:pt x="107" y="136"/>
                  </a:lnTo>
                  <a:lnTo>
                    <a:pt x="97" y="136"/>
                  </a:lnTo>
                  <a:lnTo>
                    <a:pt x="88" y="136"/>
                  </a:lnTo>
                  <a:lnTo>
                    <a:pt x="78" y="146"/>
                  </a:lnTo>
                  <a:lnTo>
                    <a:pt x="68" y="156"/>
                  </a:lnTo>
                  <a:lnTo>
                    <a:pt x="49" y="175"/>
                  </a:lnTo>
                  <a:lnTo>
                    <a:pt x="29" y="185"/>
                  </a:lnTo>
                  <a:lnTo>
                    <a:pt x="19" y="175"/>
                  </a:lnTo>
                  <a:lnTo>
                    <a:pt x="10" y="166"/>
                  </a:lnTo>
                  <a:lnTo>
                    <a:pt x="0" y="156"/>
                  </a:lnTo>
                  <a:lnTo>
                    <a:pt x="0" y="146"/>
                  </a:lnTo>
                  <a:lnTo>
                    <a:pt x="19" y="136"/>
                  </a:lnTo>
                  <a:lnTo>
                    <a:pt x="29" y="136"/>
                  </a:lnTo>
                  <a:lnTo>
                    <a:pt x="39" y="146"/>
                  </a:lnTo>
                  <a:lnTo>
                    <a:pt x="49" y="146"/>
                  </a:lnTo>
                </a:path>
              </a:pathLst>
            </a:custGeom>
            <a:noFill/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18543" name="Freeform 235"/>
          <p:cNvSpPr>
            <a:spLocks noChangeAspect="1"/>
          </p:cNvSpPr>
          <p:nvPr>
            <p:custDataLst>
              <p:tags r:id="rId109"/>
            </p:custDataLst>
          </p:nvPr>
        </p:nvSpPr>
        <p:spPr bwMode="auto">
          <a:xfrm>
            <a:off x="4632325" y="5051425"/>
            <a:ext cx="215900" cy="279400"/>
          </a:xfrm>
          <a:custGeom>
            <a:avLst/>
            <a:gdLst>
              <a:gd name="T0" fmla="*/ 84483 w 322"/>
              <a:gd name="T1" fmla="*/ 84629 h 449"/>
              <a:gd name="T2" fmla="*/ 78448 w 322"/>
              <a:gd name="T3" fmla="*/ 66583 h 449"/>
              <a:gd name="T4" fmla="*/ 65038 w 322"/>
              <a:gd name="T5" fmla="*/ 79029 h 449"/>
              <a:gd name="T6" fmla="*/ 65038 w 322"/>
              <a:gd name="T7" fmla="*/ 72806 h 449"/>
              <a:gd name="T8" fmla="*/ 78448 w 322"/>
              <a:gd name="T9" fmla="*/ 48537 h 449"/>
              <a:gd name="T10" fmla="*/ 78448 w 322"/>
              <a:gd name="T11" fmla="*/ 11823 h 449"/>
              <a:gd name="T12" fmla="*/ 84483 w 322"/>
              <a:gd name="T13" fmla="*/ 11823 h 449"/>
              <a:gd name="T14" fmla="*/ 97893 w 322"/>
              <a:gd name="T15" fmla="*/ 11823 h 449"/>
              <a:gd name="T16" fmla="*/ 104598 w 322"/>
              <a:gd name="T17" fmla="*/ 24269 h 449"/>
              <a:gd name="T18" fmla="*/ 111302 w 322"/>
              <a:gd name="T19" fmla="*/ 42314 h 449"/>
              <a:gd name="T20" fmla="*/ 137452 w 322"/>
              <a:gd name="T21" fmla="*/ 42314 h 449"/>
              <a:gd name="T22" fmla="*/ 137452 w 322"/>
              <a:gd name="T23" fmla="*/ 24269 h 449"/>
              <a:gd name="T24" fmla="*/ 150191 w 322"/>
              <a:gd name="T25" fmla="*/ 29869 h 449"/>
              <a:gd name="T26" fmla="*/ 163601 w 322"/>
              <a:gd name="T27" fmla="*/ 42314 h 449"/>
              <a:gd name="T28" fmla="*/ 183046 w 322"/>
              <a:gd name="T29" fmla="*/ 42314 h 449"/>
              <a:gd name="T30" fmla="*/ 189751 w 322"/>
              <a:gd name="T31" fmla="*/ 48537 h 449"/>
              <a:gd name="T32" fmla="*/ 202490 w 322"/>
              <a:gd name="T33" fmla="*/ 54760 h 449"/>
              <a:gd name="T34" fmla="*/ 202490 w 322"/>
              <a:gd name="T35" fmla="*/ 60360 h 449"/>
              <a:gd name="T36" fmla="*/ 202490 w 322"/>
              <a:gd name="T37" fmla="*/ 72806 h 449"/>
              <a:gd name="T38" fmla="*/ 209195 w 322"/>
              <a:gd name="T39" fmla="*/ 84629 h 449"/>
              <a:gd name="T40" fmla="*/ 215900 w 322"/>
              <a:gd name="T41" fmla="*/ 103297 h 449"/>
              <a:gd name="T42" fmla="*/ 209195 w 322"/>
              <a:gd name="T43" fmla="*/ 127566 h 449"/>
              <a:gd name="T44" fmla="*/ 202490 w 322"/>
              <a:gd name="T45" fmla="*/ 145612 h 449"/>
              <a:gd name="T46" fmla="*/ 215900 w 322"/>
              <a:gd name="T47" fmla="*/ 163657 h 449"/>
              <a:gd name="T48" fmla="*/ 209195 w 322"/>
              <a:gd name="T49" fmla="*/ 181703 h 449"/>
              <a:gd name="T50" fmla="*/ 195785 w 322"/>
              <a:gd name="T51" fmla="*/ 194149 h 449"/>
              <a:gd name="T52" fmla="*/ 183046 w 322"/>
              <a:gd name="T53" fmla="*/ 205972 h 449"/>
              <a:gd name="T54" fmla="*/ 163601 w 322"/>
              <a:gd name="T55" fmla="*/ 212195 h 449"/>
              <a:gd name="T56" fmla="*/ 143486 w 322"/>
              <a:gd name="T57" fmla="*/ 224640 h 449"/>
              <a:gd name="T58" fmla="*/ 130747 w 322"/>
              <a:gd name="T59" fmla="*/ 236463 h 449"/>
              <a:gd name="T60" fmla="*/ 124042 w 322"/>
              <a:gd name="T61" fmla="*/ 242686 h 449"/>
              <a:gd name="T62" fmla="*/ 104598 w 322"/>
              <a:gd name="T63" fmla="*/ 242686 h 449"/>
              <a:gd name="T64" fmla="*/ 91188 w 322"/>
              <a:gd name="T65" fmla="*/ 266955 h 449"/>
              <a:gd name="T66" fmla="*/ 71743 w 322"/>
              <a:gd name="T67" fmla="*/ 266955 h 449"/>
              <a:gd name="T68" fmla="*/ 58333 w 322"/>
              <a:gd name="T69" fmla="*/ 260732 h 449"/>
              <a:gd name="T70" fmla="*/ 32184 w 322"/>
              <a:gd name="T71" fmla="*/ 266955 h 449"/>
              <a:gd name="T72" fmla="*/ 45594 w 322"/>
              <a:gd name="T73" fmla="*/ 279400 h 449"/>
              <a:gd name="T74" fmla="*/ 19444 w 322"/>
              <a:gd name="T75" fmla="*/ 279400 h 449"/>
              <a:gd name="T76" fmla="*/ 0 w 322"/>
              <a:gd name="T77" fmla="*/ 260732 h 449"/>
              <a:gd name="T78" fmla="*/ 6034 w 322"/>
              <a:gd name="T79" fmla="*/ 248909 h 449"/>
              <a:gd name="T80" fmla="*/ 0 w 322"/>
              <a:gd name="T81" fmla="*/ 236463 h 449"/>
              <a:gd name="T82" fmla="*/ 19444 w 322"/>
              <a:gd name="T83" fmla="*/ 230241 h 449"/>
              <a:gd name="T84" fmla="*/ 32184 w 322"/>
              <a:gd name="T85" fmla="*/ 218417 h 449"/>
              <a:gd name="T86" fmla="*/ 45594 w 322"/>
              <a:gd name="T87" fmla="*/ 218417 h 449"/>
              <a:gd name="T88" fmla="*/ 58333 w 322"/>
              <a:gd name="T89" fmla="*/ 200372 h 449"/>
              <a:gd name="T90" fmla="*/ 78448 w 322"/>
              <a:gd name="T91" fmla="*/ 187926 h 449"/>
              <a:gd name="T92" fmla="*/ 65038 w 322"/>
              <a:gd name="T93" fmla="*/ 176103 h 449"/>
              <a:gd name="T94" fmla="*/ 58333 w 322"/>
              <a:gd name="T95" fmla="*/ 163657 h 449"/>
              <a:gd name="T96" fmla="*/ 71743 w 322"/>
              <a:gd name="T97" fmla="*/ 163657 h 449"/>
              <a:gd name="T98" fmla="*/ 71743 w 322"/>
              <a:gd name="T99" fmla="*/ 145612 h 449"/>
              <a:gd name="T100" fmla="*/ 65038 w 322"/>
              <a:gd name="T101" fmla="*/ 139389 h 449"/>
              <a:gd name="T102" fmla="*/ 78448 w 322"/>
              <a:gd name="T103" fmla="*/ 121343 h 449"/>
              <a:gd name="T104" fmla="*/ 84483 w 322"/>
              <a:gd name="T105" fmla="*/ 103297 h 449"/>
              <a:gd name="T106" fmla="*/ 84483 w 322"/>
              <a:gd name="T107" fmla="*/ 97074 h 449"/>
              <a:gd name="T108" fmla="*/ 91188 w 322"/>
              <a:gd name="T109" fmla="*/ 84629 h 449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322"/>
              <a:gd name="T166" fmla="*/ 0 h 449"/>
              <a:gd name="T167" fmla="*/ 322 w 322"/>
              <a:gd name="T168" fmla="*/ 449 h 449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322" h="449">
                <a:moveTo>
                  <a:pt x="136" y="136"/>
                </a:moveTo>
                <a:lnTo>
                  <a:pt x="126" y="136"/>
                </a:lnTo>
                <a:lnTo>
                  <a:pt x="126" y="127"/>
                </a:lnTo>
                <a:lnTo>
                  <a:pt x="117" y="107"/>
                </a:lnTo>
                <a:lnTo>
                  <a:pt x="107" y="127"/>
                </a:lnTo>
                <a:lnTo>
                  <a:pt x="97" y="127"/>
                </a:lnTo>
                <a:lnTo>
                  <a:pt x="97" y="117"/>
                </a:lnTo>
                <a:lnTo>
                  <a:pt x="117" y="97"/>
                </a:lnTo>
                <a:lnTo>
                  <a:pt x="117" y="78"/>
                </a:lnTo>
                <a:lnTo>
                  <a:pt x="126" y="68"/>
                </a:lnTo>
                <a:lnTo>
                  <a:pt x="117" y="19"/>
                </a:lnTo>
                <a:lnTo>
                  <a:pt x="126" y="19"/>
                </a:lnTo>
                <a:lnTo>
                  <a:pt x="136" y="0"/>
                </a:lnTo>
                <a:lnTo>
                  <a:pt x="146" y="19"/>
                </a:lnTo>
                <a:lnTo>
                  <a:pt x="146" y="39"/>
                </a:lnTo>
                <a:lnTo>
                  <a:pt x="156" y="39"/>
                </a:lnTo>
                <a:lnTo>
                  <a:pt x="166" y="58"/>
                </a:lnTo>
                <a:lnTo>
                  <a:pt x="166" y="68"/>
                </a:lnTo>
                <a:lnTo>
                  <a:pt x="185" y="68"/>
                </a:lnTo>
                <a:lnTo>
                  <a:pt x="205" y="68"/>
                </a:lnTo>
                <a:lnTo>
                  <a:pt x="205" y="58"/>
                </a:lnTo>
                <a:lnTo>
                  <a:pt x="205" y="39"/>
                </a:lnTo>
                <a:lnTo>
                  <a:pt x="214" y="39"/>
                </a:lnTo>
                <a:lnTo>
                  <a:pt x="224" y="48"/>
                </a:lnTo>
                <a:lnTo>
                  <a:pt x="234" y="68"/>
                </a:lnTo>
                <a:lnTo>
                  <a:pt x="244" y="68"/>
                </a:lnTo>
                <a:lnTo>
                  <a:pt x="263" y="68"/>
                </a:lnTo>
                <a:lnTo>
                  <a:pt x="273" y="68"/>
                </a:lnTo>
                <a:lnTo>
                  <a:pt x="273" y="78"/>
                </a:lnTo>
                <a:lnTo>
                  <a:pt x="283" y="78"/>
                </a:lnTo>
                <a:lnTo>
                  <a:pt x="292" y="88"/>
                </a:lnTo>
                <a:lnTo>
                  <a:pt x="302" y="88"/>
                </a:lnTo>
                <a:lnTo>
                  <a:pt x="302" y="97"/>
                </a:lnTo>
                <a:lnTo>
                  <a:pt x="292" y="107"/>
                </a:lnTo>
                <a:lnTo>
                  <a:pt x="302" y="117"/>
                </a:lnTo>
                <a:lnTo>
                  <a:pt x="302" y="127"/>
                </a:lnTo>
                <a:lnTo>
                  <a:pt x="312" y="136"/>
                </a:lnTo>
                <a:lnTo>
                  <a:pt x="312" y="156"/>
                </a:lnTo>
                <a:lnTo>
                  <a:pt x="322" y="166"/>
                </a:lnTo>
                <a:lnTo>
                  <a:pt x="312" y="185"/>
                </a:lnTo>
                <a:lnTo>
                  <a:pt x="312" y="205"/>
                </a:lnTo>
                <a:lnTo>
                  <a:pt x="302" y="224"/>
                </a:lnTo>
                <a:lnTo>
                  <a:pt x="302" y="234"/>
                </a:lnTo>
                <a:lnTo>
                  <a:pt x="312" y="263"/>
                </a:lnTo>
                <a:lnTo>
                  <a:pt x="322" y="263"/>
                </a:lnTo>
                <a:lnTo>
                  <a:pt x="322" y="283"/>
                </a:lnTo>
                <a:lnTo>
                  <a:pt x="312" y="292"/>
                </a:lnTo>
                <a:lnTo>
                  <a:pt x="292" y="292"/>
                </a:lnTo>
                <a:lnTo>
                  <a:pt x="292" y="312"/>
                </a:lnTo>
                <a:lnTo>
                  <a:pt x="283" y="322"/>
                </a:lnTo>
                <a:lnTo>
                  <a:pt x="273" y="331"/>
                </a:lnTo>
                <a:lnTo>
                  <a:pt x="253" y="341"/>
                </a:lnTo>
                <a:lnTo>
                  <a:pt x="244" y="341"/>
                </a:lnTo>
                <a:lnTo>
                  <a:pt x="224" y="351"/>
                </a:lnTo>
                <a:lnTo>
                  <a:pt x="214" y="361"/>
                </a:lnTo>
                <a:lnTo>
                  <a:pt x="195" y="370"/>
                </a:lnTo>
                <a:lnTo>
                  <a:pt x="195" y="380"/>
                </a:lnTo>
                <a:lnTo>
                  <a:pt x="195" y="390"/>
                </a:lnTo>
                <a:lnTo>
                  <a:pt x="185" y="390"/>
                </a:lnTo>
                <a:lnTo>
                  <a:pt x="166" y="390"/>
                </a:lnTo>
                <a:lnTo>
                  <a:pt x="156" y="390"/>
                </a:lnTo>
                <a:lnTo>
                  <a:pt x="156" y="419"/>
                </a:lnTo>
                <a:lnTo>
                  <a:pt x="136" y="429"/>
                </a:lnTo>
                <a:lnTo>
                  <a:pt x="126" y="439"/>
                </a:lnTo>
                <a:lnTo>
                  <a:pt x="107" y="429"/>
                </a:lnTo>
                <a:lnTo>
                  <a:pt x="87" y="429"/>
                </a:lnTo>
                <a:lnTo>
                  <a:pt x="87" y="419"/>
                </a:lnTo>
                <a:lnTo>
                  <a:pt x="68" y="419"/>
                </a:lnTo>
                <a:lnTo>
                  <a:pt x="48" y="429"/>
                </a:lnTo>
                <a:lnTo>
                  <a:pt x="58" y="439"/>
                </a:lnTo>
                <a:lnTo>
                  <a:pt x="68" y="449"/>
                </a:lnTo>
                <a:lnTo>
                  <a:pt x="39" y="439"/>
                </a:lnTo>
                <a:lnTo>
                  <a:pt x="29" y="449"/>
                </a:lnTo>
                <a:lnTo>
                  <a:pt x="0" y="429"/>
                </a:lnTo>
                <a:lnTo>
                  <a:pt x="0" y="419"/>
                </a:lnTo>
                <a:lnTo>
                  <a:pt x="19" y="409"/>
                </a:lnTo>
                <a:lnTo>
                  <a:pt x="9" y="400"/>
                </a:lnTo>
                <a:lnTo>
                  <a:pt x="0" y="390"/>
                </a:lnTo>
                <a:lnTo>
                  <a:pt x="0" y="380"/>
                </a:lnTo>
                <a:lnTo>
                  <a:pt x="19" y="370"/>
                </a:lnTo>
                <a:lnTo>
                  <a:pt x="29" y="370"/>
                </a:lnTo>
                <a:lnTo>
                  <a:pt x="48" y="351"/>
                </a:lnTo>
                <a:lnTo>
                  <a:pt x="58" y="351"/>
                </a:lnTo>
                <a:lnTo>
                  <a:pt x="68" y="351"/>
                </a:lnTo>
                <a:lnTo>
                  <a:pt x="78" y="341"/>
                </a:lnTo>
                <a:lnTo>
                  <a:pt x="87" y="322"/>
                </a:lnTo>
                <a:lnTo>
                  <a:pt x="97" y="312"/>
                </a:lnTo>
                <a:lnTo>
                  <a:pt x="117" y="302"/>
                </a:lnTo>
                <a:lnTo>
                  <a:pt x="117" y="292"/>
                </a:lnTo>
                <a:lnTo>
                  <a:pt x="97" y="283"/>
                </a:lnTo>
                <a:lnTo>
                  <a:pt x="87" y="273"/>
                </a:lnTo>
                <a:lnTo>
                  <a:pt x="87" y="263"/>
                </a:lnTo>
                <a:lnTo>
                  <a:pt x="97" y="263"/>
                </a:lnTo>
                <a:lnTo>
                  <a:pt x="107" y="263"/>
                </a:lnTo>
                <a:lnTo>
                  <a:pt x="107" y="253"/>
                </a:lnTo>
                <a:lnTo>
                  <a:pt x="107" y="234"/>
                </a:lnTo>
                <a:lnTo>
                  <a:pt x="107" y="224"/>
                </a:lnTo>
                <a:lnTo>
                  <a:pt x="97" y="224"/>
                </a:lnTo>
                <a:lnTo>
                  <a:pt x="97" y="205"/>
                </a:lnTo>
                <a:lnTo>
                  <a:pt x="117" y="195"/>
                </a:lnTo>
                <a:lnTo>
                  <a:pt x="126" y="195"/>
                </a:lnTo>
                <a:lnTo>
                  <a:pt x="126" y="166"/>
                </a:lnTo>
                <a:lnTo>
                  <a:pt x="126" y="156"/>
                </a:lnTo>
                <a:lnTo>
                  <a:pt x="136" y="146"/>
                </a:lnTo>
                <a:lnTo>
                  <a:pt x="136" y="136"/>
                </a:lnTo>
                <a:close/>
              </a:path>
            </a:pathLst>
          </a:custGeom>
          <a:solidFill>
            <a:srgbClr val="C0C0C0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544" name="Freeform 234"/>
          <p:cNvSpPr>
            <a:spLocks noChangeAspect="1"/>
          </p:cNvSpPr>
          <p:nvPr>
            <p:custDataLst>
              <p:tags r:id="rId110"/>
            </p:custDataLst>
          </p:nvPr>
        </p:nvSpPr>
        <p:spPr bwMode="auto">
          <a:xfrm>
            <a:off x="2917825" y="3875088"/>
            <a:ext cx="182563" cy="144462"/>
          </a:xfrm>
          <a:custGeom>
            <a:avLst/>
            <a:gdLst>
              <a:gd name="T0" fmla="*/ 182563 w 273"/>
              <a:gd name="T1" fmla="*/ 96309 h 234"/>
              <a:gd name="T2" fmla="*/ 176544 w 273"/>
              <a:gd name="T3" fmla="*/ 102482 h 234"/>
              <a:gd name="T4" fmla="*/ 163170 w 273"/>
              <a:gd name="T5" fmla="*/ 108656 h 234"/>
              <a:gd name="T6" fmla="*/ 150464 w 273"/>
              <a:gd name="T7" fmla="*/ 108656 h 234"/>
              <a:gd name="T8" fmla="*/ 143777 w 273"/>
              <a:gd name="T9" fmla="*/ 114212 h 234"/>
              <a:gd name="T10" fmla="*/ 137089 w 273"/>
              <a:gd name="T11" fmla="*/ 120386 h 234"/>
              <a:gd name="T12" fmla="*/ 130402 w 273"/>
              <a:gd name="T13" fmla="*/ 120386 h 234"/>
              <a:gd name="T14" fmla="*/ 124384 w 273"/>
              <a:gd name="T15" fmla="*/ 120386 h 234"/>
              <a:gd name="T16" fmla="*/ 117696 w 273"/>
              <a:gd name="T17" fmla="*/ 132733 h 234"/>
              <a:gd name="T18" fmla="*/ 111009 w 273"/>
              <a:gd name="T19" fmla="*/ 138289 h 234"/>
              <a:gd name="T20" fmla="*/ 104322 w 273"/>
              <a:gd name="T21" fmla="*/ 138289 h 234"/>
              <a:gd name="T22" fmla="*/ 98303 w 273"/>
              <a:gd name="T23" fmla="*/ 138289 h 234"/>
              <a:gd name="T24" fmla="*/ 91616 w 273"/>
              <a:gd name="T25" fmla="*/ 144463 h 234"/>
              <a:gd name="T26" fmla="*/ 84929 w 273"/>
              <a:gd name="T27" fmla="*/ 144463 h 234"/>
              <a:gd name="T28" fmla="*/ 84929 w 273"/>
              <a:gd name="T29" fmla="*/ 132733 h 234"/>
              <a:gd name="T30" fmla="*/ 72223 w 273"/>
              <a:gd name="T31" fmla="*/ 126559 h 234"/>
              <a:gd name="T32" fmla="*/ 65535 w 273"/>
              <a:gd name="T33" fmla="*/ 126559 h 234"/>
              <a:gd name="T34" fmla="*/ 58848 w 273"/>
              <a:gd name="T35" fmla="*/ 126559 h 234"/>
              <a:gd name="T36" fmla="*/ 52161 w 273"/>
              <a:gd name="T37" fmla="*/ 132733 h 234"/>
              <a:gd name="T38" fmla="*/ 39455 w 273"/>
              <a:gd name="T39" fmla="*/ 132733 h 234"/>
              <a:gd name="T40" fmla="*/ 32768 w 273"/>
              <a:gd name="T41" fmla="*/ 132733 h 234"/>
              <a:gd name="T42" fmla="*/ 20062 w 273"/>
              <a:gd name="T43" fmla="*/ 132733 h 234"/>
              <a:gd name="T44" fmla="*/ 0 w 273"/>
              <a:gd name="T45" fmla="*/ 114212 h 234"/>
              <a:gd name="T46" fmla="*/ 0 w 273"/>
              <a:gd name="T47" fmla="*/ 108656 h 234"/>
              <a:gd name="T48" fmla="*/ 0 w 273"/>
              <a:gd name="T49" fmla="*/ 102482 h 234"/>
              <a:gd name="T50" fmla="*/ 20062 w 273"/>
              <a:gd name="T51" fmla="*/ 90135 h 234"/>
              <a:gd name="T52" fmla="*/ 32768 w 273"/>
              <a:gd name="T53" fmla="*/ 78405 h 234"/>
              <a:gd name="T54" fmla="*/ 39455 w 273"/>
              <a:gd name="T55" fmla="*/ 78405 h 234"/>
              <a:gd name="T56" fmla="*/ 46142 w 273"/>
              <a:gd name="T57" fmla="*/ 72232 h 234"/>
              <a:gd name="T58" fmla="*/ 39455 w 273"/>
              <a:gd name="T59" fmla="*/ 66058 h 234"/>
              <a:gd name="T60" fmla="*/ 39455 w 273"/>
              <a:gd name="T61" fmla="*/ 54328 h 234"/>
              <a:gd name="T62" fmla="*/ 52161 w 273"/>
              <a:gd name="T63" fmla="*/ 41981 h 234"/>
              <a:gd name="T64" fmla="*/ 58848 w 273"/>
              <a:gd name="T65" fmla="*/ 35807 h 234"/>
              <a:gd name="T66" fmla="*/ 58848 w 273"/>
              <a:gd name="T67" fmla="*/ 17904 h 234"/>
              <a:gd name="T68" fmla="*/ 72223 w 273"/>
              <a:gd name="T69" fmla="*/ 17904 h 234"/>
              <a:gd name="T70" fmla="*/ 78241 w 273"/>
              <a:gd name="T71" fmla="*/ 17904 h 234"/>
              <a:gd name="T72" fmla="*/ 72223 w 273"/>
              <a:gd name="T73" fmla="*/ 11730 h 234"/>
              <a:gd name="T74" fmla="*/ 84929 w 273"/>
              <a:gd name="T75" fmla="*/ 6174 h 234"/>
              <a:gd name="T76" fmla="*/ 98303 w 273"/>
              <a:gd name="T77" fmla="*/ 0 h 234"/>
              <a:gd name="T78" fmla="*/ 91616 w 273"/>
              <a:gd name="T79" fmla="*/ 6174 h 234"/>
              <a:gd name="T80" fmla="*/ 98303 w 273"/>
              <a:gd name="T81" fmla="*/ 11730 h 234"/>
              <a:gd name="T82" fmla="*/ 104322 w 273"/>
              <a:gd name="T83" fmla="*/ 11730 h 234"/>
              <a:gd name="T84" fmla="*/ 111009 w 273"/>
              <a:gd name="T85" fmla="*/ 11730 h 234"/>
              <a:gd name="T86" fmla="*/ 117696 w 273"/>
              <a:gd name="T87" fmla="*/ 11730 h 234"/>
              <a:gd name="T88" fmla="*/ 130402 w 273"/>
              <a:gd name="T89" fmla="*/ 17904 h 234"/>
              <a:gd name="T90" fmla="*/ 143777 w 273"/>
              <a:gd name="T91" fmla="*/ 24077 h 234"/>
              <a:gd name="T92" fmla="*/ 150464 w 273"/>
              <a:gd name="T93" fmla="*/ 35807 h 234"/>
              <a:gd name="T94" fmla="*/ 150464 w 273"/>
              <a:gd name="T95" fmla="*/ 35807 h 234"/>
              <a:gd name="T96" fmla="*/ 163170 w 273"/>
              <a:gd name="T97" fmla="*/ 35807 h 234"/>
              <a:gd name="T98" fmla="*/ 169857 w 273"/>
              <a:gd name="T99" fmla="*/ 35807 h 234"/>
              <a:gd name="T100" fmla="*/ 176544 w 273"/>
              <a:gd name="T101" fmla="*/ 48154 h 234"/>
              <a:gd name="T102" fmla="*/ 176544 w 273"/>
              <a:gd name="T103" fmla="*/ 59884 h 234"/>
              <a:gd name="T104" fmla="*/ 169857 w 273"/>
              <a:gd name="T105" fmla="*/ 78405 h 234"/>
              <a:gd name="T106" fmla="*/ 176544 w 273"/>
              <a:gd name="T107" fmla="*/ 83961 h 234"/>
              <a:gd name="T108" fmla="*/ 176544 w 273"/>
              <a:gd name="T109" fmla="*/ 90135 h 234"/>
              <a:gd name="T110" fmla="*/ 182563 w 273"/>
              <a:gd name="T111" fmla="*/ 96309 h 234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273"/>
              <a:gd name="T169" fmla="*/ 0 h 234"/>
              <a:gd name="T170" fmla="*/ 273 w 273"/>
              <a:gd name="T171" fmla="*/ 234 h 234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273" h="234">
                <a:moveTo>
                  <a:pt x="273" y="156"/>
                </a:moveTo>
                <a:lnTo>
                  <a:pt x="264" y="166"/>
                </a:lnTo>
                <a:lnTo>
                  <a:pt x="244" y="176"/>
                </a:lnTo>
                <a:lnTo>
                  <a:pt x="225" y="176"/>
                </a:lnTo>
                <a:lnTo>
                  <a:pt x="215" y="185"/>
                </a:lnTo>
                <a:lnTo>
                  <a:pt x="205" y="195"/>
                </a:lnTo>
                <a:lnTo>
                  <a:pt x="195" y="195"/>
                </a:lnTo>
                <a:lnTo>
                  <a:pt x="186" y="195"/>
                </a:lnTo>
                <a:lnTo>
                  <a:pt x="176" y="215"/>
                </a:lnTo>
                <a:lnTo>
                  <a:pt x="166" y="224"/>
                </a:lnTo>
                <a:lnTo>
                  <a:pt x="156" y="224"/>
                </a:lnTo>
                <a:lnTo>
                  <a:pt x="147" y="224"/>
                </a:lnTo>
                <a:lnTo>
                  <a:pt x="137" y="234"/>
                </a:lnTo>
                <a:lnTo>
                  <a:pt x="127" y="234"/>
                </a:lnTo>
                <a:lnTo>
                  <a:pt x="127" y="215"/>
                </a:lnTo>
                <a:lnTo>
                  <a:pt x="108" y="205"/>
                </a:lnTo>
                <a:lnTo>
                  <a:pt x="98" y="205"/>
                </a:lnTo>
                <a:lnTo>
                  <a:pt x="88" y="205"/>
                </a:lnTo>
                <a:lnTo>
                  <a:pt x="78" y="215"/>
                </a:lnTo>
                <a:lnTo>
                  <a:pt x="59" y="215"/>
                </a:lnTo>
                <a:lnTo>
                  <a:pt x="49" y="215"/>
                </a:lnTo>
                <a:lnTo>
                  <a:pt x="30" y="215"/>
                </a:lnTo>
                <a:lnTo>
                  <a:pt x="0" y="185"/>
                </a:lnTo>
                <a:lnTo>
                  <a:pt x="0" y="176"/>
                </a:lnTo>
                <a:lnTo>
                  <a:pt x="0" y="166"/>
                </a:lnTo>
                <a:lnTo>
                  <a:pt x="30" y="146"/>
                </a:lnTo>
                <a:lnTo>
                  <a:pt x="49" y="127"/>
                </a:lnTo>
                <a:lnTo>
                  <a:pt x="59" y="127"/>
                </a:lnTo>
                <a:lnTo>
                  <a:pt x="69" y="117"/>
                </a:lnTo>
                <a:lnTo>
                  <a:pt x="59" y="107"/>
                </a:lnTo>
                <a:lnTo>
                  <a:pt x="59" y="88"/>
                </a:lnTo>
                <a:lnTo>
                  <a:pt x="78" y="68"/>
                </a:lnTo>
                <a:lnTo>
                  <a:pt x="88" y="58"/>
                </a:lnTo>
                <a:lnTo>
                  <a:pt x="88" y="29"/>
                </a:lnTo>
                <a:lnTo>
                  <a:pt x="108" y="29"/>
                </a:lnTo>
                <a:lnTo>
                  <a:pt x="117" y="29"/>
                </a:lnTo>
                <a:lnTo>
                  <a:pt x="108" y="19"/>
                </a:lnTo>
                <a:lnTo>
                  <a:pt x="127" y="10"/>
                </a:lnTo>
                <a:lnTo>
                  <a:pt x="147" y="0"/>
                </a:lnTo>
                <a:lnTo>
                  <a:pt x="137" y="10"/>
                </a:lnTo>
                <a:lnTo>
                  <a:pt x="147" y="19"/>
                </a:lnTo>
                <a:lnTo>
                  <a:pt x="156" y="19"/>
                </a:lnTo>
                <a:lnTo>
                  <a:pt x="166" y="19"/>
                </a:lnTo>
                <a:lnTo>
                  <a:pt x="176" y="19"/>
                </a:lnTo>
                <a:lnTo>
                  <a:pt x="195" y="29"/>
                </a:lnTo>
                <a:lnTo>
                  <a:pt x="215" y="39"/>
                </a:lnTo>
                <a:lnTo>
                  <a:pt x="225" y="58"/>
                </a:lnTo>
                <a:lnTo>
                  <a:pt x="244" y="58"/>
                </a:lnTo>
                <a:lnTo>
                  <a:pt x="254" y="58"/>
                </a:lnTo>
                <a:lnTo>
                  <a:pt x="264" y="78"/>
                </a:lnTo>
                <a:lnTo>
                  <a:pt x="264" y="97"/>
                </a:lnTo>
                <a:lnTo>
                  <a:pt x="254" y="127"/>
                </a:lnTo>
                <a:lnTo>
                  <a:pt x="264" y="136"/>
                </a:lnTo>
                <a:lnTo>
                  <a:pt x="264" y="146"/>
                </a:lnTo>
                <a:lnTo>
                  <a:pt x="273" y="156"/>
                </a:lnTo>
                <a:close/>
              </a:path>
            </a:pathLst>
          </a:custGeom>
          <a:solidFill>
            <a:srgbClr val="CCECFF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grpSp>
        <p:nvGrpSpPr>
          <p:cNvPr id="18545" name="Group 231"/>
          <p:cNvGrpSpPr>
            <a:grpSpLocks noChangeAspect="1"/>
          </p:cNvGrpSpPr>
          <p:nvPr>
            <p:custDataLst>
              <p:tags r:id="rId111"/>
            </p:custDataLst>
          </p:nvPr>
        </p:nvGrpSpPr>
        <p:grpSpPr bwMode="auto">
          <a:xfrm>
            <a:off x="4233863" y="3417888"/>
            <a:ext cx="419100" cy="128587"/>
            <a:chOff x="3863" y="917"/>
            <a:chExt cx="624" cy="205"/>
          </a:xfrm>
        </p:grpSpPr>
        <p:sp>
          <p:nvSpPr>
            <p:cNvPr id="18776" name="Freeform 233"/>
            <p:cNvSpPr>
              <a:spLocks noChangeAspect="1"/>
            </p:cNvSpPr>
            <p:nvPr/>
          </p:nvSpPr>
          <p:spPr bwMode="auto">
            <a:xfrm>
              <a:off x="3863" y="917"/>
              <a:ext cx="624" cy="205"/>
            </a:xfrm>
            <a:custGeom>
              <a:avLst/>
              <a:gdLst>
                <a:gd name="T0" fmla="*/ 39 w 624"/>
                <a:gd name="T1" fmla="*/ 127 h 205"/>
                <a:gd name="T2" fmla="*/ 19 w 624"/>
                <a:gd name="T3" fmla="*/ 127 h 205"/>
                <a:gd name="T4" fmla="*/ 58 w 624"/>
                <a:gd name="T5" fmla="*/ 98 h 205"/>
                <a:gd name="T6" fmla="*/ 87 w 624"/>
                <a:gd name="T7" fmla="*/ 88 h 205"/>
                <a:gd name="T8" fmla="*/ 97 w 624"/>
                <a:gd name="T9" fmla="*/ 88 h 205"/>
                <a:gd name="T10" fmla="*/ 107 w 624"/>
                <a:gd name="T11" fmla="*/ 78 h 205"/>
                <a:gd name="T12" fmla="*/ 136 w 624"/>
                <a:gd name="T13" fmla="*/ 78 h 205"/>
                <a:gd name="T14" fmla="*/ 136 w 624"/>
                <a:gd name="T15" fmla="*/ 59 h 205"/>
                <a:gd name="T16" fmla="*/ 175 w 624"/>
                <a:gd name="T17" fmla="*/ 78 h 205"/>
                <a:gd name="T18" fmla="*/ 156 w 624"/>
                <a:gd name="T19" fmla="*/ 49 h 205"/>
                <a:gd name="T20" fmla="*/ 175 w 624"/>
                <a:gd name="T21" fmla="*/ 39 h 205"/>
                <a:gd name="T22" fmla="*/ 185 w 624"/>
                <a:gd name="T23" fmla="*/ 20 h 205"/>
                <a:gd name="T24" fmla="*/ 205 w 624"/>
                <a:gd name="T25" fmla="*/ 29 h 205"/>
                <a:gd name="T26" fmla="*/ 234 w 624"/>
                <a:gd name="T27" fmla="*/ 20 h 205"/>
                <a:gd name="T28" fmla="*/ 244 w 624"/>
                <a:gd name="T29" fmla="*/ 20 h 205"/>
                <a:gd name="T30" fmla="*/ 292 w 624"/>
                <a:gd name="T31" fmla="*/ 10 h 205"/>
                <a:gd name="T32" fmla="*/ 331 w 624"/>
                <a:gd name="T33" fmla="*/ 10 h 205"/>
                <a:gd name="T34" fmla="*/ 370 w 624"/>
                <a:gd name="T35" fmla="*/ 10 h 205"/>
                <a:gd name="T36" fmla="*/ 380 w 624"/>
                <a:gd name="T37" fmla="*/ 20 h 205"/>
                <a:gd name="T38" fmla="*/ 409 w 624"/>
                <a:gd name="T39" fmla="*/ 10 h 205"/>
                <a:gd name="T40" fmla="*/ 429 w 624"/>
                <a:gd name="T41" fmla="*/ 29 h 205"/>
                <a:gd name="T42" fmla="*/ 478 w 624"/>
                <a:gd name="T43" fmla="*/ 49 h 205"/>
                <a:gd name="T44" fmla="*/ 526 w 624"/>
                <a:gd name="T45" fmla="*/ 39 h 205"/>
                <a:gd name="T46" fmla="*/ 546 w 624"/>
                <a:gd name="T47" fmla="*/ 29 h 205"/>
                <a:gd name="T48" fmla="*/ 604 w 624"/>
                <a:gd name="T49" fmla="*/ 20 h 205"/>
                <a:gd name="T50" fmla="*/ 624 w 624"/>
                <a:gd name="T51" fmla="*/ 59 h 205"/>
                <a:gd name="T52" fmla="*/ 585 w 624"/>
                <a:gd name="T53" fmla="*/ 98 h 205"/>
                <a:gd name="T54" fmla="*/ 497 w 624"/>
                <a:gd name="T55" fmla="*/ 117 h 205"/>
                <a:gd name="T56" fmla="*/ 429 w 624"/>
                <a:gd name="T57" fmla="*/ 107 h 205"/>
                <a:gd name="T58" fmla="*/ 361 w 624"/>
                <a:gd name="T59" fmla="*/ 107 h 205"/>
                <a:gd name="T60" fmla="*/ 341 w 624"/>
                <a:gd name="T61" fmla="*/ 98 h 205"/>
                <a:gd name="T62" fmla="*/ 302 w 624"/>
                <a:gd name="T63" fmla="*/ 117 h 205"/>
                <a:gd name="T64" fmla="*/ 283 w 624"/>
                <a:gd name="T65" fmla="*/ 117 h 205"/>
                <a:gd name="T66" fmla="*/ 263 w 624"/>
                <a:gd name="T67" fmla="*/ 137 h 205"/>
                <a:gd name="T68" fmla="*/ 234 w 624"/>
                <a:gd name="T69" fmla="*/ 137 h 205"/>
                <a:gd name="T70" fmla="*/ 234 w 624"/>
                <a:gd name="T71" fmla="*/ 117 h 205"/>
                <a:gd name="T72" fmla="*/ 205 w 624"/>
                <a:gd name="T73" fmla="*/ 137 h 205"/>
                <a:gd name="T74" fmla="*/ 195 w 624"/>
                <a:gd name="T75" fmla="*/ 137 h 205"/>
                <a:gd name="T76" fmla="*/ 165 w 624"/>
                <a:gd name="T77" fmla="*/ 156 h 205"/>
                <a:gd name="T78" fmla="*/ 156 w 624"/>
                <a:gd name="T79" fmla="*/ 137 h 205"/>
                <a:gd name="T80" fmla="*/ 146 w 624"/>
                <a:gd name="T81" fmla="*/ 166 h 205"/>
                <a:gd name="T82" fmla="*/ 126 w 624"/>
                <a:gd name="T83" fmla="*/ 176 h 205"/>
                <a:gd name="T84" fmla="*/ 107 w 624"/>
                <a:gd name="T85" fmla="*/ 156 h 205"/>
                <a:gd name="T86" fmla="*/ 97 w 624"/>
                <a:gd name="T87" fmla="*/ 195 h 205"/>
                <a:gd name="T88" fmla="*/ 87 w 624"/>
                <a:gd name="T89" fmla="*/ 195 h 205"/>
                <a:gd name="T90" fmla="*/ 68 w 624"/>
                <a:gd name="T91" fmla="*/ 205 h 205"/>
                <a:gd name="T92" fmla="*/ 58 w 624"/>
                <a:gd name="T93" fmla="*/ 176 h 205"/>
                <a:gd name="T94" fmla="*/ 19 w 624"/>
                <a:gd name="T95" fmla="*/ 146 h 205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624"/>
                <a:gd name="T145" fmla="*/ 0 h 205"/>
                <a:gd name="T146" fmla="*/ 624 w 624"/>
                <a:gd name="T147" fmla="*/ 205 h 205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624" h="205">
                  <a:moveTo>
                    <a:pt x="0" y="146"/>
                  </a:moveTo>
                  <a:lnTo>
                    <a:pt x="9" y="137"/>
                  </a:lnTo>
                  <a:lnTo>
                    <a:pt x="9" y="127"/>
                  </a:lnTo>
                  <a:lnTo>
                    <a:pt x="39" y="127"/>
                  </a:lnTo>
                  <a:lnTo>
                    <a:pt x="48" y="137"/>
                  </a:lnTo>
                  <a:lnTo>
                    <a:pt x="48" y="127"/>
                  </a:lnTo>
                  <a:lnTo>
                    <a:pt x="39" y="117"/>
                  </a:lnTo>
                  <a:lnTo>
                    <a:pt x="19" y="127"/>
                  </a:lnTo>
                  <a:lnTo>
                    <a:pt x="19" y="117"/>
                  </a:lnTo>
                  <a:lnTo>
                    <a:pt x="19" y="98"/>
                  </a:lnTo>
                  <a:lnTo>
                    <a:pt x="29" y="98"/>
                  </a:lnTo>
                  <a:lnTo>
                    <a:pt x="58" y="98"/>
                  </a:lnTo>
                  <a:lnTo>
                    <a:pt x="68" y="107"/>
                  </a:lnTo>
                  <a:lnTo>
                    <a:pt x="68" y="98"/>
                  </a:lnTo>
                  <a:lnTo>
                    <a:pt x="78" y="88"/>
                  </a:lnTo>
                  <a:lnTo>
                    <a:pt x="87" y="88"/>
                  </a:lnTo>
                  <a:lnTo>
                    <a:pt x="87" y="98"/>
                  </a:lnTo>
                  <a:lnTo>
                    <a:pt x="107" y="117"/>
                  </a:lnTo>
                  <a:lnTo>
                    <a:pt x="107" y="98"/>
                  </a:lnTo>
                  <a:lnTo>
                    <a:pt x="97" y="88"/>
                  </a:lnTo>
                  <a:lnTo>
                    <a:pt x="97" y="78"/>
                  </a:lnTo>
                  <a:lnTo>
                    <a:pt x="107" y="88"/>
                  </a:lnTo>
                  <a:lnTo>
                    <a:pt x="117" y="88"/>
                  </a:lnTo>
                  <a:lnTo>
                    <a:pt x="107" y="78"/>
                  </a:lnTo>
                  <a:lnTo>
                    <a:pt x="117" y="68"/>
                  </a:lnTo>
                  <a:lnTo>
                    <a:pt x="126" y="78"/>
                  </a:lnTo>
                  <a:lnTo>
                    <a:pt x="136" y="78"/>
                  </a:lnTo>
                  <a:lnTo>
                    <a:pt x="126" y="68"/>
                  </a:lnTo>
                  <a:lnTo>
                    <a:pt x="136" y="59"/>
                  </a:lnTo>
                  <a:lnTo>
                    <a:pt x="146" y="68"/>
                  </a:lnTo>
                  <a:lnTo>
                    <a:pt x="165" y="68"/>
                  </a:lnTo>
                  <a:lnTo>
                    <a:pt x="165" y="78"/>
                  </a:lnTo>
                  <a:lnTo>
                    <a:pt x="175" y="78"/>
                  </a:lnTo>
                  <a:lnTo>
                    <a:pt x="165" y="68"/>
                  </a:lnTo>
                  <a:lnTo>
                    <a:pt x="165" y="59"/>
                  </a:lnTo>
                  <a:lnTo>
                    <a:pt x="156" y="59"/>
                  </a:lnTo>
                  <a:lnTo>
                    <a:pt x="156" y="49"/>
                  </a:lnTo>
                  <a:lnTo>
                    <a:pt x="185" y="59"/>
                  </a:lnTo>
                  <a:lnTo>
                    <a:pt x="185" y="39"/>
                  </a:lnTo>
                  <a:lnTo>
                    <a:pt x="175" y="39"/>
                  </a:lnTo>
                  <a:lnTo>
                    <a:pt x="165" y="29"/>
                  </a:lnTo>
                  <a:lnTo>
                    <a:pt x="175" y="20"/>
                  </a:lnTo>
                  <a:lnTo>
                    <a:pt x="185" y="20"/>
                  </a:lnTo>
                  <a:lnTo>
                    <a:pt x="195" y="29"/>
                  </a:lnTo>
                  <a:lnTo>
                    <a:pt x="185" y="39"/>
                  </a:lnTo>
                  <a:lnTo>
                    <a:pt x="195" y="39"/>
                  </a:lnTo>
                  <a:lnTo>
                    <a:pt x="205" y="29"/>
                  </a:lnTo>
                  <a:lnTo>
                    <a:pt x="214" y="29"/>
                  </a:lnTo>
                  <a:lnTo>
                    <a:pt x="214" y="20"/>
                  </a:lnTo>
                  <a:lnTo>
                    <a:pt x="224" y="20"/>
                  </a:lnTo>
                  <a:lnTo>
                    <a:pt x="234" y="20"/>
                  </a:lnTo>
                  <a:lnTo>
                    <a:pt x="234" y="39"/>
                  </a:lnTo>
                  <a:lnTo>
                    <a:pt x="244" y="39"/>
                  </a:lnTo>
                  <a:lnTo>
                    <a:pt x="244" y="29"/>
                  </a:lnTo>
                  <a:lnTo>
                    <a:pt x="244" y="20"/>
                  </a:lnTo>
                  <a:lnTo>
                    <a:pt x="253" y="10"/>
                  </a:lnTo>
                  <a:lnTo>
                    <a:pt x="273" y="20"/>
                  </a:lnTo>
                  <a:lnTo>
                    <a:pt x="273" y="10"/>
                  </a:lnTo>
                  <a:lnTo>
                    <a:pt x="292" y="10"/>
                  </a:lnTo>
                  <a:lnTo>
                    <a:pt x="292" y="0"/>
                  </a:lnTo>
                  <a:lnTo>
                    <a:pt x="312" y="10"/>
                  </a:lnTo>
                  <a:lnTo>
                    <a:pt x="331" y="10"/>
                  </a:lnTo>
                  <a:lnTo>
                    <a:pt x="331" y="20"/>
                  </a:lnTo>
                  <a:lnTo>
                    <a:pt x="351" y="20"/>
                  </a:lnTo>
                  <a:lnTo>
                    <a:pt x="351" y="10"/>
                  </a:lnTo>
                  <a:lnTo>
                    <a:pt x="370" y="10"/>
                  </a:lnTo>
                  <a:lnTo>
                    <a:pt x="370" y="20"/>
                  </a:lnTo>
                  <a:lnTo>
                    <a:pt x="361" y="20"/>
                  </a:lnTo>
                  <a:lnTo>
                    <a:pt x="370" y="20"/>
                  </a:lnTo>
                  <a:lnTo>
                    <a:pt x="380" y="20"/>
                  </a:lnTo>
                  <a:lnTo>
                    <a:pt x="380" y="10"/>
                  </a:lnTo>
                  <a:lnTo>
                    <a:pt x="390" y="0"/>
                  </a:lnTo>
                  <a:lnTo>
                    <a:pt x="400" y="0"/>
                  </a:lnTo>
                  <a:lnTo>
                    <a:pt x="409" y="10"/>
                  </a:lnTo>
                  <a:lnTo>
                    <a:pt x="409" y="20"/>
                  </a:lnTo>
                  <a:lnTo>
                    <a:pt x="429" y="20"/>
                  </a:lnTo>
                  <a:lnTo>
                    <a:pt x="429" y="39"/>
                  </a:lnTo>
                  <a:lnTo>
                    <a:pt x="429" y="29"/>
                  </a:lnTo>
                  <a:lnTo>
                    <a:pt x="439" y="39"/>
                  </a:lnTo>
                  <a:lnTo>
                    <a:pt x="458" y="39"/>
                  </a:lnTo>
                  <a:lnTo>
                    <a:pt x="468" y="39"/>
                  </a:lnTo>
                  <a:lnTo>
                    <a:pt x="478" y="49"/>
                  </a:lnTo>
                  <a:lnTo>
                    <a:pt x="497" y="39"/>
                  </a:lnTo>
                  <a:lnTo>
                    <a:pt x="507" y="39"/>
                  </a:lnTo>
                  <a:lnTo>
                    <a:pt x="526" y="39"/>
                  </a:lnTo>
                  <a:lnTo>
                    <a:pt x="526" y="49"/>
                  </a:lnTo>
                  <a:lnTo>
                    <a:pt x="536" y="39"/>
                  </a:lnTo>
                  <a:lnTo>
                    <a:pt x="536" y="29"/>
                  </a:lnTo>
                  <a:lnTo>
                    <a:pt x="546" y="29"/>
                  </a:lnTo>
                  <a:lnTo>
                    <a:pt x="556" y="29"/>
                  </a:lnTo>
                  <a:lnTo>
                    <a:pt x="565" y="20"/>
                  </a:lnTo>
                  <a:lnTo>
                    <a:pt x="575" y="20"/>
                  </a:lnTo>
                  <a:lnTo>
                    <a:pt x="604" y="20"/>
                  </a:lnTo>
                  <a:lnTo>
                    <a:pt x="614" y="29"/>
                  </a:lnTo>
                  <a:lnTo>
                    <a:pt x="624" y="39"/>
                  </a:lnTo>
                  <a:lnTo>
                    <a:pt x="624" y="49"/>
                  </a:lnTo>
                  <a:lnTo>
                    <a:pt x="624" y="59"/>
                  </a:lnTo>
                  <a:lnTo>
                    <a:pt x="624" y="78"/>
                  </a:lnTo>
                  <a:lnTo>
                    <a:pt x="614" y="88"/>
                  </a:lnTo>
                  <a:lnTo>
                    <a:pt x="604" y="88"/>
                  </a:lnTo>
                  <a:lnTo>
                    <a:pt x="585" y="98"/>
                  </a:lnTo>
                  <a:lnTo>
                    <a:pt x="575" y="107"/>
                  </a:lnTo>
                  <a:lnTo>
                    <a:pt x="565" y="107"/>
                  </a:lnTo>
                  <a:lnTo>
                    <a:pt x="526" y="117"/>
                  </a:lnTo>
                  <a:lnTo>
                    <a:pt x="497" y="117"/>
                  </a:lnTo>
                  <a:lnTo>
                    <a:pt x="487" y="117"/>
                  </a:lnTo>
                  <a:lnTo>
                    <a:pt x="468" y="117"/>
                  </a:lnTo>
                  <a:lnTo>
                    <a:pt x="448" y="107"/>
                  </a:lnTo>
                  <a:lnTo>
                    <a:pt x="429" y="107"/>
                  </a:lnTo>
                  <a:lnTo>
                    <a:pt x="419" y="98"/>
                  </a:lnTo>
                  <a:lnTo>
                    <a:pt x="409" y="107"/>
                  </a:lnTo>
                  <a:lnTo>
                    <a:pt x="380" y="107"/>
                  </a:lnTo>
                  <a:lnTo>
                    <a:pt x="361" y="107"/>
                  </a:lnTo>
                  <a:lnTo>
                    <a:pt x="341" y="107"/>
                  </a:lnTo>
                  <a:lnTo>
                    <a:pt x="331" y="117"/>
                  </a:lnTo>
                  <a:lnTo>
                    <a:pt x="331" y="107"/>
                  </a:lnTo>
                  <a:lnTo>
                    <a:pt x="341" y="98"/>
                  </a:lnTo>
                  <a:lnTo>
                    <a:pt x="331" y="98"/>
                  </a:lnTo>
                  <a:lnTo>
                    <a:pt x="322" y="107"/>
                  </a:lnTo>
                  <a:lnTo>
                    <a:pt x="312" y="107"/>
                  </a:lnTo>
                  <a:lnTo>
                    <a:pt x="302" y="117"/>
                  </a:lnTo>
                  <a:lnTo>
                    <a:pt x="292" y="107"/>
                  </a:lnTo>
                  <a:lnTo>
                    <a:pt x="283" y="107"/>
                  </a:lnTo>
                  <a:lnTo>
                    <a:pt x="283" y="117"/>
                  </a:lnTo>
                  <a:lnTo>
                    <a:pt x="292" y="127"/>
                  </a:lnTo>
                  <a:lnTo>
                    <a:pt x="283" y="127"/>
                  </a:lnTo>
                  <a:lnTo>
                    <a:pt x="273" y="127"/>
                  </a:lnTo>
                  <a:lnTo>
                    <a:pt x="263" y="137"/>
                  </a:lnTo>
                  <a:lnTo>
                    <a:pt x="253" y="127"/>
                  </a:lnTo>
                  <a:lnTo>
                    <a:pt x="244" y="137"/>
                  </a:lnTo>
                  <a:lnTo>
                    <a:pt x="234" y="137"/>
                  </a:lnTo>
                  <a:lnTo>
                    <a:pt x="234" y="127"/>
                  </a:lnTo>
                  <a:lnTo>
                    <a:pt x="244" y="117"/>
                  </a:lnTo>
                  <a:lnTo>
                    <a:pt x="234" y="117"/>
                  </a:lnTo>
                  <a:lnTo>
                    <a:pt x="234" y="127"/>
                  </a:lnTo>
                  <a:lnTo>
                    <a:pt x="224" y="137"/>
                  </a:lnTo>
                  <a:lnTo>
                    <a:pt x="205" y="137"/>
                  </a:lnTo>
                  <a:lnTo>
                    <a:pt x="205" y="117"/>
                  </a:lnTo>
                  <a:lnTo>
                    <a:pt x="195" y="117"/>
                  </a:lnTo>
                  <a:lnTo>
                    <a:pt x="195" y="127"/>
                  </a:lnTo>
                  <a:lnTo>
                    <a:pt x="195" y="137"/>
                  </a:lnTo>
                  <a:lnTo>
                    <a:pt x="195" y="146"/>
                  </a:lnTo>
                  <a:lnTo>
                    <a:pt x="185" y="156"/>
                  </a:lnTo>
                  <a:lnTo>
                    <a:pt x="165" y="156"/>
                  </a:lnTo>
                  <a:lnTo>
                    <a:pt x="165" y="166"/>
                  </a:lnTo>
                  <a:lnTo>
                    <a:pt x="156" y="166"/>
                  </a:lnTo>
                  <a:lnTo>
                    <a:pt x="156" y="146"/>
                  </a:lnTo>
                  <a:lnTo>
                    <a:pt x="156" y="137"/>
                  </a:lnTo>
                  <a:lnTo>
                    <a:pt x="146" y="137"/>
                  </a:lnTo>
                  <a:lnTo>
                    <a:pt x="146" y="146"/>
                  </a:lnTo>
                  <a:lnTo>
                    <a:pt x="146" y="156"/>
                  </a:lnTo>
                  <a:lnTo>
                    <a:pt x="146" y="166"/>
                  </a:lnTo>
                  <a:lnTo>
                    <a:pt x="136" y="176"/>
                  </a:lnTo>
                  <a:lnTo>
                    <a:pt x="136" y="186"/>
                  </a:lnTo>
                  <a:lnTo>
                    <a:pt x="126" y="176"/>
                  </a:lnTo>
                  <a:lnTo>
                    <a:pt x="126" y="156"/>
                  </a:lnTo>
                  <a:lnTo>
                    <a:pt x="117" y="146"/>
                  </a:lnTo>
                  <a:lnTo>
                    <a:pt x="107" y="156"/>
                  </a:lnTo>
                  <a:lnTo>
                    <a:pt x="117" y="176"/>
                  </a:lnTo>
                  <a:lnTo>
                    <a:pt x="117" y="195"/>
                  </a:lnTo>
                  <a:lnTo>
                    <a:pt x="97" y="195"/>
                  </a:lnTo>
                  <a:lnTo>
                    <a:pt x="97" y="176"/>
                  </a:lnTo>
                  <a:lnTo>
                    <a:pt x="97" y="166"/>
                  </a:lnTo>
                  <a:lnTo>
                    <a:pt x="87" y="176"/>
                  </a:lnTo>
                  <a:lnTo>
                    <a:pt x="87" y="195"/>
                  </a:lnTo>
                  <a:lnTo>
                    <a:pt x="78" y="205"/>
                  </a:lnTo>
                  <a:lnTo>
                    <a:pt x="68" y="195"/>
                  </a:lnTo>
                  <a:lnTo>
                    <a:pt x="68" y="205"/>
                  </a:lnTo>
                  <a:lnTo>
                    <a:pt x="58" y="205"/>
                  </a:lnTo>
                  <a:lnTo>
                    <a:pt x="48" y="195"/>
                  </a:lnTo>
                  <a:lnTo>
                    <a:pt x="58" y="195"/>
                  </a:lnTo>
                  <a:lnTo>
                    <a:pt x="58" y="176"/>
                  </a:lnTo>
                  <a:lnTo>
                    <a:pt x="48" y="176"/>
                  </a:lnTo>
                  <a:lnTo>
                    <a:pt x="39" y="176"/>
                  </a:lnTo>
                  <a:lnTo>
                    <a:pt x="29" y="156"/>
                  </a:lnTo>
                  <a:lnTo>
                    <a:pt x="19" y="146"/>
                  </a:lnTo>
                  <a:lnTo>
                    <a:pt x="9" y="146"/>
                  </a:lnTo>
                  <a:lnTo>
                    <a:pt x="0" y="146"/>
                  </a:lnTo>
                  <a:close/>
                </a:path>
              </a:pathLst>
            </a:custGeom>
            <a:solidFill>
              <a:srgbClr val="FFCC9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8777" name="Freeform 232"/>
            <p:cNvSpPr>
              <a:spLocks noChangeAspect="1"/>
            </p:cNvSpPr>
            <p:nvPr/>
          </p:nvSpPr>
          <p:spPr bwMode="auto">
            <a:xfrm>
              <a:off x="3863" y="917"/>
              <a:ext cx="624" cy="205"/>
            </a:xfrm>
            <a:custGeom>
              <a:avLst/>
              <a:gdLst>
                <a:gd name="T0" fmla="*/ 39 w 624"/>
                <a:gd name="T1" fmla="*/ 127 h 205"/>
                <a:gd name="T2" fmla="*/ 19 w 624"/>
                <a:gd name="T3" fmla="*/ 127 h 205"/>
                <a:gd name="T4" fmla="*/ 58 w 624"/>
                <a:gd name="T5" fmla="*/ 98 h 205"/>
                <a:gd name="T6" fmla="*/ 87 w 624"/>
                <a:gd name="T7" fmla="*/ 88 h 205"/>
                <a:gd name="T8" fmla="*/ 97 w 624"/>
                <a:gd name="T9" fmla="*/ 88 h 205"/>
                <a:gd name="T10" fmla="*/ 107 w 624"/>
                <a:gd name="T11" fmla="*/ 78 h 205"/>
                <a:gd name="T12" fmla="*/ 136 w 624"/>
                <a:gd name="T13" fmla="*/ 78 h 205"/>
                <a:gd name="T14" fmla="*/ 136 w 624"/>
                <a:gd name="T15" fmla="*/ 59 h 205"/>
                <a:gd name="T16" fmla="*/ 175 w 624"/>
                <a:gd name="T17" fmla="*/ 78 h 205"/>
                <a:gd name="T18" fmla="*/ 156 w 624"/>
                <a:gd name="T19" fmla="*/ 49 h 205"/>
                <a:gd name="T20" fmla="*/ 175 w 624"/>
                <a:gd name="T21" fmla="*/ 39 h 205"/>
                <a:gd name="T22" fmla="*/ 185 w 624"/>
                <a:gd name="T23" fmla="*/ 20 h 205"/>
                <a:gd name="T24" fmla="*/ 205 w 624"/>
                <a:gd name="T25" fmla="*/ 29 h 205"/>
                <a:gd name="T26" fmla="*/ 234 w 624"/>
                <a:gd name="T27" fmla="*/ 20 h 205"/>
                <a:gd name="T28" fmla="*/ 244 w 624"/>
                <a:gd name="T29" fmla="*/ 20 h 205"/>
                <a:gd name="T30" fmla="*/ 292 w 624"/>
                <a:gd name="T31" fmla="*/ 10 h 205"/>
                <a:gd name="T32" fmla="*/ 331 w 624"/>
                <a:gd name="T33" fmla="*/ 10 h 205"/>
                <a:gd name="T34" fmla="*/ 370 w 624"/>
                <a:gd name="T35" fmla="*/ 10 h 205"/>
                <a:gd name="T36" fmla="*/ 380 w 624"/>
                <a:gd name="T37" fmla="*/ 20 h 205"/>
                <a:gd name="T38" fmla="*/ 409 w 624"/>
                <a:gd name="T39" fmla="*/ 10 h 205"/>
                <a:gd name="T40" fmla="*/ 429 w 624"/>
                <a:gd name="T41" fmla="*/ 29 h 205"/>
                <a:gd name="T42" fmla="*/ 478 w 624"/>
                <a:gd name="T43" fmla="*/ 49 h 205"/>
                <a:gd name="T44" fmla="*/ 526 w 624"/>
                <a:gd name="T45" fmla="*/ 39 h 205"/>
                <a:gd name="T46" fmla="*/ 546 w 624"/>
                <a:gd name="T47" fmla="*/ 29 h 205"/>
                <a:gd name="T48" fmla="*/ 604 w 624"/>
                <a:gd name="T49" fmla="*/ 20 h 205"/>
                <a:gd name="T50" fmla="*/ 624 w 624"/>
                <a:gd name="T51" fmla="*/ 59 h 205"/>
                <a:gd name="T52" fmla="*/ 585 w 624"/>
                <a:gd name="T53" fmla="*/ 98 h 205"/>
                <a:gd name="T54" fmla="*/ 497 w 624"/>
                <a:gd name="T55" fmla="*/ 117 h 205"/>
                <a:gd name="T56" fmla="*/ 429 w 624"/>
                <a:gd name="T57" fmla="*/ 107 h 205"/>
                <a:gd name="T58" fmla="*/ 361 w 624"/>
                <a:gd name="T59" fmla="*/ 107 h 205"/>
                <a:gd name="T60" fmla="*/ 341 w 624"/>
                <a:gd name="T61" fmla="*/ 98 h 205"/>
                <a:gd name="T62" fmla="*/ 302 w 624"/>
                <a:gd name="T63" fmla="*/ 117 h 205"/>
                <a:gd name="T64" fmla="*/ 283 w 624"/>
                <a:gd name="T65" fmla="*/ 117 h 205"/>
                <a:gd name="T66" fmla="*/ 263 w 624"/>
                <a:gd name="T67" fmla="*/ 137 h 205"/>
                <a:gd name="T68" fmla="*/ 234 w 624"/>
                <a:gd name="T69" fmla="*/ 137 h 205"/>
                <a:gd name="T70" fmla="*/ 234 w 624"/>
                <a:gd name="T71" fmla="*/ 117 h 205"/>
                <a:gd name="T72" fmla="*/ 205 w 624"/>
                <a:gd name="T73" fmla="*/ 137 h 205"/>
                <a:gd name="T74" fmla="*/ 195 w 624"/>
                <a:gd name="T75" fmla="*/ 137 h 205"/>
                <a:gd name="T76" fmla="*/ 165 w 624"/>
                <a:gd name="T77" fmla="*/ 156 h 205"/>
                <a:gd name="T78" fmla="*/ 156 w 624"/>
                <a:gd name="T79" fmla="*/ 137 h 205"/>
                <a:gd name="T80" fmla="*/ 146 w 624"/>
                <a:gd name="T81" fmla="*/ 166 h 205"/>
                <a:gd name="T82" fmla="*/ 126 w 624"/>
                <a:gd name="T83" fmla="*/ 176 h 205"/>
                <a:gd name="T84" fmla="*/ 107 w 624"/>
                <a:gd name="T85" fmla="*/ 156 h 205"/>
                <a:gd name="T86" fmla="*/ 97 w 624"/>
                <a:gd name="T87" fmla="*/ 195 h 205"/>
                <a:gd name="T88" fmla="*/ 87 w 624"/>
                <a:gd name="T89" fmla="*/ 195 h 205"/>
                <a:gd name="T90" fmla="*/ 68 w 624"/>
                <a:gd name="T91" fmla="*/ 205 h 205"/>
                <a:gd name="T92" fmla="*/ 58 w 624"/>
                <a:gd name="T93" fmla="*/ 176 h 205"/>
                <a:gd name="T94" fmla="*/ 19 w 624"/>
                <a:gd name="T95" fmla="*/ 146 h 205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624"/>
                <a:gd name="T145" fmla="*/ 0 h 205"/>
                <a:gd name="T146" fmla="*/ 624 w 624"/>
                <a:gd name="T147" fmla="*/ 205 h 205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624" h="205">
                  <a:moveTo>
                    <a:pt x="0" y="146"/>
                  </a:moveTo>
                  <a:lnTo>
                    <a:pt x="9" y="137"/>
                  </a:lnTo>
                  <a:lnTo>
                    <a:pt x="9" y="127"/>
                  </a:lnTo>
                  <a:lnTo>
                    <a:pt x="39" y="127"/>
                  </a:lnTo>
                  <a:lnTo>
                    <a:pt x="48" y="137"/>
                  </a:lnTo>
                  <a:lnTo>
                    <a:pt x="48" y="127"/>
                  </a:lnTo>
                  <a:lnTo>
                    <a:pt x="39" y="117"/>
                  </a:lnTo>
                  <a:lnTo>
                    <a:pt x="19" y="127"/>
                  </a:lnTo>
                  <a:lnTo>
                    <a:pt x="19" y="117"/>
                  </a:lnTo>
                  <a:lnTo>
                    <a:pt x="19" y="98"/>
                  </a:lnTo>
                  <a:lnTo>
                    <a:pt x="29" y="98"/>
                  </a:lnTo>
                  <a:lnTo>
                    <a:pt x="58" y="98"/>
                  </a:lnTo>
                  <a:lnTo>
                    <a:pt x="68" y="107"/>
                  </a:lnTo>
                  <a:lnTo>
                    <a:pt x="68" y="98"/>
                  </a:lnTo>
                  <a:lnTo>
                    <a:pt x="78" y="88"/>
                  </a:lnTo>
                  <a:lnTo>
                    <a:pt x="87" y="88"/>
                  </a:lnTo>
                  <a:lnTo>
                    <a:pt x="87" y="98"/>
                  </a:lnTo>
                  <a:lnTo>
                    <a:pt x="107" y="117"/>
                  </a:lnTo>
                  <a:lnTo>
                    <a:pt x="107" y="98"/>
                  </a:lnTo>
                  <a:lnTo>
                    <a:pt x="97" y="88"/>
                  </a:lnTo>
                  <a:lnTo>
                    <a:pt x="97" y="78"/>
                  </a:lnTo>
                  <a:lnTo>
                    <a:pt x="107" y="88"/>
                  </a:lnTo>
                  <a:lnTo>
                    <a:pt x="117" y="88"/>
                  </a:lnTo>
                  <a:lnTo>
                    <a:pt x="107" y="78"/>
                  </a:lnTo>
                  <a:lnTo>
                    <a:pt x="117" y="68"/>
                  </a:lnTo>
                  <a:lnTo>
                    <a:pt x="126" y="78"/>
                  </a:lnTo>
                  <a:lnTo>
                    <a:pt x="136" y="78"/>
                  </a:lnTo>
                  <a:lnTo>
                    <a:pt x="126" y="68"/>
                  </a:lnTo>
                  <a:lnTo>
                    <a:pt x="136" y="59"/>
                  </a:lnTo>
                  <a:lnTo>
                    <a:pt x="146" y="68"/>
                  </a:lnTo>
                  <a:lnTo>
                    <a:pt x="165" y="68"/>
                  </a:lnTo>
                  <a:lnTo>
                    <a:pt x="165" y="78"/>
                  </a:lnTo>
                  <a:lnTo>
                    <a:pt x="175" y="78"/>
                  </a:lnTo>
                  <a:lnTo>
                    <a:pt x="165" y="68"/>
                  </a:lnTo>
                  <a:lnTo>
                    <a:pt x="165" y="59"/>
                  </a:lnTo>
                  <a:lnTo>
                    <a:pt x="156" y="59"/>
                  </a:lnTo>
                  <a:lnTo>
                    <a:pt x="156" y="49"/>
                  </a:lnTo>
                  <a:lnTo>
                    <a:pt x="185" y="59"/>
                  </a:lnTo>
                  <a:lnTo>
                    <a:pt x="185" y="39"/>
                  </a:lnTo>
                  <a:lnTo>
                    <a:pt x="175" y="39"/>
                  </a:lnTo>
                  <a:lnTo>
                    <a:pt x="165" y="29"/>
                  </a:lnTo>
                  <a:lnTo>
                    <a:pt x="175" y="20"/>
                  </a:lnTo>
                  <a:lnTo>
                    <a:pt x="185" y="20"/>
                  </a:lnTo>
                  <a:lnTo>
                    <a:pt x="195" y="29"/>
                  </a:lnTo>
                  <a:lnTo>
                    <a:pt x="185" y="39"/>
                  </a:lnTo>
                  <a:lnTo>
                    <a:pt x="195" y="39"/>
                  </a:lnTo>
                  <a:lnTo>
                    <a:pt x="205" y="29"/>
                  </a:lnTo>
                  <a:lnTo>
                    <a:pt x="214" y="29"/>
                  </a:lnTo>
                  <a:lnTo>
                    <a:pt x="214" y="20"/>
                  </a:lnTo>
                  <a:lnTo>
                    <a:pt x="224" y="20"/>
                  </a:lnTo>
                  <a:lnTo>
                    <a:pt x="234" y="20"/>
                  </a:lnTo>
                  <a:lnTo>
                    <a:pt x="234" y="39"/>
                  </a:lnTo>
                  <a:lnTo>
                    <a:pt x="244" y="39"/>
                  </a:lnTo>
                  <a:lnTo>
                    <a:pt x="244" y="29"/>
                  </a:lnTo>
                  <a:lnTo>
                    <a:pt x="244" y="20"/>
                  </a:lnTo>
                  <a:lnTo>
                    <a:pt x="253" y="10"/>
                  </a:lnTo>
                  <a:lnTo>
                    <a:pt x="273" y="20"/>
                  </a:lnTo>
                  <a:lnTo>
                    <a:pt x="273" y="10"/>
                  </a:lnTo>
                  <a:lnTo>
                    <a:pt x="292" y="10"/>
                  </a:lnTo>
                  <a:lnTo>
                    <a:pt x="292" y="0"/>
                  </a:lnTo>
                  <a:lnTo>
                    <a:pt x="312" y="10"/>
                  </a:lnTo>
                  <a:lnTo>
                    <a:pt x="331" y="10"/>
                  </a:lnTo>
                  <a:lnTo>
                    <a:pt x="331" y="20"/>
                  </a:lnTo>
                  <a:lnTo>
                    <a:pt x="351" y="20"/>
                  </a:lnTo>
                  <a:lnTo>
                    <a:pt x="351" y="10"/>
                  </a:lnTo>
                  <a:lnTo>
                    <a:pt x="370" y="10"/>
                  </a:lnTo>
                  <a:lnTo>
                    <a:pt x="370" y="20"/>
                  </a:lnTo>
                  <a:lnTo>
                    <a:pt x="361" y="20"/>
                  </a:lnTo>
                  <a:lnTo>
                    <a:pt x="370" y="20"/>
                  </a:lnTo>
                  <a:lnTo>
                    <a:pt x="380" y="20"/>
                  </a:lnTo>
                  <a:lnTo>
                    <a:pt x="380" y="10"/>
                  </a:lnTo>
                  <a:lnTo>
                    <a:pt x="390" y="0"/>
                  </a:lnTo>
                  <a:lnTo>
                    <a:pt x="400" y="0"/>
                  </a:lnTo>
                  <a:lnTo>
                    <a:pt x="409" y="10"/>
                  </a:lnTo>
                  <a:lnTo>
                    <a:pt x="409" y="20"/>
                  </a:lnTo>
                  <a:lnTo>
                    <a:pt x="429" y="20"/>
                  </a:lnTo>
                  <a:lnTo>
                    <a:pt x="429" y="39"/>
                  </a:lnTo>
                  <a:lnTo>
                    <a:pt x="429" y="29"/>
                  </a:lnTo>
                  <a:lnTo>
                    <a:pt x="439" y="39"/>
                  </a:lnTo>
                  <a:lnTo>
                    <a:pt x="458" y="39"/>
                  </a:lnTo>
                  <a:lnTo>
                    <a:pt x="468" y="39"/>
                  </a:lnTo>
                  <a:lnTo>
                    <a:pt x="478" y="49"/>
                  </a:lnTo>
                  <a:lnTo>
                    <a:pt x="497" y="39"/>
                  </a:lnTo>
                  <a:lnTo>
                    <a:pt x="507" y="39"/>
                  </a:lnTo>
                  <a:lnTo>
                    <a:pt x="526" y="39"/>
                  </a:lnTo>
                  <a:lnTo>
                    <a:pt x="526" y="49"/>
                  </a:lnTo>
                  <a:lnTo>
                    <a:pt x="536" y="39"/>
                  </a:lnTo>
                  <a:lnTo>
                    <a:pt x="536" y="29"/>
                  </a:lnTo>
                  <a:lnTo>
                    <a:pt x="546" y="29"/>
                  </a:lnTo>
                  <a:lnTo>
                    <a:pt x="556" y="29"/>
                  </a:lnTo>
                  <a:lnTo>
                    <a:pt x="565" y="20"/>
                  </a:lnTo>
                  <a:lnTo>
                    <a:pt x="575" y="20"/>
                  </a:lnTo>
                  <a:lnTo>
                    <a:pt x="604" y="20"/>
                  </a:lnTo>
                  <a:lnTo>
                    <a:pt x="614" y="29"/>
                  </a:lnTo>
                  <a:lnTo>
                    <a:pt x="624" y="39"/>
                  </a:lnTo>
                  <a:lnTo>
                    <a:pt x="624" y="49"/>
                  </a:lnTo>
                  <a:lnTo>
                    <a:pt x="624" y="59"/>
                  </a:lnTo>
                  <a:lnTo>
                    <a:pt x="624" y="78"/>
                  </a:lnTo>
                  <a:lnTo>
                    <a:pt x="614" y="88"/>
                  </a:lnTo>
                  <a:lnTo>
                    <a:pt x="604" y="88"/>
                  </a:lnTo>
                  <a:lnTo>
                    <a:pt x="585" y="98"/>
                  </a:lnTo>
                  <a:lnTo>
                    <a:pt x="575" y="107"/>
                  </a:lnTo>
                  <a:lnTo>
                    <a:pt x="565" y="107"/>
                  </a:lnTo>
                  <a:lnTo>
                    <a:pt x="526" y="117"/>
                  </a:lnTo>
                  <a:lnTo>
                    <a:pt x="497" y="117"/>
                  </a:lnTo>
                  <a:lnTo>
                    <a:pt x="487" y="117"/>
                  </a:lnTo>
                  <a:lnTo>
                    <a:pt x="468" y="117"/>
                  </a:lnTo>
                  <a:lnTo>
                    <a:pt x="448" y="107"/>
                  </a:lnTo>
                  <a:lnTo>
                    <a:pt x="429" y="107"/>
                  </a:lnTo>
                  <a:lnTo>
                    <a:pt x="419" y="98"/>
                  </a:lnTo>
                  <a:lnTo>
                    <a:pt x="409" y="107"/>
                  </a:lnTo>
                  <a:lnTo>
                    <a:pt x="380" y="107"/>
                  </a:lnTo>
                  <a:lnTo>
                    <a:pt x="361" y="107"/>
                  </a:lnTo>
                  <a:lnTo>
                    <a:pt x="341" y="107"/>
                  </a:lnTo>
                  <a:lnTo>
                    <a:pt x="331" y="117"/>
                  </a:lnTo>
                  <a:lnTo>
                    <a:pt x="331" y="107"/>
                  </a:lnTo>
                  <a:lnTo>
                    <a:pt x="341" y="98"/>
                  </a:lnTo>
                  <a:lnTo>
                    <a:pt x="331" y="98"/>
                  </a:lnTo>
                  <a:lnTo>
                    <a:pt x="322" y="107"/>
                  </a:lnTo>
                  <a:lnTo>
                    <a:pt x="312" y="107"/>
                  </a:lnTo>
                  <a:lnTo>
                    <a:pt x="302" y="117"/>
                  </a:lnTo>
                  <a:lnTo>
                    <a:pt x="292" y="107"/>
                  </a:lnTo>
                  <a:lnTo>
                    <a:pt x="283" y="107"/>
                  </a:lnTo>
                  <a:lnTo>
                    <a:pt x="283" y="117"/>
                  </a:lnTo>
                  <a:lnTo>
                    <a:pt x="292" y="127"/>
                  </a:lnTo>
                  <a:lnTo>
                    <a:pt x="283" y="127"/>
                  </a:lnTo>
                  <a:lnTo>
                    <a:pt x="273" y="127"/>
                  </a:lnTo>
                  <a:lnTo>
                    <a:pt x="263" y="137"/>
                  </a:lnTo>
                  <a:lnTo>
                    <a:pt x="253" y="127"/>
                  </a:lnTo>
                  <a:lnTo>
                    <a:pt x="244" y="137"/>
                  </a:lnTo>
                  <a:lnTo>
                    <a:pt x="234" y="137"/>
                  </a:lnTo>
                  <a:lnTo>
                    <a:pt x="234" y="127"/>
                  </a:lnTo>
                  <a:lnTo>
                    <a:pt x="244" y="117"/>
                  </a:lnTo>
                  <a:lnTo>
                    <a:pt x="234" y="117"/>
                  </a:lnTo>
                  <a:lnTo>
                    <a:pt x="234" y="127"/>
                  </a:lnTo>
                  <a:lnTo>
                    <a:pt x="224" y="137"/>
                  </a:lnTo>
                  <a:lnTo>
                    <a:pt x="205" y="137"/>
                  </a:lnTo>
                  <a:lnTo>
                    <a:pt x="205" y="117"/>
                  </a:lnTo>
                  <a:lnTo>
                    <a:pt x="195" y="117"/>
                  </a:lnTo>
                  <a:lnTo>
                    <a:pt x="195" y="127"/>
                  </a:lnTo>
                  <a:lnTo>
                    <a:pt x="195" y="137"/>
                  </a:lnTo>
                  <a:lnTo>
                    <a:pt x="195" y="146"/>
                  </a:lnTo>
                  <a:lnTo>
                    <a:pt x="185" y="156"/>
                  </a:lnTo>
                  <a:lnTo>
                    <a:pt x="165" y="156"/>
                  </a:lnTo>
                  <a:lnTo>
                    <a:pt x="165" y="166"/>
                  </a:lnTo>
                  <a:lnTo>
                    <a:pt x="156" y="166"/>
                  </a:lnTo>
                  <a:lnTo>
                    <a:pt x="156" y="146"/>
                  </a:lnTo>
                  <a:lnTo>
                    <a:pt x="156" y="137"/>
                  </a:lnTo>
                  <a:lnTo>
                    <a:pt x="146" y="137"/>
                  </a:lnTo>
                  <a:lnTo>
                    <a:pt x="146" y="146"/>
                  </a:lnTo>
                  <a:lnTo>
                    <a:pt x="146" y="156"/>
                  </a:lnTo>
                  <a:lnTo>
                    <a:pt x="146" y="166"/>
                  </a:lnTo>
                  <a:lnTo>
                    <a:pt x="136" y="176"/>
                  </a:lnTo>
                  <a:lnTo>
                    <a:pt x="136" y="186"/>
                  </a:lnTo>
                  <a:lnTo>
                    <a:pt x="126" y="176"/>
                  </a:lnTo>
                  <a:lnTo>
                    <a:pt x="126" y="156"/>
                  </a:lnTo>
                  <a:lnTo>
                    <a:pt x="117" y="146"/>
                  </a:lnTo>
                  <a:lnTo>
                    <a:pt x="107" y="156"/>
                  </a:lnTo>
                  <a:lnTo>
                    <a:pt x="117" y="176"/>
                  </a:lnTo>
                  <a:lnTo>
                    <a:pt x="117" y="195"/>
                  </a:lnTo>
                  <a:lnTo>
                    <a:pt x="97" y="195"/>
                  </a:lnTo>
                  <a:lnTo>
                    <a:pt x="97" y="176"/>
                  </a:lnTo>
                  <a:lnTo>
                    <a:pt x="97" y="166"/>
                  </a:lnTo>
                  <a:lnTo>
                    <a:pt x="87" y="176"/>
                  </a:lnTo>
                  <a:lnTo>
                    <a:pt x="87" y="195"/>
                  </a:lnTo>
                  <a:lnTo>
                    <a:pt x="78" y="205"/>
                  </a:lnTo>
                  <a:lnTo>
                    <a:pt x="68" y="195"/>
                  </a:lnTo>
                  <a:lnTo>
                    <a:pt x="68" y="205"/>
                  </a:lnTo>
                  <a:lnTo>
                    <a:pt x="58" y="205"/>
                  </a:lnTo>
                  <a:lnTo>
                    <a:pt x="48" y="195"/>
                  </a:lnTo>
                  <a:lnTo>
                    <a:pt x="58" y="195"/>
                  </a:lnTo>
                  <a:lnTo>
                    <a:pt x="58" y="176"/>
                  </a:lnTo>
                  <a:lnTo>
                    <a:pt x="48" y="176"/>
                  </a:lnTo>
                  <a:lnTo>
                    <a:pt x="39" y="176"/>
                  </a:lnTo>
                  <a:lnTo>
                    <a:pt x="29" y="156"/>
                  </a:lnTo>
                  <a:lnTo>
                    <a:pt x="19" y="146"/>
                  </a:lnTo>
                  <a:lnTo>
                    <a:pt x="9" y="146"/>
                  </a:lnTo>
                  <a:lnTo>
                    <a:pt x="0" y="146"/>
                  </a:lnTo>
                </a:path>
              </a:pathLst>
            </a:custGeom>
            <a:noFill/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grpSp>
        <p:nvGrpSpPr>
          <p:cNvPr id="18546" name="Group 228"/>
          <p:cNvGrpSpPr>
            <a:grpSpLocks noChangeAspect="1"/>
          </p:cNvGrpSpPr>
          <p:nvPr>
            <p:custDataLst>
              <p:tags r:id="rId112"/>
            </p:custDataLst>
          </p:nvPr>
        </p:nvGrpSpPr>
        <p:grpSpPr bwMode="auto">
          <a:xfrm>
            <a:off x="4090988" y="3503613"/>
            <a:ext cx="176212" cy="200025"/>
            <a:chOff x="3648" y="1054"/>
            <a:chExt cx="263" cy="322"/>
          </a:xfrm>
        </p:grpSpPr>
        <p:sp>
          <p:nvSpPr>
            <p:cNvPr id="18774" name="Freeform 230"/>
            <p:cNvSpPr>
              <a:spLocks noChangeAspect="1"/>
            </p:cNvSpPr>
            <p:nvPr/>
          </p:nvSpPr>
          <p:spPr bwMode="auto">
            <a:xfrm>
              <a:off x="3648" y="1054"/>
              <a:ext cx="263" cy="322"/>
            </a:xfrm>
            <a:custGeom>
              <a:avLst/>
              <a:gdLst>
                <a:gd name="T0" fmla="*/ 127 w 263"/>
                <a:gd name="T1" fmla="*/ 312 h 322"/>
                <a:gd name="T2" fmla="*/ 117 w 263"/>
                <a:gd name="T3" fmla="*/ 283 h 322"/>
                <a:gd name="T4" fmla="*/ 117 w 263"/>
                <a:gd name="T5" fmla="*/ 244 h 322"/>
                <a:gd name="T6" fmla="*/ 137 w 263"/>
                <a:gd name="T7" fmla="*/ 185 h 322"/>
                <a:gd name="T8" fmla="*/ 137 w 263"/>
                <a:gd name="T9" fmla="*/ 156 h 322"/>
                <a:gd name="T10" fmla="*/ 166 w 263"/>
                <a:gd name="T11" fmla="*/ 136 h 322"/>
                <a:gd name="T12" fmla="*/ 176 w 263"/>
                <a:gd name="T13" fmla="*/ 127 h 322"/>
                <a:gd name="T14" fmla="*/ 185 w 263"/>
                <a:gd name="T15" fmla="*/ 107 h 322"/>
                <a:gd name="T16" fmla="*/ 205 w 263"/>
                <a:gd name="T17" fmla="*/ 97 h 322"/>
                <a:gd name="T18" fmla="*/ 215 w 263"/>
                <a:gd name="T19" fmla="*/ 88 h 322"/>
                <a:gd name="T20" fmla="*/ 234 w 263"/>
                <a:gd name="T21" fmla="*/ 97 h 322"/>
                <a:gd name="T22" fmla="*/ 244 w 263"/>
                <a:gd name="T23" fmla="*/ 78 h 322"/>
                <a:gd name="T24" fmla="*/ 244 w 263"/>
                <a:gd name="T25" fmla="*/ 68 h 322"/>
                <a:gd name="T26" fmla="*/ 263 w 263"/>
                <a:gd name="T27" fmla="*/ 78 h 322"/>
                <a:gd name="T28" fmla="*/ 263 w 263"/>
                <a:gd name="T29" fmla="*/ 58 h 322"/>
                <a:gd name="T30" fmla="*/ 244 w 263"/>
                <a:gd name="T31" fmla="*/ 29 h 322"/>
                <a:gd name="T32" fmla="*/ 215 w 263"/>
                <a:gd name="T33" fmla="*/ 19 h 322"/>
                <a:gd name="T34" fmla="*/ 195 w 263"/>
                <a:gd name="T35" fmla="*/ 0 h 322"/>
                <a:gd name="T36" fmla="*/ 176 w 263"/>
                <a:gd name="T37" fmla="*/ 9 h 322"/>
                <a:gd name="T38" fmla="*/ 166 w 263"/>
                <a:gd name="T39" fmla="*/ 19 h 322"/>
                <a:gd name="T40" fmla="*/ 156 w 263"/>
                <a:gd name="T41" fmla="*/ 29 h 322"/>
                <a:gd name="T42" fmla="*/ 137 w 263"/>
                <a:gd name="T43" fmla="*/ 19 h 322"/>
                <a:gd name="T44" fmla="*/ 117 w 263"/>
                <a:gd name="T45" fmla="*/ 29 h 322"/>
                <a:gd name="T46" fmla="*/ 127 w 263"/>
                <a:gd name="T47" fmla="*/ 39 h 322"/>
                <a:gd name="T48" fmla="*/ 127 w 263"/>
                <a:gd name="T49" fmla="*/ 49 h 322"/>
                <a:gd name="T50" fmla="*/ 117 w 263"/>
                <a:gd name="T51" fmla="*/ 39 h 322"/>
                <a:gd name="T52" fmla="*/ 98 w 263"/>
                <a:gd name="T53" fmla="*/ 58 h 322"/>
                <a:gd name="T54" fmla="*/ 88 w 263"/>
                <a:gd name="T55" fmla="*/ 58 h 322"/>
                <a:gd name="T56" fmla="*/ 78 w 263"/>
                <a:gd name="T57" fmla="*/ 78 h 322"/>
                <a:gd name="T58" fmla="*/ 68 w 263"/>
                <a:gd name="T59" fmla="*/ 68 h 322"/>
                <a:gd name="T60" fmla="*/ 59 w 263"/>
                <a:gd name="T61" fmla="*/ 58 h 322"/>
                <a:gd name="T62" fmla="*/ 39 w 263"/>
                <a:gd name="T63" fmla="*/ 58 h 322"/>
                <a:gd name="T64" fmla="*/ 10 w 263"/>
                <a:gd name="T65" fmla="*/ 88 h 322"/>
                <a:gd name="T66" fmla="*/ 0 w 263"/>
                <a:gd name="T67" fmla="*/ 107 h 322"/>
                <a:gd name="T68" fmla="*/ 10 w 263"/>
                <a:gd name="T69" fmla="*/ 127 h 322"/>
                <a:gd name="T70" fmla="*/ 29 w 263"/>
                <a:gd name="T71" fmla="*/ 117 h 322"/>
                <a:gd name="T72" fmla="*/ 29 w 263"/>
                <a:gd name="T73" fmla="*/ 136 h 322"/>
                <a:gd name="T74" fmla="*/ 49 w 263"/>
                <a:gd name="T75" fmla="*/ 156 h 322"/>
                <a:gd name="T76" fmla="*/ 49 w 263"/>
                <a:gd name="T77" fmla="*/ 156 h 322"/>
                <a:gd name="T78" fmla="*/ 59 w 263"/>
                <a:gd name="T79" fmla="*/ 166 h 322"/>
                <a:gd name="T80" fmla="*/ 49 w 263"/>
                <a:gd name="T81" fmla="*/ 175 h 322"/>
                <a:gd name="T82" fmla="*/ 39 w 263"/>
                <a:gd name="T83" fmla="*/ 185 h 322"/>
                <a:gd name="T84" fmla="*/ 49 w 263"/>
                <a:gd name="T85" fmla="*/ 195 h 322"/>
                <a:gd name="T86" fmla="*/ 39 w 263"/>
                <a:gd name="T87" fmla="*/ 205 h 322"/>
                <a:gd name="T88" fmla="*/ 29 w 263"/>
                <a:gd name="T89" fmla="*/ 195 h 322"/>
                <a:gd name="T90" fmla="*/ 10 w 263"/>
                <a:gd name="T91" fmla="*/ 214 h 322"/>
                <a:gd name="T92" fmla="*/ 20 w 263"/>
                <a:gd name="T93" fmla="*/ 234 h 322"/>
                <a:gd name="T94" fmla="*/ 39 w 263"/>
                <a:gd name="T95" fmla="*/ 244 h 322"/>
                <a:gd name="T96" fmla="*/ 39 w 263"/>
                <a:gd name="T97" fmla="*/ 253 h 322"/>
                <a:gd name="T98" fmla="*/ 49 w 263"/>
                <a:gd name="T99" fmla="*/ 273 h 322"/>
                <a:gd name="T100" fmla="*/ 59 w 263"/>
                <a:gd name="T101" fmla="*/ 263 h 322"/>
                <a:gd name="T102" fmla="*/ 78 w 263"/>
                <a:gd name="T103" fmla="*/ 302 h 322"/>
                <a:gd name="T104" fmla="*/ 88 w 263"/>
                <a:gd name="T105" fmla="*/ 292 h 322"/>
                <a:gd name="T106" fmla="*/ 88 w 263"/>
                <a:gd name="T107" fmla="*/ 283 h 322"/>
                <a:gd name="T108" fmla="*/ 88 w 263"/>
                <a:gd name="T109" fmla="*/ 302 h 322"/>
                <a:gd name="T110" fmla="*/ 107 w 263"/>
                <a:gd name="T111" fmla="*/ 322 h 32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63"/>
                <a:gd name="T169" fmla="*/ 0 h 322"/>
                <a:gd name="T170" fmla="*/ 263 w 263"/>
                <a:gd name="T171" fmla="*/ 322 h 32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63" h="322">
                  <a:moveTo>
                    <a:pt x="117" y="322"/>
                  </a:moveTo>
                  <a:lnTo>
                    <a:pt x="127" y="312"/>
                  </a:lnTo>
                  <a:lnTo>
                    <a:pt x="127" y="302"/>
                  </a:lnTo>
                  <a:lnTo>
                    <a:pt x="117" y="283"/>
                  </a:lnTo>
                  <a:lnTo>
                    <a:pt x="117" y="263"/>
                  </a:lnTo>
                  <a:lnTo>
                    <a:pt x="117" y="244"/>
                  </a:lnTo>
                  <a:lnTo>
                    <a:pt x="127" y="214"/>
                  </a:lnTo>
                  <a:lnTo>
                    <a:pt x="137" y="185"/>
                  </a:lnTo>
                  <a:lnTo>
                    <a:pt x="137" y="166"/>
                  </a:lnTo>
                  <a:lnTo>
                    <a:pt x="137" y="156"/>
                  </a:lnTo>
                  <a:lnTo>
                    <a:pt x="156" y="156"/>
                  </a:lnTo>
                  <a:lnTo>
                    <a:pt x="166" y="136"/>
                  </a:lnTo>
                  <a:lnTo>
                    <a:pt x="176" y="127"/>
                  </a:lnTo>
                  <a:lnTo>
                    <a:pt x="176" y="107"/>
                  </a:lnTo>
                  <a:lnTo>
                    <a:pt x="185" y="107"/>
                  </a:lnTo>
                  <a:lnTo>
                    <a:pt x="195" y="107"/>
                  </a:lnTo>
                  <a:lnTo>
                    <a:pt x="205" y="97"/>
                  </a:lnTo>
                  <a:lnTo>
                    <a:pt x="215" y="107"/>
                  </a:lnTo>
                  <a:lnTo>
                    <a:pt x="215" y="88"/>
                  </a:lnTo>
                  <a:lnTo>
                    <a:pt x="224" y="97"/>
                  </a:lnTo>
                  <a:lnTo>
                    <a:pt x="234" y="97"/>
                  </a:lnTo>
                  <a:lnTo>
                    <a:pt x="224" y="78"/>
                  </a:lnTo>
                  <a:lnTo>
                    <a:pt x="244" y="78"/>
                  </a:lnTo>
                  <a:lnTo>
                    <a:pt x="254" y="78"/>
                  </a:lnTo>
                  <a:lnTo>
                    <a:pt x="244" y="68"/>
                  </a:lnTo>
                  <a:lnTo>
                    <a:pt x="254" y="68"/>
                  </a:lnTo>
                  <a:lnTo>
                    <a:pt x="263" y="78"/>
                  </a:lnTo>
                  <a:lnTo>
                    <a:pt x="263" y="68"/>
                  </a:lnTo>
                  <a:lnTo>
                    <a:pt x="263" y="58"/>
                  </a:lnTo>
                  <a:lnTo>
                    <a:pt x="244" y="49"/>
                  </a:lnTo>
                  <a:lnTo>
                    <a:pt x="244" y="29"/>
                  </a:lnTo>
                  <a:lnTo>
                    <a:pt x="224" y="19"/>
                  </a:lnTo>
                  <a:lnTo>
                    <a:pt x="215" y="19"/>
                  </a:lnTo>
                  <a:lnTo>
                    <a:pt x="205" y="19"/>
                  </a:lnTo>
                  <a:lnTo>
                    <a:pt x="195" y="0"/>
                  </a:lnTo>
                  <a:lnTo>
                    <a:pt x="185" y="0"/>
                  </a:lnTo>
                  <a:lnTo>
                    <a:pt x="176" y="9"/>
                  </a:lnTo>
                  <a:lnTo>
                    <a:pt x="166" y="9"/>
                  </a:lnTo>
                  <a:lnTo>
                    <a:pt x="166" y="19"/>
                  </a:lnTo>
                  <a:lnTo>
                    <a:pt x="156" y="19"/>
                  </a:lnTo>
                  <a:lnTo>
                    <a:pt x="156" y="29"/>
                  </a:lnTo>
                  <a:lnTo>
                    <a:pt x="146" y="29"/>
                  </a:lnTo>
                  <a:lnTo>
                    <a:pt x="137" y="19"/>
                  </a:lnTo>
                  <a:lnTo>
                    <a:pt x="127" y="19"/>
                  </a:lnTo>
                  <a:lnTo>
                    <a:pt x="117" y="29"/>
                  </a:lnTo>
                  <a:lnTo>
                    <a:pt x="127" y="39"/>
                  </a:lnTo>
                  <a:lnTo>
                    <a:pt x="137" y="49"/>
                  </a:lnTo>
                  <a:lnTo>
                    <a:pt x="127" y="49"/>
                  </a:lnTo>
                  <a:lnTo>
                    <a:pt x="117" y="39"/>
                  </a:lnTo>
                  <a:lnTo>
                    <a:pt x="117" y="49"/>
                  </a:lnTo>
                  <a:lnTo>
                    <a:pt x="98" y="58"/>
                  </a:lnTo>
                  <a:lnTo>
                    <a:pt x="88" y="58"/>
                  </a:lnTo>
                  <a:lnTo>
                    <a:pt x="88" y="68"/>
                  </a:lnTo>
                  <a:lnTo>
                    <a:pt x="78" y="78"/>
                  </a:lnTo>
                  <a:lnTo>
                    <a:pt x="68" y="78"/>
                  </a:lnTo>
                  <a:lnTo>
                    <a:pt x="68" y="68"/>
                  </a:lnTo>
                  <a:lnTo>
                    <a:pt x="59" y="68"/>
                  </a:lnTo>
                  <a:lnTo>
                    <a:pt x="59" y="58"/>
                  </a:lnTo>
                  <a:lnTo>
                    <a:pt x="49" y="58"/>
                  </a:lnTo>
                  <a:lnTo>
                    <a:pt x="39" y="58"/>
                  </a:lnTo>
                  <a:lnTo>
                    <a:pt x="29" y="78"/>
                  </a:lnTo>
                  <a:lnTo>
                    <a:pt x="10" y="88"/>
                  </a:lnTo>
                  <a:lnTo>
                    <a:pt x="10" y="97"/>
                  </a:lnTo>
                  <a:lnTo>
                    <a:pt x="0" y="107"/>
                  </a:lnTo>
                  <a:lnTo>
                    <a:pt x="0" y="117"/>
                  </a:lnTo>
                  <a:lnTo>
                    <a:pt x="10" y="127"/>
                  </a:lnTo>
                  <a:lnTo>
                    <a:pt x="20" y="127"/>
                  </a:lnTo>
                  <a:lnTo>
                    <a:pt x="29" y="117"/>
                  </a:lnTo>
                  <a:lnTo>
                    <a:pt x="39" y="127"/>
                  </a:lnTo>
                  <a:lnTo>
                    <a:pt x="29" y="136"/>
                  </a:lnTo>
                  <a:lnTo>
                    <a:pt x="39" y="146"/>
                  </a:lnTo>
                  <a:lnTo>
                    <a:pt x="49" y="156"/>
                  </a:lnTo>
                  <a:lnTo>
                    <a:pt x="49" y="166"/>
                  </a:lnTo>
                  <a:lnTo>
                    <a:pt x="59" y="166"/>
                  </a:lnTo>
                  <a:lnTo>
                    <a:pt x="68" y="166"/>
                  </a:lnTo>
                  <a:lnTo>
                    <a:pt x="49" y="175"/>
                  </a:lnTo>
                  <a:lnTo>
                    <a:pt x="39" y="175"/>
                  </a:lnTo>
                  <a:lnTo>
                    <a:pt x="39" y="185"/>
                  </a:lnTo>
                  <a:lnTo>
                    <a:pt x="49" y="195"/>
                  </a:lnTo>
                  <a:lnTo>
                    <a:pt x="49" y="205"/>
                  </a:lnTo>
                  <a:lnTo>
                    <a:pt x="39" y="205"/>
                  </a:lnTo>
                  <a:lnTo>
                    <a:pt x="29" y="195"/>
                  </a:lnTo>
                  <a:lnTo>
                    <a:pt x="20" y="205"/>
                  </a:lnTo>
                  <a:lnTo>
                    <a:pt x="10" y="214"/>
                  </a:lnTo>
                  <a:lnTo>
                    <a:pt x="20" y="224"/>
                  </a:lnTo>
                  <a:lnTo>
                    <a:pt x="20" y="234"/>
                  </a:lnTo>
                  <a:lnTo>
                    <a:pt x="29" y="244"/>
                  </a:lnTo>
                  <a:lnTo>
                    <a:pt x="39" y="244"/>
                  </a:lnTo>
                  <a:lnTo>
                    <a:pt x="39" y="253"/>
                  </a:lnTo>
                  <a:lnTo>
                    <a:pt x="39" y="263"/>
                  </a:lnTo>
                  <a:lnTo>
                    <a:pt x="49" y="273"/>
                  </a:lnTo>
                  <a:lnTo>
                    <a:pt x="59" y="263"/>
                  </a:lnTo>
                  <a:lnTo>
                    <a:pt x="59" y="283"/>
                  </a:lnTo>
                  <a:lnTo>
                    <a:pt x="78" y="302"/>
                  </a:lnTo>
                  <a:lnTo>
                    <a:pt x="88" y="302"/>
                  </a:lnTo>
                  <a:lnTo>
                    <a:pt x="88" y="292"/>
                  </a:lnTo>
                  <a:lnTo>
                    <a:pt x="88" y="283"/>
                  </a:lnTo>
                  <a:lnTo>
                    <a:pt x="88" y="292"/>
                  </a:lnTo>
                  <a:lnTo>
                    <a:pt x="88" y="302"/>
                  </a:lnTo>
                  <a:lnTo>
                    <a:pt x="107" y="322"/>
                  </a:lnTo>
                  <a:lnTo>
                    <a:pt x="117" y="322"/>
                  </a:lnTo>
                  <a:close/>
                </a:path>
              </a:pathLst>
            </a:custGeom>
            <a:solidFill>
              <a:srgbClr val="FFCC9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8775" name="Freeform 229"/>
            <p:cNvSpPr>
              <a:spLocks noChangeAspect="1"/>
            </p:cNvSpPr>
            <p:nvPr/>
          </p:nvSpPr>
          <p:spPr bwMode="auto">
            <a:xfrm>
              <a:off x="3648" y="1054"/>
              <a:ext cx="263" cy="322"/>
            </a:xfrm>
            <a:custGeom>
              <a:avLst/>
              <a:gdLst>
                <a:gd name="T0" fmla="*/ 127 w 263"/>
                <a:gd name="T1" fmla="*/ 312 h 322"/>
                <a:gd name="T2" fmla="*/ 117 w 263"/>
                <a:gd name="T3" fmla="*/ 283 h 322"/>
                <a:gd name="T4" fmla="*/ 117 w 263"/>
                <a:gd name="T5" fmla="*/ 244 h 322"/>
                <a:gd name="T6" fmla="*/ 137 w 263"/>
                <a:gd name="T7" fmla="*/ 185 h 322"/>
                <a:gd name="T8" fmla="*/ 137 w 263"/>
                <a:gd name="T9" fmla="*/ 156 h 322"/>
                <a:gd name="T10" fmla="*/ 166 w 263"/>
                <a:gd name="T11" fmla="*/ 136 h 322"/>
                <a:gd name="T12" fmla="*/ 176 w 263"/>
                <a:gd name="T13" fmla="*/ 127 h 322"/>
                <a:gd name="T14" fmla="*/ 185 w 263"/>
                <a:gd name="T15" fmla="*/ 107 h 322"/>
                <a:gd name="T16" fmla="*/ 205 w 263"/>
                <a:gd name="T17" fmla="*/ 97 h 322"/>
                <a:gd name="T18" fmla="*/ 215 w 263"/>
                <a:gd name="T19" fmla="*/ 88 h 322"/>
                <a:gd name="T20" fmla="*/ 234 w 263"/>
                <a:gd name="T21" fmla="*/ 97 h 322"/>
                <a:gd name="T22" fmla="*/ 244 w 263"/>
                <a:gd name="T23" fmla="*/ 78 h 322"/>
                <a:gd name="T24" fmla="*/ 244 w 263"/>
                <a:gd name="T25" fmla="*/ 68 h 322"/>
                <a:gd name="T26" fmla="*/ 263 w 263"/>
                <a:gd name="T27" fmla="*/ 78 h 322"/>
                <a:gd name="T28" fmla="*/ 263 w 263"/>
                <a:gd name="T29" fmla="*/ 58 h 322"/>
                <a:gd name="T30" fmla="*/ 244 w 263"/>
                <a:gd name="T31" fmla="*/ 29 h 322"/>
                <a:gd name="T32" fmla="*/ 215 w 263"/>
                <a:gd name="T33" fmla="*/ 19 h 322"/>
                <a:gd name="T34" fmla="*/ 195 w 263"/>
                <a:gd name="T35" fmla="*/ 0 h 322"/>
                <a:gd name="T36" fmla="*/ 176 w 263"/>
                <a:gd name="T37" fmla="*/ 9 h 322"/>
                <a:gd name="T38" fmla="*/ 166 w 263"/>
                <a:gd name="T39" fmla="*/ 19 h 322"/>
                <a:gd name="T40" fmla="*/ 156 w 263"/>
                <a:gd name="T41" fmla="*/ 29 h 322"/>
                <a:gd name="T42" fmla="*/ 137 w 263"/>
                <a:gd name="T43" fmla="*/ 19 h 322"/>
                <a:gd name="T44" fmla="*/ 117 w 263"/>
                <a:gd name="T45" fmla="*/ 29 h 322"/>
                <a:gd name="T46" fmla="*/ 127 w 263"/>
                <a:gd name="T47" fmla="*/ 39 h 322"/>
                <a:gd name="T48" fmla="*/ 127 w 263"/>
                <a:gd name="T49" fmla="*/ 49 h 322"/>
                <a:gd name="T50" fmla="*/ 117 w 263"/>
                <a:gd name="T51" fmla="*/ 39 h 322"/>
                <a:gd name="T52" fmla="*/ 98 w 263"/>
                <a:gd name="T53" fmla="*/ 58 h 322"/>
                <a:gd name="T54" fmla="*/ 88 w 263"/>
                <a:gd name="T55" fmla="*/ 58 h 322"/>
                <a:gd name="T56" fmla="*/ 78 w 263"/>
                <a:gd name="T57" fmla="*/ 78 h 322"/>
                <a:gd name="T58" fmla="*/ 68 w 263"/>
                <a:gd name="T59" fmla="*/ 68 h 322"/>
                <a:gd name="T60" fmla="*/ 59 w 263"/>
                <a:gd name="T61" fmla="*/ 58 h 322"/>
                <a:gd name="T62" fmla="*/ 39 w 263"/>
                <a:gd name="T63" fmla="*/ 58 h 322"/>
                <a:gd name="T64" fmla="*/ 10 w 263"/>
                <a:gd name="T65" fmla="*/ 88 h 322"/>
                <a:gd name="T66" fmla="*/ 0 w 263"/>
                <a:gd name="T67" fmla="*/ 107 h 322"/>
                <a:gd name="T68" fmla="*/ 10 w 263"/>
                <a:gd name="T69" fmla="*/ 127 h 322"/>
                <a:gd name="T70" fmla="*/ 29 w 263"/>
                <a:gd name="T71" fmla="*/ 117 h 322"/>
                <a:gd name="T72" fmla="*/ 29 w 263"/>
                <a:gd name="T73" fmla="*/ 136 h 322"/>
                <a:gd name="T74" fmla="*/ 49 w 263"/>
                <a:gd name="T75" fmla="*/ 156 h 322"/>
                <a:gd name="T76" fmla="*/ 49 w 263"/>
                <a:gd name="T77" fmla="*/ 156 h 322"/>
                <a:gd name="T78" fmla="*/ 59 w 263"/>
                <a:gd name="T79" fmla="*/ 166 h 322"/>
                <a:gd name="T80" fmla="*/ 49 w 263"/>
                <a:gd name="T81" fmla="*/ 175 h 322"/>
                <a:gd name="T82" fmla="*/ 39 w 263"/>
                <a:gd name="T83" fmla="*/ 185 h 322"/>
                <a:gd name="T84" fmla="*/ 49 w 263"/>
                <a:gd name="T85" fmla="*/ 195 h 322"/>
                <a:gd name="T86" fmla="*/ 39 w 263"/>
                <a:gd name="T87" fmla="*/ 205 h 322"/>
                <a:gd name="T88" fmla="*/ 29 w 263"/>
                <a:gd name="T89" fmla="*/ 195 h 322"/>
                <a:gd name="T90" fmla="*/ 10 w 263"/>
                <a:gd name="T91" fmla="*/ 214 h 322"/>
                <a:gd name="T92" fmla="*/ 20 w 263"/>
                <a:gd name="T93" fmla="*/ 234 h 322"/>
                <a:gd name="T94" fmla="*/ 39 w 263"/>
                <a:gd name="T95" fmla="*/ 244 h 322"/>
                <a:gd name="T96" fmla="*/ 39 w 263"/>
                <a:gd name="T97" fmla="*/ 253 h 322"/>
                <a:gd name="T98" fmla="*/ 49 w 263"/>
                <a:gd name="T99" fmla="*/ 273 h 322"/>
                <a:gd name="T100" fmla="*/ 59 w 263"/>
                <a:gd name="T101" fmla="*/ 263 h 322"/>
                <a:gd name="T102" fmla="*/ 78 w 263"/>
                <a:gd name="T103" fmla="*/ 302 h 322"/>
                <a:gd name="T104" fmla="*/ 88 w 263"/>
                <a:gd name="T105" fmla="*/ 292 h 322"/>
                <a:gd name="T106" fmla="*/ 88 w 263"/>
                <a:gd name="T107" fmla="*/ 283 h 322"/>
                <a:gd name="T108" fmla="*/ 88 w 263"/>
                <a:gd name="T109" fmla="*/ 302 h 322"/>
                <a:gd name="T110" fmla="*/ 107 w 263"/>
                <a:gd name="T111" fmla="*/ 322 h 32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63"/>
                <a:gd name="T169" fmla="*/ 0 h 322"/>
                <a:gd name="T170" fmla="*/ 263 w 263"/>
                <a:gd name="T171" fmla="*/ 322 h 32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63" h="322">
                  <a:moveTo>
                    <a:pt x="117" y="322"/>
                  </a:moveTo>
                  <a:lnTo>
                    <a:pt x="127" y="312"/>
                  </a:lnTo>
                  <a:lnTo>
                    <a:pt x="127" y="302"/>
                  </a:lnTo>
                  <a:lnTo>
                    <a:pt x="117" y="283"/>
                  </a:lnTo>
                  <a:lnTo>
                    <a:pt x="117" y="263"/>
                  </a:lnTo>
                  <a:lnTo>
                    <a:pt x="117" y="244"/>
                  </a:lnTo>
                  <a:lnTo>
                    <a:pt x="127" y="214"/>
                  </a:lnTo>
                  <a:lnTo>
                    <a:pt x="137" y="185"/>
                  </a:lnTo>
                  <a:lnTo>
                    <a:pt x="137" y="166"/>
                  </a:lnTo>
                  <a:lnTo>
                    <a:pt x="137" y="156"/>
                  </a:lnTo>
                  <a:lnTo>
                    <a:pt x="156" y="156"/>
                  </a:lnTo>
                  <a:lnTo>
                    <a:pt x="166" y="136"/>
                  </a:lnTo>
                  <a:lnTo>
                    <a:pt x="176" y="127"/>
                  </a:lnTo>
                  <a:lnTo>
                    <a:pt x="176" y="107"/>
                  </a:lnTo>
                  <a:lnTo>
                    <a:pt x="185" y="107"/>
                  </a:lnTo>
                  <a:lnTo>
                    <a:pt x="195" y="107"/>
                  </a:lnTo>
                  <a:lnTo>
                    <a:pt x="205" y="97"/>
                  </a:lnTo>
                  <a:lnTo>
                    <a:pt x="215" y="107"/>
                  </a:lnTo>
                  <a:lnTo>
                    <a:pt x="215" y="88"/>
                  </a:lnTo>
                  <a:lnTo>
                    <a:pt x="224" y="97"/>
                  </a:lnTo>
                  <a:lnTo>
                    <a:pt x="234" y="97"/>
                  </a:lnTo>
                  <a:lnTo>
                    <a:pt x="224" y="78"/>
                  </a:lnTo>
                  <a:lnTo>
                    <a:pt x="244" y="78"/>
                  </a:lnTo>
                  <a:lnTo>
                    <a:pt x="254" y="78"/>
                  </a:lnTo>
                  <a:lnTo>
                    <a:pt x="244" y="68"/>
                  </a:lnTo>
                  <a:lnTo>
                    <a:pt x="254" y="68"/>
                  </a:lnTo>
                  <a:lnTo>
                    <a:pt x="263" y="78"/>
                  </a:lnTo>
                  <a:lnTo>
                    <a:pt x="263" y="68"/>
                  </a:lnTo>
                  <a:lnTo>
                    <a:pt x="263" y="58"/>
                  </a:lnTo>
                  <a:lnTo>
                    <a:pt x="244" y="49"/>
                  </a:lnTo>
                  <a:lnTo>
                    <a:pt x="244" y="29"/>
                  </a:lnTo>
                  <a:lnTo>
                    <a:pt x="224" y="19"/>
                  </a:lnTo>
                  <a:lnTo>
                    <a:pt x="215" y="19"/>
                  </a:lnTo>
                  <a:lnTo>
                    <a:pt x="205" y="19"/>
                  </a:lnTo>
                  <a:lnTo>
                    <a:pt x="195" y="0"/>
                  </a:lnTo>
                  <a:lnTo>
                    <a:pt x="185" y="0"/>
                  </a:lnTo>
                  <a:lnTo>
                    <a:pt x="176" y="9"/>
                  </a:lnTo>
                  <a:lnTo>
                    <a:pt x="166" y="9"/>
                  </a:lnTo>
                  <a:lnTo>
                    <a:pt x="166" y="19"/>
                  </a:lnTo>
                  <a:lnTo>
                    <a:pt x="156" y="19"/>
                  </a:lnTo>
                  <a:lnTo>
                    <a:pt x="156" y="29"/>
                  </a:lnTo>
                  <a:lnTo>
                    <a:pt x="146" y="29"/>
                  </a:lnTo>
                  <a:lnTo>
                    <a:pt x="137" y="19"/>
                  </a:lnTo>
                  <a:lnTo>
                    <a:pt x="127" y="19"/>
                  </a:lnTo>
                  <a:lnTo>
                    <a:pt x="117" y="29"/>
                  </a:lnTo>
                  <a:lnTo>
                    <a:pt x="127" y="39"/>
                  </a:lnTo>
                  <a:lnTo>
                    <a:pt x="137" y="49"/>
                  </a:lnTo>
                  <a:lnTo>
                    <a:pt x="127" y="49"/>
                  </a:lnTo>
                  <a:lnTo>
                    <a:pt x="117" y="39"/>
                  </a:lnTo>
                  <a:lnTo>
                    <a:pt x="117" y="49"/>
                  </a:lnTo>
                  <a:lnTo>
                    <a:pt x="98" y="58"/>
                  </a:lnTo>
                  <a:lnTo>
                    <a:pt x="88" y="58"/>
                  </a:lnTo>
                  <a:lnTo>
                    <a:pt x="88" y="68"/>
                  </a:lnTo>
                  <a:lnTo>
                    <a:pt x="78" y="78"/>
                  </a:lnTo>
                  <a:lnTo>
                    <a:pt x="68" y="78"/>
                  </a:lnTo>
                  <a:lnTo>
                    <a:pt x="68" y="68"/>
                  </a:lnTo>
                  <a:lnTo>
                    <a:pt x="59" y="68"/>
                  </a:lnTo>
                  <a:lnTo>
                    <a:pt x="59" y="58"/>
                  </a:lnTo>
                  <a:lnTo>
                    <a:pt x="49" y="58"/>
                  </a:lnTo>
                  <a:lnTo>
                    <a:pt x="39" y="58"/>
                  </a:lnTo>
                  <a:lnTo>
                    <a:pt x="29" y="78"/>
                  </a:lnTo>
                  <a:lnTo>
                    <a:pt x="10" y="88"/>
                  </a:lnTo>
                  <a:lnTo>
                    <a:pt x="10" y="97"/>
                  </a:lnTo>
                  <a:lnTo>
                    <a:pt x="0" y="107"/>
                  </a:lnTo>
                  <a:lnTo>
                    <a:pt x="0" y="117"/>
                  </a:lnTo>
                  <a:lnTo>
                    <a:pt x="10" y="127"/>
                  </a:lnTo>
                  <a:lnTo>
                    <a:pt x="20" y="127"/>
                  </a:lnTo>
                  <a:lnTo>
                    <a:pt x="29" y="117"/>
                  </a:lnTo>
                  <a:lnTo>
                    <a:pt x="39" y="127"/>
                  </a:lnTo>
                  <a:lnTo>
                    <a:pt x="29" y="136"/>
                  </a:lnTo>
                  <a:lnTo>
                    <a:pt x="39" y="146"/>
                  </a:lnTo>
                  <a:lnTo>
                    <a:pt x="49" y="156"/>
                  </a:lnTo>
                  <a:lnTo>
                    <a:pt x="49" y="166"/>
                  </a:lnTo>
                  <a:lnTo>
                    <a:pt x="59" y="166"/>
                  </a:lnTo>
                  <a:lnTo>
                    <a:pt x="68" y="166"/>
                  </a:lnTo>
                  <a:lnTo>
                    <a:pt x="49" y="175"/>
                  </a:lnTo>
                  <a:lnTo>
                    <a:pt x="39" y="175"/>
                  </a:lnTo>
                  <a:lnTo>
                    <a:pt x="39" y="185"/>
                  </a:lnTo>
                  <a:lnTo>
                    <a:pt x="49" y="195"/>
                  </a:lnTo>
                  <a:lnTo>
                    <a:pt x="49" y="205"/>
                  </a:lnTo>
                  <a:lnTo>
                    <a:pt x="39" y="205"/>
                  </a:lnTo>
                  <a:lnTo>
                    <a:pt x="29" y="195"/>
                  </a:lnTo>
                  <a:lnTo>
                    <a:pt x="20" y="205"/>
                  </a:lnTo>
                  <a:lnTo>
                    <a:pt x="10" y="214"/>
                  </a:lnTo>
                  <a:lnTo>
                    <a:pt x="20" y="224"/>
                  </a:lnTo>
                  <a:lnTo>
                    <a:pt x="20" y="234"/>
                  </a:lnTo>
                  <a:lnTo>
                    <a:pt x="29" y="244"/>
                  </a:lnTo>
                  <a:lnTo>
                    <a:pt x="39" y="244"/>
                  </a:lnTo>
                  <a:lnTo>
                    <a:pt x="39" y="253"/>
                  </a:lnTo>
                  <a:lnTo>
                    <a:pt x="39" y="263"/>
                  </a:lnTo>
                  <a:lnTo>
                    <a:pt x="49" y="273"/>
                  </a:lnTo>
                  <a:lnTo>
                    <a:pt x="59" y="263"/>
                  </a:lnTo>
                  <a:lnTo>
                    <a:pt x="59" y="283"/>
                  </a:lnTo>
                  <a:lnTo>
                    <a:pt x="78" y="302"/>
                  </a:lnTo>
                  <a:lnTo>
                    <a:pt x="88" y="302"/>
                  </a:lnTo>
                  <a:lnTo>
                    <a:pt x="88" y="292"/>
                  </a:lnTo>
                  <a:lnTo>
                    <a:pt x="88" y="283"/>
                  </a:lnTo>
                  <a:lnTo>
                    <a:pt x="88" y="292"/>
                  </a:lnTo>
                  <a:lnTo>
                    <a:pt x="88" y="302"/>
                  </a:lnTo>
                  <a:lnTo>
                    <a:pt x="107" y="322"/>
                  </a:lnTo>
                  <a:lnTo>
                    <a:pt x="117" y="322"/>
                  </a:lnTo>
                </a:path>
              </a:pathLst>
            </a:custGeom>
            <a:noFill/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grpSp>
        <p:nvGrpSpPr>
          <p:cNvPr id="18547" name="Group 225"/>
          <p:cNvGrpSpPr>
            <a:grpSpLocks noChangeAspect="1"/>
          </p:cNvGrpSpPr>
          <p:nvPr>
            <p:custDataLst>
              <p:tags r:id="rId113"/>
            </p:custDataLst>
          </p:nvPr>
        </p:nvGrpSpPr>
        <p:grpSpPr bwMode="auto">
          <a:xfrm>
            <a:off x="4162425" y="3733800"/>
            <a:ext cx="38100" cy="61913"/>
            <a:chOff x="3755" y="1424"/>
            <a:chExt cx="59" cy="98"/>
          </a:xfrm>
        </p:grpSpPr>
        <p:sp>
          <p:nvSpPr>
            <p:cNvPr id="18772" name="Freeform 227"/>
            <p:cNvSpPr>
              <a:spLocks noChangeAspect="1"/>
            </p:cNvSpPr>
            <p:nvPr/>
          </p:nvSpPr>
          <p:spPr bwMode="auto">
            <a:xfrm>
              <a:off x="3755" y="1424"/>
              <a:ext cx="59" cy="98"/>
            </a:xfrm>
            <a:custGeom>
              <a:avLst/>
              <a:gdLst>
                <a:gd name="T0" fmla="*/ 10 w 59"/>
                <a:gd name="T1" fmla="*/ 59 h 98"/>
                <a:gd name="T2" fmla="*/ 0 w 59"/>
                <a:gd name="T3" fmla="*/ 40 h 98"/>
                <a:gd name="T4" fmla="*/ 10 w 59"/>
                <a:gd name="T5" fmla="*/ 30 h 98"/>
                <a:gd name="T6" fmla="*/ 10 w 59"/>
                <a:gd name="T7" fmla="*/ 20 h 98"/>
                <a:gd name="T8" fmla="*/ 20 w 59"/>
                <a:gd name="T9" fmla="*/ 10 h 98"/>
                <a:gd name="T10" fmla="*/ 20 w 59"/>
                <a:gd name="T11" fmla="*/ 20 h 98"/>
                <a:gd name="T12" fmla="*/ 30 w 59"/>
                <a:gd name="T13" fmla="*/ 20 h 98"/>
                <a:gd name="T14" fmla="*/ 30 w 59"/>
                <a:gd name="T15" fmla="*/ 10 h 98"/>
                <a:gd name="T16" fmla="*/ 30 w 59"/>
                <a:gd name="T17" fmla="*/ 0 h 98"/>
                <a:gd name="T18" fmla="*/ 39 w 59"/>
                <a:gd name="T19" fmla="*/ 10 h 98"/>
                <a:gd name="T20" fmla="*/ 49 w 59"/>
                <a:gd name="T21" fmla="*/ 10 h 98"/>
                <a:gd name="T22" fmla="*/ 49 w 59"/>
                <a:gd name="T23" fmla="*/ 20 h 98"/>
                <a:gd name="T24" fmla="*/ 49 w 59"/>
                <a:gd name="T25" fmla="*/ 40 h 98"/>
                <a:gd name="T26" fmla="*/ 49 w 59"/>
                <a:gd name="T27" fmla="*/ 59 h 98"/>
                <a:gd name="T28" fmla="*/ 59 w 59"/>
                <a:gd name="T29" fmla="*/ 59 h 98"/>
                <a:gd name="T30" fmla="*/ 59 w 59"/>
                <a:gd name="T31" fmla="*/ 69 h 98"/>
                <a:gd name="T32" fmla="*/ 59 w 59"/>
                <a:gd name="T33" fmla="*/ 88 h 98"/>
                <a:gd name="T34" fmla="*/ 59 w 59"/>
                <a:gd name="T35" fmla="*/ 98 h 98"/>
                <a:gd name="T36" fmla="*/ 39 w 59"/>
                <a:gd name="T37" fmla="*/ 98 h 98"/>
                <a:gd name="T38" fmla="*/ 30 w 59"/>
                <a:gd name="T39" fmla="*/ 98 h 98"/>
                <a:gd name="T40" fmla="*/ 30 w 59"/>
                <a:gd name="T41" fmla="*/ 98 h 98"/>
                <a:gd name="T42" fmla="*/ 20 w 59"/>
                <a:gd name="T43" fmla="*/ 88 h 98"/>
                <a:gd name="T44" fmla="*/ 20 w 59"/>
                <a:gd name="T45" fmla="*/ 79 h 98"/>
                <a:gd name="T46" fmla="*/ 20 w 59"/>
                <a:gd name="T47" fmla="*/ 69 h 98"/>
                <a:gd name="T48" fmla="*/ 20 w 59"/>
                <a:gd name="T49" fmla="*/ 59 h 98"/>
                <a:gd name="T50" fmla="*/ 10 w 59"/>
                <a:gd name="T51" fmla="*/ 59 h 9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59"/>
                <a:gd name="T79" fmla="*/ 0 h 98"/>
                <a:gd name="T80" fmla="*/ 59 w 59"/>
                <a:gd name="T81" fmla="*/ 98 h 98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59" h="98">
                  <a:moveTo>
                    <a:pt x="10" y="59"/>
                  </a:moveTo>
                  <a:lnTo>
                    <a:pt x="0" y="40"/>
                  </a:lnTo>
                  <a:lnTo>
                    <a:pt x="10" y="30"/>
                  </a:lnTo>
                  <a:lnTo>
                    <a:pt x="10" y="20"/>
                  </a:lnTo>
                  <a:lnTo>
                    <a:pt x="20" y="10"/>
                  </a:lnTo>
                  <a:lnTo>
                    <a:pt x="20" y="20"/>
                  </a:lnTo>
                  <a:lnTo>
                    <a:pt x="30" y="20"/>
                  </a:lnTo>
                  <a:lnTo>
                    <a:pt x="30" y="10"/>
                  </a:lnTo>
                  <a:lnTo>
                    <a:pt x="30" y="0"/>
                  </a:lnTo>
                  <a:lnTo>
                    <a:pt x="39" y="10"/>
                  </a:lnTo>
                  <a:lnTo>
                    <a:pt x="49" y="10"/>
                  </a:lnTo>
                  <a:lnTo>
                    <a:pt x="49" y="20"/>
                  </a:lnTo>
                  <a:lnTo>
                    <a:pt x="49" y="40"/>
                  </a:lnTo>
                  <a:lnTo>
                    <a:pt x="49" y="59"/>
                  </a:lnTo>
                  <a:lnTo>
                    <a:pt x="59" y="59"/>
                  </a:lnTo>
                  <a:lnTo>
                    <a:pt x="59" y="69"/>
                  </a:lnTo>
                  <a:lnTo>
                    <a:pt x="59" y="88"/>
                  </a:lnTo>
                  <a:lnTo>
                    <a:pt x="59" y="98"/>
                  </a:lnTo>
                  <a:lnTo>
                    <a:pt x="39" y="98"/>
                  </a:lnTo>
                  <a:lnTo>
                    <a:pt x="30" y="98"/>
                  </a:lnTo>
                  <a:lnTo>
                    <a:pt x="20" y="88"/>
                  </a:lnTo>
                  <a:lnTo>
                    <a:pt x="20" y="79"/>
                  </a:lnTo>
                  <a:lnTo>
                    <a:pt x="20" y="69"/>
                  </a:lnTo>
                  <a:lnTo>
                    <a:pt x="20" y="59"/>
                  </a:lnTo>
                  <a:lnTo>
                    <a:pt x="10" y="59"/>
                  </a:lnTo>
                  <a:close/>
                </a:path>
              </a:pathLst>
            </a:custGeom>
            <a:solidFill>
              <a:srgbClr val="FFCC9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8773" name="Freeform 226"/>
            <p:cNvSpPr>
              <a:spLocks noChangeAspect="1"/>
            </p:cNvSpPr>
            <p:nvPr/>
          </p:nvSpPr>
          <p:spPr bwMode="auto">
            <a:xfrm>
              <a:off x="3755" y="1424"/>
              <a:ext cx="59" cy="98"/>
            </a:xfrm>
            <a:custGeom>
              <a:avLst/>
              <a:gdLst>
                <a:gd name="T0" fmla="*/ 10 w 59"/>
                <a:gd name="T1" fmla="*/ 59 h 98"/>
                <a:gd name="T2" fmla="*/ 0 w 59"/>
                <a:gd name="T3" fmla="*/ 40 h 98"/>
                <a:gd name="T4" fmla="*/ 10 w 59"/>
                <a:gd name="T5" fmla="*/ 30 h 98"/>
                <a:gd name="T6" fmla="*/ 10 w 59"/>
                <a:gd name="T7" fmla="*/ 20 h 98"/>
                <a:gd name="T8" fmla="*/ 20 w 59"/>
                <a:gd name="T9" fmla="*/ 10 h 98"/>
                <a:gd name="T10" fmla="*/ 20 w 59"/>
                <a:gd name="T11" fmla="*/ 20 h 98"/>
                <a:gd name="T12" fmla="*/ 30 w 59"/>
                <a:gd name="T13" fmla="*/ 20 h 98"/>
                <a:gd name="T14" fmla="*/ 30 w 59"/>
                <a:gd name="T15" fmla="*/ 10 h 98"/>
                <a:gd name="T16" fmla="*/ 30 w 59"/>
                <a:gd name="T17" fmla="*/ 0 h 98"/>
                <a:gd name="T18" fmla="*/ 39 w 59"/>
                <a:gd name="T19" fmla="*/ 10 h 98"/>
                <a:gd name="T20" fmla="*/ 49 w 59"/>
                <a:gd name="T21" fmla="*/ 10 h 98"/>
                <a:gd name="T22" fmla="*/ 49 w 59"/>
                <a:gd name="T23" fmla="*/ 20 h 98"/>
                <a:gd name="T24" fmla="*/ 49 w 59"/>
                <a:gd name="T25" fmla="*/ 40 h 98"/>
                <a:gd name="T26" fmla="*/ 49 w 59"/>
                <a:gd name="T27" fmla="*/ 59 h 98"/>
                <a:gd name="T28" fmla="*/ 59 w 59"/>
                <a:gd name="T29" fmla="*/ 59 h 98"/>
                <a:gd name="T30" fmla="*/ 59 w 59"/>
                <a:gd name="T31" fmla="*/ 69 h 98"/>
                <a:gd name="T32" fmla="*/ 59 w 59"/>
                <a:gd name="T33" fmla="*/ 88 h 98"/>
                <a:gd name="T34" fmla="*/ 59 w 59"/>
                <a:gd name="T35" fmla="*/ 98 h 98"/>
                <a:gd name="T36" fmla="*/ 39 w 59"/>
                <a:gd name="T37" fmla="*/ 98 h 98"/>
                <a:gd name="T38" fmla="*/ 30 w 59"/>
                <a:gd name="T39" fmla="*/ 98 h 98"/>
                <a:gd name="T40" fmla="*/ 30 w 59"/>
                <a:gd name="T41" fmla="*/ 98 h 98"/>
                <a:gd name="T42" fmla="*/ 20 w 59"/>
                <a:gd name="T43" fmla="*/ 88 h 98"/>
                <a:gd name="T44" fmla="*/ 20 w 59"/>
                <a:gd name="T45" fmla="*/ 79 h 98"/>
                <a:gd name="T46" fmla="*/ 20 w 59"/>
                <a:gd name="T47" fmla="*/ 69 h 98"/>
                <a:gd name="T48" fmla="*/ 20 w 59"/>
                <a:gd name="T49" fmla="*/ 59 h 98"/>
                <a:gd name="T50" fmla="*/ 10 w 59"/>
                <a:gd name="T51" fmla="*/ 59 h 9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59"/>
                <a:gd name="T79" fmla="*/ 0 h 98"/>
                <a:gd name="T80" fmla="*/ 59 w 59"/>
                <a:gd name="T81" fmla="*/ 98 h 98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59" h="98">
                  <a:moveTo>
                    <a:pt x="10" y="59"/>
                  </a:moveTo>
                  <a:lnTo>
                    <a:pt x="0" y="40"/>
                  </a:lnTo>
                  <a:lnTo>
                    <a:pt x="10" y="30"/>
                  </a:lnTo>
                  <a:lnTo>
                    <a:pt x="10" y="20"/>
                  </a:lnTo>
                  <a:lnTo>
                    <a:pt x="20" y="10"/>
                  </a:lnTo>
                  <a:lnTo>
                    <a:pt x="20" y="20"/>
                  </a:lnTo>
                  <a:lnTo>
                    <a:pt x="30" y="20"/>
                  </a:lnTo>
                  <a:lnTo>
                    <a:pt x="30" y="10"/>
                  </a:lnTo>
                  <a:lnTo>
                    <a:pt x="30" y="0"/>
                  </a:lnTo>
                  <a:lnTo>
                    <a:pt x="39" y="10"/>
                  </a:lnTo>
                  <a:lnTo>
                    <a:pt x="49" y="10"/>
                  </a:lnTo>
                  <a:lnTo>
                    <a:pt x="49" y="20"/>
                  </a:lnTo>
                  <a:lnTo>
                    <a:pt x="49" y="40"/>
                  </a:lnTo>
                  <a:lnTo>
                    <a:pt x="49" y="59"/>
                  </a:lnTo>
                  <a:lnTo>
                    <a:pt x="59" y="59"/>
                  </a:lnTo>
                  <a:lnTo>
                    <a:pt x="59" y="69"/>
                  </a:lnTo>
                  <a:lnTo>
                    <a:pt x="59" y="88"/>
                  </a:lnTo>
                  <a:lnTo>
                    <a:pt x="59" y="98"/>
                  </a:lnTo>
                  <a:lnTo>
                    <a:pt x="39" y="98"/>
                  </a:lnTo>
                  <a:lnTo>
                    <a:pt x="30" y="98"/>
                  </a:lnTo>
                  <a:lnTo>
                    <a:pt x="20" y="88"/>
                  </a:lnTo>
                  <a:lnTo>
                    <a:pt x="20" y="79"/>
                  </a:lnTo>
                  <a:lnTo>
                    <a:pt x="20" y="69"/>
                  </a:lnTo>
                  <a:lnTo>
                    <a:pt x="20" y="59"/>
                  </a:lnTo>
                  <a:lnTo>
                    <a:pt x="10" y="59"/>
                  </a:lnTo>
                </a:path>
              </a:pathLst>
            </a:custGeom>
            <a:noFill/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grpSp>
        <p:nvGrpSpPr>
          <p:cNvPr id="18548" name="Group 222"/>
          <p:cNvGrpSpPr>
            <a:grpSpLocks noChangeAspect="1"/>
          </p:cNvGrpSpPr>
          <p:nvPr>
            <p:custDataLst>
              <p:tags r:id="rId114"/>
            </p:custDataLst>
          </p:nvPr>
        </p:nvGrpSpPr>
        <p:grpSpPr bwMode="auto">
          <a:xfrm>
            <a:off x="6143625" y="3716338"/>
            <a:ext cx="12700" cy="12700"/>
            <a:chOff x="6721" y="1395"/>
            <a:chExt cx="19" cy="20"/>
          </a:xfrm>
        </p:grpSpPr>
        <p:sp>
          <p:nvSpPr>
            <p:cNvPr id="18770" name="Freeform 224"/>
            <p:cNvSpPr>
              <a:spLocks noChangeAspect="1"/>
            </p:cNvSpPr>
            <p:nvPr/>
          </p:nvSpPr>
          <p:spPr bwMode="auto">
            <a:xfrm>
              <a:off x="6721" y="1395"/>
              <a:ext cx="19" cy="20"/>
            </a:xfrm>
            <a:custGeom>
              <a:avLst/>
              <a:gdLst>
                <a:gd name="T0" fmla="*/ 0 w 19"/>
                <a:gd name="T1" fmla="*/ 10 h 20"/>
                <a:gd name="T2" fmla="*/ 9 w 19"/>
                <a:gd name="T3" fmla="*/ 0 h 20"/>
                <a:gd name="T4" fmla="*/ 19 w 19"/>
                <a:gd name="T5" fmla="*/ 0 h 20"/>
                <a:gd name="T6" fmla="*/ 19 w 19"/>
                <a:gd name="T7" fmla="*/ 10 h 20"/>
                <a:gd name="T8" fmla="*/ 19 w 19"/>
                <a:gd name="T9" fmla="*/ 10 h 20"/>
                <a:gd name="T10" fmla="*/ 9 w 19"/>
                <a:gd name="T11" fmla="*/ 10 h 20"/>
                <a:gd name="T12" fmla="*/ 0 w 19"/>
                <a:gd name="T13" fmla="*/ 20 h 20"/>
                <a:gd name="T14" fmla="*/ 0 w 19"/>
                <a:gd name="T15" fmla="*/ 20 h 20"/>
                <a:gd name="T16" fmla="*/ 0 w 19"/>
                <a:gd name="T17" fmla="*/ 10 h 2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"/>
                <a:gd name="T28" fmla="*/ 0 h 20"/>
                <a:gd name="T29" fmla="*/ 19 w 19"/>
                <a:gd name="T30" fmla="*/ 20 h 2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" h="20">
                  <a:moveTo>
                    <a:pt x="0" y="10"/>
                  </a:moveTo>
                  <a:lnTo>
                    <a:pt x="9" y="0"/>
                  </a:lnTo>
                  <a:lnTo>
                    <a:pt x="19" y="0"/>
                  </a:lnTo>
                  <a:lnTo>
                    <a:pt x="19" y="10"/>
                  </a:lnTo>
                  <a:lnTo>
                    <a:pt x="9" y="10"/>
                  </a:lnTo>
                  <a:lnTo>
                    <a:pt x="0" y="2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CCEC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8771" name="Freeform 223"/>
            <p:cNvSpPr>
              <a:spLocks noChangeAspect="1"/>
            </p:cNvSpPr>
            <p:nvPr/>
          </p:nvSpPr>
          <p:spPr bwMode="auto">
            <a:xfrm>
              <a:off x="6721" y="1395"/>
              <a:ext cx="19" cy="20"/>
            </a:xfrm>
            <a:custGeom>
              <a:avLst/>
              <a:gdLst>
                <a:gd name="T0" fmla="*/ 0 w 19"/>
                <a:gd name="T1" fmla="*/ 10 h 20"/>
                <a:gd name="T2" fmla="*/ 9 w 19"/>
                <a:gd name="T3" fmla="*/ 0 h 20"/>
                <a:gd name="T4" fmla="*/ 19 w 19"/>
                <a:gd name="T5" fmla="*/ 0 h 20"/>
                <a:gd name="T6" fmla="*/ 19 w 19"/>
                <a:gd name="T7" fmla="*/ 10 h 20"/>
                <a:gd name="T8" fmla="*/ 19 w 19"/>
                <a:gd name="T9" fmla="*/ 10 h 20"/>
                <a:gd name="T10" fmla="*/ 9 w 19"/>
                <a:gd name="T11" fmla="*/ 10 h 20"/>
                <a:gd name="T12" fmla="*/ 0 w 19"/>
                <a:gd name="T13" fmla="*/ 20 h 20"/>
                <a:gd name="T14" fmla="*/ 0 w 19"/>
                <a:gd name="T15" fmla="*/ 20 h 20"/>
                <a:gd name="T16" fmla="*/ 0 w 19"/>
                <a:gd name="T17" fmla="*/ 10 h 2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"/>
                <a:gd name="T28" fmla="*/ 0 h 20"/>
                <a:gd name="T29" fmla="*/ 19 w 19"/>
                <a:gd name="T30" fmla="*/ 20 h 2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" h="20">
                  <a:moveTo>
                    <a:pt x="0" y="10"/>
                  </a:moveTo>
                  <a:lnTo>
                    <a:pt x="9" y="0"/>
                  </a:lnTo>
                  <a:lnTo>
                    <a:pt x="19" y="0"/>
                  </a:lnTo>
                  <a:lnTo>
                    <a:pt x="19" y="10"/>
                  </a:lnTo>
                  <a:lnTo>
                    <a:pt x="9" y="10"/>
                  </a:lnTo>
                  <a:lnTo>
                    <a:pt x="0" y="20"/>
                  </a:lnTo>
                  <a:lnTo>
                    <a:pt x="0" y="10"/>
                  </a:lnTo>
                </a:path>
              </a:pathLst>
            </a:custGeom>
            <a:noFill/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18549" name="Freeform 221"/>
          <p:cNvSpPr>
            <a:spLocks noChangeAspect="1"/>
          </p:cNvSpPr>
          <p:nvPr>
            <p:custDataLst>
              <p:tags r:id="rId115"/>
            </p:custDataLst>
          </p:nvPr>
        </p:nvSpPr>
        <p:spPr bwMode="auto">
          <a:xfrm>
            <a:off x="2814638" y="3978275"/>
            <a:ext cx="52387" cy="36513"/>
          </a:xfrm>
          <a:custGeom>
            <a:avLst/>
            <a:gdLst>
              <a:gd name="T0" fmla="*/ 0 w 78"/>
              <a:gd name="T1" fmla="*/ 11961 h 58"/>
              <a:gd name="T2" fmla="*/ 0 w 78"/>
              <a:gd name="T3" fmla="*/ 11961 h 58"/>
              <a:gd name="T4" fmla="*/ 6716 w 78"/>
              <a:gd name="T5" fmla="*/ 0 h 58"/>
              <a:gd name="T6" fmla="*/ 13433 w 78"/>
              <a:gd name="T7" fmla="*/ 0 h 58"/>
              <a:gd name="T8" fmla="*/ 20149 w 78"/>
              <a:gd name="T9" fmla="*/ 0 h 58"/>
              <a:gd name="T10" fmla="*/ 32910 w 78"/>
              <a:gd name="T11" fmla="*/ 0 h 58"/>
              <a:gd name="T12" fmla="*/ 39626 w 78"/>
              <a:gd name="T13" fmla="*/ 0 h 58"/>
              <a:gd name="T14" fmla="*/ 46342 w 78"/>
              <a:gd name="T15" fmla="*/ 0 h 58"/>
              <a:gd name="T16" fmla="*/ 52387 w 78"/>
              <a:gd name="T17" fmla="*/ 6295 h 58"/>
              <a:gd name="T18" fmla="*/ 52387 w 78"/>
              <a:gd name="T19" fmla="*/ 11961 h 58"/>
              <a:gd name="T20" fmla="*/ 52387 w 78"/>
              <a:gd name="T21" fmla="*/ 18256 h 58"/>
              <a:gd name="T22" fmla="*/ 52387 w 78"/>
              <a:gd name="T23" fmla="*/ 24551 h 58"/>
              <a:gd name="T24" fmla="*/ 52387 w 78"/>
              <a:gd name="T25" fmla="*/ 30846 h 58"/>
              <a:gd name="T26" fmla="*/ 46342 w 78"/>
              <a:gd name="T27" fmla="*/ 36512 h 58"/>
              <a:gd name="T28" fmla="*/ 39626 w 78"/>
              <a:gd name="T29" fmla="*/ 36512 h 58"/>
              <a:gd name="T30" fmla="*/ 26194 w 78"/>
              <a:gd name="T31" fmla="*/ 36512 h 58"/>
              <a:gd name="T32" fmla="*/ 20149 w 78"/>
              <a:gd name="T33" fmla="*/ 36512 h 58"/>
              <a:gd name="T34" fmla="*/ 13433 w 78"/>
              <a:gd name="T35" fmla="*/ 36512 h 58"/>
              <a:gd name="T36" fmla="*/ 6716 w 78"/>
              <a:gd name="T37" fmla="*/ 30846 h 58"/>
              <a:gd name="T38" fmla="*/ 0 w 78"/>
              <a:gd name="T39" fmla="*/ 30846 h 58"/>
              <a:gd name="T40" fmla="*/ 0 w 78"/>
              <a:gd name="T41" fmla="*/ 24551 h 58"/>
              <a:gd name="T42" fmla="*/ 0 w 78"/>
              <a:gd name="T43" fmla="*/ 18256 h 58"/>
              <a:gd name="T44" fmla="*/ 0 w 78"/>
              <a:gd name="T45" fmla="*/ 11961 h 58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78"/>
              <a:gd name="T70" fmla="*/ 0 h 58"/>
              <a:gd name="T71" fmla="*/ 78 w 78"/>
              <a:gd name="T72" fmla="*/ 58 h 58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78" h="58">
                <a:moveTo>
                  <a:pt x="0" y="19"/>
                </a:moveTo>
                <a:lnTo>
                  <a:pt x="0" y="19"/>
                </a:lnTo>
                <a:lnTo>
                  <a:pt x="10" y="0"/>
                </a:lnTo>
                <a:lnTo>
                  <a:pt x="20" y="0"/>
                </a:lnTo>
                <a:lnTo>
                  <a:pt x="30" y="0"/>
                </a:lnTo>
                <a:lnTo>
                  <a:pt x="49" y="0"/>
                </a:lnTo>
                <a:lnTo>
                  <a:pt x="59" y="0"/>
                </a:lnTo>
                <a:lnTo>
                  <a:pt x="69" y="0"/>
                </a:lnTo>
                <a:lnTo>
                  <a:pt x="78" y="10"/>
                </a:lnTo>
                <a:lnTo>
                  <a:pt x="78" y="19"/>
                </a:lnTo>
                <a:lnTo>
                  <a:pt x="78" y="29"/>
                </a:lnTo>
                <a:lnTo>
                  <a:pt x="78" y="39"/>
                </a:lnTo>
                <a:lnTo>
                  <a:pt x="78" y="49"/>
                </a:lnTo>
                <a:lnTo>
                  <a:pt x="69" y="58"/>
                </a:lnTo>
                <a:lnTo>
                  <a:pt x="59" y="58"/>
                </a:lnTo>
                <a:lnTo>
                  <a:pt x="39" y="58"/>
                </a:lnTo>
                <a:lnTo>
                  <a:pt x="30" y="58"/>
                </a:lnTo>
                <a:lnTo>
                  <a:pt x="20" y="58"/>
                </a:lnTo>
                <a:lnTo>
                  <a:pt x="10" y="49"/>
                </a:lnTo>
                <a:lnTo>
                  <a:pt x="0" y="49"/>
                </a:lnTo>
                <a:lnTo>
                  <a:pt x="0" y="39"/>
                </a:lnTo>
                <a:lnTo>
                  <a:pt x="0" y="29"/>
                </a:lnTo>
                <a:lnTo>
                  <a:pt x="0" y="19"/>
                </a:lnTo>
                <a:close/>
              </a:path>
            </a:pathLst>
          </a:custGeom>
          <a:solidFill>
            <a:srgbClr val="99E98B"/>
          </a:solidFill>
          <a:ln w="6350" cap="rnd">
            <a:solidFill>
              <a:srgbClr val="4C7445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grpSp>
        <p:nvGrpSpPr>
          <p:cNvPr id="18550" name="Group 218"/>
          <p:cNvGrpSpPr>
            <a:grpSpLocks noChangeAspect="1"/>
          </p:cNvGrpSpPr>
          <p:nvPr>
            <p:custDataLst>
              <p:tags r:id="rId116"/>
            </p:custDataLst>
          </p:nvPr>
        </p:nvGrpSpPr>
        <p:grpSpPr bwMode="auto">
          <a:xfrm>
            <a:off x="2814638" y="3978275"/>
            <a:ext cx="52387" cy="36513"/>
            <a:chOff x="1736" y="1815"/>
            <a:chExt cx="78" cy="58"/>
          </a:xfrm>
        </p:grpSpPr>
        <p:sp>
          <p:nvSpPr>
            <p:cNvPr id="18768" name="Freeform 220"/>
            <p:cNvSpPr>
              <a:spLocks noChangeAspect="1"/>
            </p:cNvSpPr>
            <p:nvPr/>
          </p:nvSpPr>
          <p:spPr bwMode="auto">
            <a:xfrm>
              <a:off x="1736" y="1815"/>
              <a:ext cx="78" cy="58"/>
            </a:xfrm>
            <a:custGeom>
              <a:avLst/>
              <a:gdLst>
                <a:gd name="T0" fmla="*/ 0 w 78"/>
                <a:gd name="T1" fmla="*/ 19 h 58"/>
                <a:gd name="T2" fmla="*/ 0 w 78"/>
                <a:gd name="T3" fmla="*/ 19 h 58"/>
                <a:gd name="T4" fmla="*/ 10 w 78"/>
                <a:gd name="T5" fmla="*/ 0 h 58"/>
                <a:gd name="T6" fmla="*/ 20 w 78"/>
                <a:gd name="T7" fmla="*/ 0 h 58"/>
                <a:gd name="T8" fmla="*/ 30 w 78"/>
                <a:gd name="T9" fmla="*/ 0 h 58"/>
                <a:gd name="T10" fmla="*/ 49 w 78"/>
                <a:gd name="T11" fmla="*/ 0 h 58"/>
                <a:gd name="T12" fmla="*/ 59 w 78"/>
                <a:gd name="T13" fmla="*/ 0 h 58"/>
                <a:gd name="T14" fmla="*/ 69 w 78"/>
                <a:gd name="T15" fmla="*/ 0 h 58"/>
                <a:gd name="T16" fmla="*/ 78 w 78"/>
                <a:gd name="T17" fmla="*/ 10 h 58"/>
                <a:gd name="T18" fmla="*/ 78 w 78"/>
                <a:gd name="T19" fmla="*/ 19 h 58"/>
                <a:gd name="T20" fmla="*/ 78 w 78"/>
                <a:gd name="T21" fmla="*/ 29 h 58"/>
                <a:gd name="T22" fmla="*/ 78 w 78"/>
                <a:gd name="T23" fmla="*/ 39 h 58"/>
                <a:gd name="T24" fmla="*/ 78 w 78"/>
                <a:gd name="T25" fmla="*/ 49 h 58"/>
                <a:gd name="T26" fmla="*/ 69 w 78"/>
                <a:gd name="T27" fmla="*/ 58 h 58"/>
                <a:gd name="T28" fmla="*/ 59 w 78"/>
                <a:gd name="T29" fmla="*/ 58 h 58"/>
                <a:gd name="T30" fmla="*/ 39 w 78"/>
                <a:gd name="T31" fmla="*/ 58 h 58"/>
                <a:gd name="T32" fmla="*/ 30 w 78"/>
                <a:gd name="T33" fmla="*/ 58 h 58"/>
                <a:gd name="T34" fmla="*/ 20 w 78"/>
                <a:gd name="T35" fmla="*/ 58 h 58"/>
                <a:gd name="T36" fmla="*/ 10 w 78"/>
                <a:gd name="T37" fmla="*/ 49 h 58"/>
                <a:gd name="T38" fmla="*/ 0 w 78"/>
                <a:gd name="T39" fmla="*/ 49 h 58"/>
                <a:gd name="T40" fmla="*/ 0 w 78"/>
                <a:gd name="T41" fmla="*/ 39 h 58"/>
                <a:gd name="T42" fmla="*/ 0 w 78"/>
                <a:gd name="T43" fmla="*/ 29 h 58"/>
                <a:gd name="T44" fmla="*/ 0 w 78"/>
                <a:gd name="T45" fmla="*/ 19 h 5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78"/>
                <a:gd name="T70" fmla="*/ 0 h 58"/>
                <a:gd name="T71" fmla="*/ 78 w 78"/>
                <a:gd name="T72" fmla="*/ 58 h 58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78" h="58">
                  <a:moveTo>
                    <a:pt x="0" y="19"/>
                  </a:moveTo>
                  <a:lnTo>
                    <a:pt x="0" y="19"/>
                  </a:lnTo>
                  <a:lnTo>
                    <a:pt x="10" y="0"/>
                  </a:lnTo>
                  <a:lnTo>
                    <a:pt x="20" y="0"/>
                  </a:lnTo>
                  <a:lnTo>
                    <a:pt x="30" y="0"/>
                  </a:lnTo>
                  <a:lnTo>
                    <a:pt x="49" y="0"/>
                  </a:lnTo>
                  <a:lnTo>
                    <a:pt x="59" y="0"/>
                  </a:lnTo>
                  <a:lnTo>
                    <a:pt x="69" y="0"/>
                  </a:lnTo>
                  <a:lnTo>
                    <a:pt x="78" y="10"/>
                  </a:lnTo>
                  <a:lnTo>
                    <a:pt x="78" y="19"/>
                  </a:lnTo>
                  <a:lnTo>
                    <a:pt x="78" y="29"/>
                  </a:lnTo>
                  <a:lnTo>
                    <a:pt x="78" y="39"/>
                  </a:lnTo>
                  <a:lnTo>
                    <a:pt x="78" y="49"/>
                  </a:lnTo>
                  <a:lnTo>
                    <a:pt x="69" y="58"/>
                  </a:lnTo>
                  <a:lnTo>
                    <a:pt x="59" y="58"/>
                  </a:lnTo>
                  <a:lnTo>
                    <a:pt x="39" y="58"/>
                  </a:lnTo>
                  <a:lnTo>
                    <a:pt x="30" y="58"/>
                  </a:lnTo>
                  <a:lnTo>
                    <a:pt x="20" y="58"/>
                  </a:lnTo>
                  <a:lnTo>
                    <a:pt x="10" y="49"/>
                  </a:lnTo>
                  <a:lnTo>
                    <a:pt x="0" y="49"/>
                  </a:lnTo>
                  <a:lnTo>
                    <a:pt x="0" y="39"/>
                  </a:lnTo>
                  <a:lnTo>
                    <a:pt x="0" y="29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CCEC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8769" name="Freeform 219"/>
            <p:cNvSpPr>
              <a:spLocks noChangeAspect="1"/>
            </p:cNvSpPr>
            <p:nvPr/>
          </p:nvSpPr>
          <p:spPr bwMode="auto">
            <a:xfrm>
              <a:off x="1736" y="1815"/>
              <a:ext cx="78" cy="58"/>
            </a:xfrm>
            <a:custGeom>
              <a:avLst/>
              <a:gdLst>
                <a:gd name="T0" fmla="*/ 0 w 78"/>
                <a:gd name="T1" fmla="*/ 19 h 58"/>
                <a:gd name="T2" fmla="*/ 0 w 78"/>
                <a:gd name="T3" fmla="*/ 19 h 58"/>
                <a:gd name="T4" fmla="*/ 10 w 78"/>
                <a:gd name="T5" fmla="*/ 0 h 58"/>
                <a:gd name="T6" fmla="*/ 20 w 78"/>
                <a:gd name="T7" fmla="*/ 0 h 58"/>
                <a:gd name="T8" fmla="*/ 30 w 78"/>
                <a:gd name="T9" fmla="*/ 0 h 58"/>
                <a:gd name="T10" fmla="*/ 49 w 78"/>
                <a:gd name="T11" fmla="*/ 0 h 58"/>
                <a:gd name="T12" fmla="*/ 59 w 78"/>
                <a:gd name="T13" fmla="*/ 0 h 58"/>
                <a:gd name="T14" fmla="*/ 69 w 78"/>
                <a:gd name="T15" fmla="*/ 0 h 58"/>
                <a:gd name="T16" fmla="*/ 78 w 78"/>
                <a:gd name="T17" fmla="*/ 10 h 58"/>
                <a:gd name="T18" fmla="*/ 78 w 78"/>
                <a:gd name="T19" fmla="*/ 19 h 58"/>
                <a:gd name="T20" fmla="*/ 78 w 78"/>
                <a:gd name="T21" fmla="*/ 29 h 58"/>
                <a:gd name="T22" fmla="*/ 78 w 78"/>
                <a:gd name="T23" fmla="*/ 39 h 58"/>
                <a:gd name="T24" fmla="*/ 78 w 78"/>
                <a:gd name="T25" fmla="*/ 49 h 58"/>
                <a:gd name="T26" fmla="*/ 69 w 78"/>
                <a:gd name="T27" fmla="*/ 58 h 58"/>
                <a:gd name="T28" fmla="*/ 59 w 78"/>
                <a:gd name="T29" fmla="*/ 58 h 58"/>
                <a:gd name="T30" fmla="*/ 39 w 78"/>
                <a:gd name="T31" fmla="*/ 58 h 58"/>
                <a:gd name="T32" fmla="*/ 30 w 78"/>
                <a:gd name="T33" fmla="*/ 58 h 58"/>
                <a:gd name="T34" fmla="*/ 20 w 78"/>
                <a:gd name="T35" fmla="*/ 58 h 58"/>
                <a:gd name="T36" fmla="*/ 10 w 78"/>
                <a:gd name="T37" fmla="*/ 49 h 58"/>
                <a:gd name="T38" fmla="*/ 0 w 78"/>
                <a:gd name="T39" fmla="*/ 49 h 58"/>
                <a:gd name="T40" fmla="*/ 0 w 78"/>
                <a:gd name="T41" fmla="*/ 39 h 58"/>
                <a:gd name="T42" fmla="*/ 0 w 78"/>
                <a:gd name="T43" fmla="*/ 29 h 58"/>
                <a:gd name="T44" fmla="*/ 0 w 78"/>
                <a:gd name="T45" fmla="*/ 19 h 5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78"/>
                <a:gd name="T70" fmla="*/ 0 h 58"/>
                <a:gd name="T71" fmla="*/ 78 w 78"/>
                <a:gd name="T72" fmla="*/ 58 h 58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78" h="58">
                  <a:moveTo>
                    <a:pt x="0" y="19"/>
                  </a:moveTo>
                  <a:lnTo>
                    <a:pt x="0" y="19"/>
                  </a:lnTo>
                  <a:lnTo>
                    <a:pt x="10" y="0"/>
                  </a:lnTo>
                  <a:lnTo>
                    <a:pt x="20" y="0"/>
                  </a:lnTo>
                  <a:lnTo>
                    <a:pt x="30" y="0"/>
                  </a:lnTo>
                  <a:lnTo>
                    <a:pt x="49" y="0"/>
                  </a:lnTo>
                  <a:lnTo>
                    <a:pt x="59" y="0"/>
                  </a:lnTo>
                  <a:lnTo>
                    <a:pt x="69" y="0"/>
                  </a:lnTo>
                  <a:lnTo>
                    <a:pt x="78" y="10"/>
                  </a:lnTo>
                  <a:lnTo>
                    <a:pt x="78" y="19"/>
                  </a:lnTo>
                  <a:lnTo>
                    <a:pt x="78" y="29"/>
                  </a:lnTo>
                  <a:lnTo>
                    <a:pt x="78" y="39"/>
                  </a:lnTo>
                  <a:lnTo>
                    <a:pt x="78" y="49"/>
                  </a:lnTo>
                  <a:lnTo>
                    <a:pt x="69" y="58"/>
                  </a:lnTo>
                  <a:lnTo>
                    <a:pt x="59" y="58"/>
                  </a:lnTo>
                  <a:lnTo>
                    <a:pt x="39" y="58"/>
                  </a:lnTo>
                  <a:lnTo>
                    <a:pt x="30" y="58"/>
                  </a:lnTo>
                  <a:lnTo>
                    <a:pt x="20" y="58"/>
                  </a:lnTo>
                  <a:lnTo>
                    <a:pt x="10" y="49"/>
                  </a:lnTo>
                  <a:lnTo>
                    <a:pt x="0" y="49"/>
                  </a:lnTo>
                  <a:lnTo>
                    <a:pt x="0" y="39"/>
                  </a:lnTo>
                  <a:lnTo>
                    <a:pt x="0" y="29"/>
                  </a:lnTo>
                  <a:lnTo>
                    <a:pt x="0" y="19"/>
                  </a:lnTo>
                </a:path>
              </a:pathLst>
            </a:custGeom>
            <a:noFill/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18551" name="Freeform 217"/>
          <p:cNvSpPr>
            <a:spLocks noChangeAspect="1"/>
          </p:cNvSpPr>
          <p:nvPr>
            <p:custDataLst>
              <p:tags r:id="rId117"/>
            </p:custDataLst>
          </p:nvPr>
        </p:nvSpPr>
        <p:spPr bwMode="auto">
          <a:xfrm>
            <a:off x="3367088" y="4560888"/>
            <a:ext cx="280987" cy="260350"/>
          </a:xfrm>
          <a:custGeom>
            <a:avLst/>
            <a:gdLst>
              <a:gd name="T0" fmla="*/ 20070 w 420"/>
              <a:gd name="T1" fmla="*/ 211999 h 420"/>
              <a:gd name="T2" fmla="*/ 46162 w 420"/>
              <a:gd name="T3" fmla="*/ 223777 h 420"/>
              <a:gd name="T4" fmla="*/ 32782 w 420"/>
              <a:gd name="T5" fmla="*/ 236175 h 420"/>
              <a:gd name="T6" fmla="*/ 26092 w 420"/>
              <a:gd name="T7" fmla="*/ 254151 h 420"/>
              <a:gd name="T8" fmla="*/ 58873 w 420"/>
              <a:gd name="T9" fmla="*/ 254151 h 420"/>
              <a:gd name="T10" fmla="*/ 78275 w 420"/>
              <a:gd name="T11" fmla="*/ 260350 h 420"/>
              <a:gd name="T12" fmla="*/ 84965 w 420"/>
              <a:gd name="T13" fmla="*/ 236175 h 420"/>
              <a:gd name="T14" fmla="*/ 91655 w 420"/>
              <a:gd name="T15" fmla="*/ 229976 h 420"/>
              <a:gd name="T16" fmla="*/ 117747 w 420"/>
              <a:gd name="T17" fmla="*/ 223777 h 420"/>
              <a:gd name="T18" fmla="*/ 137148 w 420"/>
              <a:gd name="T19" fmla="*/ 242373 h 420"/>
              <a:gd name="T20" fmla="*/ 156550 w 420"/>
              <a:gd name="T21" fmla="*/ 229976 h 420"/>
              <a:gd name="T22" fmla="*/ 143839 w 420"/>
              <a:gd name="T23" fmla="*/ 218198 h 420"/>
              <a:gd name="T24" fmla="*/ 130458 w 420"/>
              <a:gd name="T25" fmla="*/ 199602 h 420"/>
              <a:gd name="T26" fmla="*/ 150529 w 420"/>
              <a:gd name="T27" fmla="*/ 205800 h 420"/>
              <a:gd name="T28" fmla="*/ 150529 w 420"/>
              <a:gd name="T29" fmla="*/ 187824 h 420"/>
              <a:gd name="T30" fmla="*/ 137148 w 420"/>
              <a:gd name="T31" fmla="*/ 181625 h 420"/>
              <a:gd name="T32" fmla="*/ 150529 w 420"/>
              <a:gd name="T33" fmla="*/ 169847 h 420"/>
              <a:gd name="T34" fmla="*/ 169930 w 420"/>
              <a:gd name="T35" fmla="*/ 169847 h 420"/>
              <a:gd name="T36" fmla="*/ 182642 w 420"/>
              <a:gd name="T37" fmla="*/ 181625 h 420"/>
              <a:gd name="T38" fmla="*/ 196022 w 420"/>
              <a:gd name="T39" fmla="*/ 187824 h 420"/>
              <a:gd name="T40" fmla="*/ 222114 w 420"/>
              <a:gd name="T41" fmla="*/ 194023 h 420"/>
              <a:gd name="T42" fmla="*/ 248205 w 420"/>
              <a:gd name="T43" fmla="*/ 199602 h 420"/>
              <a:gd name="T44" fmla="*/ 248205 w 420"/>
              <a:gd name="T45" fmla="*/ 187824 h 420"/>
              <a:gd name="T46" fmla="*/ 254895 w 420"/>
              <a:gd name="T47" fmla="*/ 181625 h 420"/>
              <a:gd name="T48" fmla="*/ 254895 w 420"/>
              <a:gd name="T49" fmla="*/ 163649 h 420"/>
              <a:gd name="T50" fmla="*/ 235494 w 420"/>
              <a:gd name="T51" fmla="*/ 151251 h 420"/>
              <a:gd name="T52" fmla="*/ 222114 w 420"/>
              <a:gd name="T53" fmla="*/ 145672 h 420"/>
              <a:gd name="T54" fmla="*/ 228804 w 420"/>
              <a:gd name="T55" fmla="*/ 127076 h 420"/>
              <a:gd name="T56" fmla="*/ 248205 w 420"/>
              <a:gd name="T57" fmla="*/ 121497 h 420"/>
              <a:gd name="T58" fmla="*/ 274297 w 420"/>
              <a:gd name="T59" fmla="*/ 115298 h 420"/>
              <a:gd name="T60" fmla="*/ 274297 w 420"/>
              <a:gd name="T61" fmla="*/ 91123 h 420"/>
              <a:gd name="T62" fmla="*/ 274297 w 420"/>
              <a:gd name="T63" fmla="*/ 78725 h 420"/>
              <a:gd name="T64" fmla="*/ 274297 w 420"/>
              <a:gd name="T65" fmla="*/ 60748 h 420"/>
              <a:gd name="T66" fmla="*/ 254895 w 420"/>
              <a:gd name="T67" fmla="*/ 36573 h 420"/>
              <a:gd name="T68" fmla="*/ 235494 w 420"/>
              <a:gd name="T69" fmla="*/ 42772 h 420"/>
              <a:gd name="T70" fmla="*/ 189332 w 420"/>
              <a:gd name="T71" fmla="*/ 12398 h 420"/>
              <a:gd name="T72" fmla="*/ 169930 w 420"/>
              <a:gd name="T73" fmla="*/ 6199 h 420"/>
              <a:gd name="T74" fmla="*/ 156550 w 420"/>
              <a:gd name="T75" fmla="*/ 24175 h 420"/>
              <a:gd name="T76" fmla="*/ 150529 w 420"/>
              <a:gd name="T77" fmla="*/ 36573 h 420"/>
              <a:gd name="T78" fmla="*/ 156550 w 420"/>
              <a:gd name="T79" fmla="*/ 48351 h 420"/>
              <a:gd name="T80" fmla="*/ 137148 w 420"/>
              <a:gd name="T81" fmla="*/ 54550 h 420"/>
              <a:gd name="T82" fmla="*/ 124437 w 420"/>
              <a:gd name="T83" fmla="*/ 48351 h 420"/>
              <a:gd name="T84" fmla="*/ 111057 w 420"/>
              <a:gd name="T85" fmla="*/ 48351 h 420"/>
              <a:gd name="T86" fmla="*/ 98345 w 420"/>
              <a:gd name="T87" fmla="*/ 36573 h 420"/>
              <a:gd name="T88" fmla="*/ 84965 w 420"/>
              <a:gd name="T89" fmla="*/ 36573 h 420"/>
              <a:gd name="T90" fmla="*/ 91655 w 420"/>
              <a:gd name="T91" fmla="*/ 18596 h 420"/>
              <a:gd name="T92" fmla="*/ 58873 w 420"/>
              <a:gd name="T93" fmla="*/ 18596 h 420"/>
              <a:gd name="T94" fmla="*/ 39472 w 420"/>
              <a:gd name="T95" fmla="*/ 36573 h 420"/>
              <a:gd name="T96" fmla="*/ 52183 w 420"/>
              <a:gd name="T97" fmla="*/ 72526 h 420"/>
              <a:gd name="T98" fmla="*/ 84965 w 420"/>
              <a:gd name="T99" fmla="*/ 84924 h 420"/>
              <a:gd name="T100" fmla="*/ 104367 w 420"/>
              <a:gd name="T101" fmla="*/ 84924 h 420"/>
              <a:gd name="T102" fmla="*/ 137148 w 420"/>
              <a:gd name="T103" fmla="*/ 84924 h 420"/>
              <a:gd name="T104" fmla="*/ 143839 w 420"/>
              <a:gd name="T105" fmla="*/ 91123 h 420"/>
              <a:gd name="T106" fmla="*/ 124437 w 420"/>
              <a:gd name="T107" fmla="*/ 109099 h 420"/>
              <a:gd name="T108" fmla="*/ 104367 w 420"/>
              <a:gd name="T109" fmla="*/ 121497 h 420"/>
              <a:gd name="T110" fmla="*/ 84965 w 420"/>
              <a:gd name="T111" fmla="*/ 115298 h 420"/>
              <a:gd name="T112" fmla="*/ 65564 w 420"/>
              <a:gd name="T113" fmla="*/ 127076 h 420"/>
              <a:gd name="T114" fmla="*/ 46162 w 420"/>
              <a:gd name="T115" fmla="*/ 133274 h 420"/>
              <a:gd name="T116" fmla="*/ 26092 w 420"/>
              <a:gd name="T117" fmla="*/ 163649 h 420"/>
              <a:gd name="T118" fmla="*/ 26092 w 420"/>
              <a:gd name="T119" fmla="*/ 169847 h 420"/>
              <a:gd name="T120" fmla="*/ 6690 w 420"/>
              <a:gd name="T121" fmla="*/ 181625 h 420"/>
              <a:gd name="T122" fmla="*/ 6690 w 420"/>
              <a:gd name="T123" fmla="*/ 205800 h 420"/>
              <a:gd name="T124" fmla="*/ 13380 w 420"/>
              <a:gd name="T125" fmla="*/ 211999 h 420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420"/>
              <a:gd name="T190" fmla="*/ 0 h 420"/>
              <a:gd name="T191" fmla="*/ 420 w 420"/>
              <a:gd name="T192" fmla="*/ 420 h 420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420" h="420">
                <a:moveTo>
                  <a:pt x="20" y="342"/>
                </a:moveTo>
                <a:lnTo>
                  <a:pt x="30" y="342"/>
                </a:lnTo>
                <a:lnTo>
                  <a:pt x="59" y="352"/>
                </a:lnTo>
                <a:lnTo>
                  <a:pt x="69" y="361"/>
                </a:lnTo>
                <a:lnTo>
                  <a:pt x="69" y="381"/>
                </a:lnTo>
                <a:lnTo>
                  <a:pt x="49" y="381"/>
                </a:lnTo>
                <a:lnTo>
                  <a:pt x="30" y="391"/>
                </a:lnTo>
                <a:lnTo>
                  <a:pt x="39" y="410"/>
                </a:lnTo>
                <a:lnTo>
                  <a:pt x="69" y="410"/>
                </a:lnTo>
                <a:lnTo>
                  <a:pt x="88" y="410"/>
                </a:lnTo>
                <a:lnTo>
                  <a:pt x="108" y="420"/>
                </a:lnTo>
                <a:lnTo>
                  <a:pt x="117" y="420"/>
                </a:lnTo>
                <a:lnTo>
                  <a:pt x="127" y="400"/>
                </a:lnTo>
                <a:lnTo>
                  <a:pt x="127" y="381"/>
                </a:lnTo>
                <a:lnTo>
                  <a:pt x="127" y="361"/>
                </a:lnTo>
                <a:lnTo>
                  <a:pt x="137" y="371"/>
                </a:lnTo>
                <a:lnTo>
                  <a:pt x="156" y="371"/>
                </a:lnTo>
                <a:lnTo>
                  <a:pt x="176" y="361"/>
                </a:lnTo>
                <a:lnTo>
                  <a:pt x="186" y="371"/>
                </a:lnTo>
                <a:lnTo>
                  <a:pt x="205" y="391"/>
                </a:lnTo>
                <a:lnTo>
                  <a:pt x="225" y="391"/>
                </a:lnTo>
                <a:lnTo>
                  <a:pt x="234" y="371"/>
                </a:lnTo>
                <a:lnTo>
                  <a:pt x="225" y="361"/>
                </a:lnTo>
                <a:lnTo>
                  <a:pt x="215" y="352"/>
                </a:lnTo>
                <a:lnTo>
                  <a:pt x="186" y="332"/>
                </a:lnTo>
                <a:lnTo>
                  <a:pt x="195" y="322"/>
                </a:lnTo>
                <a:lnTo>
                  <a:pt x="205" y="322"/>
                </a:lnTo>
                <a:lnTo>
                  <a:pt x="225" y="332"/>
                </a:lnTo>
                <a:lnTo>
                  <a:pt x="225" y="322"/>
                </a:lnTo>
                <a:lnTo>
                  <a:pt x="225" y="303"/>
                </a:lnTo>
                <a:lnTo>
                  <a:pt x="205" y="303"/>
                </a:lnTo>
                <a:lnTo>
                  <a:pt x="205" y="293"/>
                </a:lnTo>
                <a:lnTo>
                  <a:pt x="215" y="283"/>
                </a:lnTo>
                <a:lnTo>
                  <a:pt x="225" y="274"/>
                </a:lnTo>
                <a:lnTo>
                  <a:pt x="244" y="274"/>
                </a:lnTo>
                <a:lnTo>
                  <a:pt x="254" y="274"/>
                </a:lnTo>
                <a:lnTo>
                  <a:pt x="254" y="293"/>
                </a:lnTo>
                <a:lnTo>
                  <a:pt x="273" y="293"/>
                </a:lnTo>
                <a:lnTo>
                  <a:pt x="283" y="313"/>
                </a:lnTo>
                <a:lnTo>
                  <a:pt x="293" y="303"/>
                </a:lnTo>
                <a:lnTo>
                  <a:pt x="312" y="313"/>
                </a:lnTo>
                <a:lnTo>
                  <a:pt x="332" y="313"/>
                </a:lnTo>
                <a:lnTo>
                  <a:pt x="352" y="322"/>
                </a:lnTo>
                <a:lnTo>
                  <a:pt x="371" y="322"/>
                </a:lnTo>
                <a:lnTo>
                  <a:pt x="381" y="332"/>
                </a:lnTo>
                <a:lnTo>
                  <a:pt x="371" y="303"/>
                </a:lnTo>
                <a:lnTo>
                  <a:pt x="371" y="293"/>
                </a:lnTo>
                <a:lnTo>
                  <a:pt x="381" y="293"/>
                </a:lnTo>
                <a:lnTo>
                  <a:pt x="391" y="274"/>
                </a:lnTo>
                <a:lnTo>
                  <a:pt x="381" y="264"/>
                </a:lnTo>
                <a:lnTo>
                  <a:pt x="361" y="264"/>
                </a:lnTo>
                <a:lnTo>
                  <a:pt x="352" y="244"/>
                </a:lnTo>
                <a:lnTo>
                  <a:pt x="332" y="244"/>
                </a:lnTo>
                <a:lnTo>
                  <a:pt x="332" y="235"/>
                </a:lnTo>
                <a:lnTo>
                  <a:pt x="342" y="225"/>
                </a:lnTo>
                <a:lnTo>
                  <a:pt x="342" y="205"/>
                </a:lnTo>
                <a:lnTo>
                  <a:pt x="361" y="205"/>
                </a:lnTo>
                <a:lnTo>
                  <a:pt x="371" y="196"/>
                </a:lnTo>
                <a:lnTo>
                  <a:pt x="371" y="186"/>
                </a:lnTo>
                <a:lnTo>
                  <a:pt x="410" y="186"/>
                </a:lnTo>
                <a:lnTo>
                  <a:pt x="410" y="166"/>
                </a:lnTo>
                <a:lnTo>
                  <a:pt x="410" y="147"/>
                </a:lnTo>
                <a:lnTo>
                  <a:pt x="420" y="137"/>
                </a:lnTo>
                <a:lnTo>
                  <a:pt x="410" y="127"/>
                </a:lnTo>
                <a:lnTo>
                  <a:pt x="420" y="108"/>
                </a:lnTo>
                <a:lnTo>
                  <a:pt x="410" y="98"/>
                </a:lnTo>
                <a:lnTo>
                  <a:pt x="400" y="78"/>
                </a:lnTo>
                <a:lnTo>
                  <a:pt x="381" y="59"/>
                </a:lnTo>
                <a:lnTo>
                  <a:pt x="371" y="69"/>
                </a:lnTo>
                <a:lnTo>
                  <a:pt x="352" y="69"/>
                </a:lnTo>
                <a:lnTo>
                  <a:pt x="322" y="49"/>
                </a:lnTo>
                <a:lnTo>
                  <a:pt x="283" y="20"/>
                </a:lnTo>
                <a:lnTo>
                  <a:pt x="273" y="0"/>
                </a:lnTo>
                <a:lnTo>
                  <a:pt x="254" y="10"/>
                </a:lnTo>
                <a:lnTo>
                  <a:pt x="254" y="30"/>
                </a:lnTo>
                <a:lnTo>
                  <a:pt x="234" y="39"/>
                </a:lnTo>
                <a:lnTo>
                  <a:pt x="234" y="49"/>
                </a:lnTo>
                <a:lnTo>
                  <a:pt x="225" y="59"/>
                </a:lnTo>
                <a:lnTo>
                  <a:pt x="234" y="59"/>
                </a:lnTo>
                <a:lnTo>
                  <a:pt x="234" y="78"/>
                </a:lnTo>
                <a:lnTo>
                  <a:pt x="205" y="69"/>
                </a:lnTo>
                <a:lnTo>
                  <a:pt x="205" y="88"/>
                </a:lnTo>
                <a:lnTo>
                  <a:pt x="195" y="88"/>
                </a:lnTo>
                <a:lnTo>
                  <a:pt x="186" y="78"/>
                </a:lnTo>
                <a:lnTo>
                  <a:pt x="176" y="78"/>
                </a:lnTo>
                <a:lnTo>
                  <a:pt x="166" y="78"/>
                </a:lnTo>
                <a:lnTo>
                  <a:pt x="147" y="78"/>
                </a:lnTo>
                <a:lnTo>
                  <a:pt x="147" y="59"/>
                </a:lnTo>
                <a:lnTo>
                  <a:pt x="127" y="69"/>
                </a:lnTo>
                <a:lnTo>
                  <a:pt x="127" y="59"/>
                </a:lnTo>
                <a:lnTo>
                  <a:pt x="147" y="49"/>
                </a:lnTo>
                <a:lnTo>
                  <a:pt x="137" y="30"/>
                </a:lnTo>
                <a:lnTo>
                  <a:pt x="127" y="20"/>
                </a:lnTo>
                <a:lnTo>
                  <a:pt x="88" y="30"/>
                </a:lnTo>
                <a:lnTo>
                  <a:pt x="78" y="59"/>
                </a:lnTo>
                <a:lnTo>
                  <a:pt x="59" y="59"/>
                </a:lnTo>
                <a:lnTo>
                  <a:pt x="69" y="88"/>
                </a:lnTo>
                <a:lnTo>
                  <a:pt x="78" y="117"/>
                </a:lnTo>
                <a:lnTo>
                  <a:pt x="108" y="117"/>
                </a:lnTo>
                <a:lnTo>
                  <a:pt x="127" y="137"/>
                </a:lnTo>
                <a:lnTo>
                  <a:pt x="137" y="137"/>
                </a:lnTo>
                <a:lnTo>
                  <a:pt x="156" y="137"/>
                </a:lnTo>
                <a:lnTo>
                  <a:pt x="176" y="147"/>
                </a:lnTo>
                <a:lnTo>
                  <a:pt x="205" y="137"/>
                </a:lnTo>
                <a:lnTo>
                  <a:pt x="215" y="137"/>
                </a:lnTo>
                <a:lnTo>
                  <a:pt x="215" y="147"/>
                </a:lnTo>
                <a:lnTo>
                  <a:pt x="205" y="166"/>
                </a:lnTo>
                <a:lnTo>
                  <a:pt x="186" y="176"/>
                </a:lnTo>
                <a:lnTo>
                  <a:pt x="176" y="186"/>
                </a:lnTo>
                <a:lnTo>
                  <a:pt x="156" y="196"/>
                </a:lnTo>
                <a:lnTo>
                  <a:pt x="147" y="186"/>
                </a:lnTo>
                <a:lnTo>
                  <a:pt x="127" y="186"/>
                </a:lnTo>
                <a:lnTo>
                  <a:pt x="108" y="186"/>
                </a:lnTo>
                <a:lnTo>
                  <a:pt x="98" y="205"/>
                </a:lnTo>
                <a:lnTo>
                  <a:pt x="78" y="215"/>
                </a:lnTo>
                <a:lnTo>
                  <a:pt x="69" y="215"/>
                </a:lnTo>
                <a:lnTo>
                  <a:pt x="59" y="244"/>
                </a:lnTo>
                <a:lnTo>
                  <a:pt x="39" y="264"/>
                </a:lnTo>
                <a:lnTo>
                  <a:pt x="49" y="274"/>
                </a:lnTo>
                <a:lnTo>
                  <a:pt x="39" y="274"/>
                </a:lnTo>
                <a:lnTo>
                  <a:pt x="30" y="274"/>
                </a:lnTo>
                <a:lnTo>
                  <a:pt x="10" y="293"/>
                </a:lnTo>
                <a:lnTo>
                  <a:pt x="0" y="322"/>
                </a:lnTo>
                <a:lnTo>
                  <a:pt x="10" y="332"/>
                </a:lnTo>
                <a:lnTo>
                  <a:pt x="10" y="342"/>
                </a:lnTo>
                <a:lnTo>
                  <a:pt x="20" y="342"/>
                </a:lnTo>
                <a:close/>
              </a:path>
            </a:pathLst>
          </a:custGeom>
          <a:solidFill>
            <a:srgbClr val="C8D6DE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552" name="Rectangle 210"/>
          <p:cNvSpPr>
            <a:spLocks noChangeAspect="1" noChangeArrowheads="1"/>
          </p:cNvSpPr>
          <p:nvPr>
            <p:custDataLst>
              <p:tags r:id="rId118"/>
            </p:custDataLst>
          </p:nvPr>
        </p:nvSpPr>
        <p:spPr bwMode="auto">
          <a:xfrm>
            <a:off x="2763838" y="4918075"/>
            <a:ext cx="936625" cy="188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/>
            <a:endParaRPr lang="en-US" sz="1100"/>
          </a:p>
        </p:txBody>
      </p:sp>
      <p:sp>
        <p:nvSpPr>
          <p:cNvPr id="18553" name="Rectangle 208"/>
          <p:cNvSpPr>
            <a:spLocks noChangeAspect="1" noChangeArrowheads="1"/>
          </p:cNvSpPr>
          <p:nvPr>
            <p:custDataLst>
              <p:tags r:id="rId119"/>
            </p:custDataLst>
          </p:nvPr>
        </p:nvSpPr>
        <p:spPr bwMode="auto">
          <a:xfrm>
            <a:off x="4157663" y="3578225"/>
            <a:ext cx="936625" cy="180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/>
            <a:endParaRPr lang="en-US" sz="1100"/>
          </a:p>
        </p:txBody>
      </p:sp>
      <p:sp>
        <p:nvSpPr>
          <p:cNvPr id="18554" name="Rectangle 204"/>
          <p:cNvSpPr>
            <a:spLocks noChangeAspect="1" noChangeArrowheads="1"/>
          </p:cNvSpPr>
          <p:nvPr>
            <p:custDataLst>
              <p:tags r:id="rId120"/>
            </p:custDataLst>
          </p:nvPr>
        </p:nvSpPr>
        <p:spPr bwMode="auto">
          <a:xfrm>
            <a:off x="5864225" y="3275013"/>
            <a:ext cx="938213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/>
            <a:endParaRPr lang="en-US" sz="1100"/>
          </a:p>
        </p:txBody>
      </p:sp>
      <p:sp>
        <p:nvSpPr>
          <p:cNvPr id="171" name="Freeform 202"/>
          <p:cNvSpPr>
            <a:spLocks/>
          </p:cNvSpPr>
          <p:nvPr>
            <p:custDataLst>
              <p:tags r:id="rId121"/>
            </p:custDataLst>
          </p:nvPr>
        </p:nvSpPr>
        <p:spPr bwMode="auto">
          <a:xfrm>
            <a:off x="2489200" y="4335463"/>
            <a:ext cx="330200" cy="277812"/>
          </a:xfrm>
          <a:custGeom>
            <a:avLst/>
            <a:gdLst/>
            <a:ahLst/>
            <a:cxnLst>
              <a:cxn ang="0">
                <a:pos x="185" y="39"/>
              </a:cxn>
              <a:cxn ang="0">
                <a:pos x="204" y="20"/>
              </a:cxn>
              <a:cxn ang="0">
                <a:pos x="214" y="10"/>
              </a:cxn>
              <a:cxn ang="0">
                <a:pos x="243" y="0"/>
              </a:cxn>
              <a:cxn ang="0">
                <a:pos x="282" y="10"/>
              </a:cxn>
              <a:cxn ang="0">
                <a:pos x="341" y="59"/>
              </a:cxn>
              <a:cxn ang="0">
                <a:pos x="351" y="88"/>
              </a:cxn>
              <a:cxn ang="0">
                <a:pos x="370" y="108"/>
              </a:cxn>
              <a:cxn ang="0">
                <a:pos x="380" y="117"/>
              </a:cxn>
              <a:cxn ang="0">
                <a:pos x="390" y="137"/>
              </a:cxn>
              <a:cxn ang="0">
                <a:pos x="438" y="157"/>
              </a:cxn>
              <a:cxn ang="0">
                <a:pos x="419" y="215"/>
              </a:cxn>
              <a:cxn ang="0">
                <a:pos x="399" y="244"/>
              </a:cxn>
              <a:cxn ang="0">
                <a:pos x="429" y="254"/>
              </a:cxn>
              <a:cxn ang="0">
                <a:pos x="438" y="274"/>
              </a:cxn>
              <a:cxn ang="0">
                <a:pos x="448" y="303"/>
              </a:cxn>
              <a:cxn ang="0">
                <a:pos x="468" y="293"/>
              </a:cxn>
              <a:cxn ang="0">
                <a:pos x="468" y="332"/>
              </a:cxn>
              <a:cxn ang="0">
                <a:pos x="487" y="342"/>
              </a:cxn>
              <a:cxn ang="0">
                <a:pos x="497" y="361"/>
              </a:cxn>
              <a:cxn ang="0">
                <a:pos x="477" y="381"/>
              </a:cxn>
              <a:cxn ang="0">
                <a:pos x="429" y="381"/>
              </a:cxn>
              <a:cxn ang="0">
                <a:pos x="380" y="410"/>
              </a:cxn>
              <a:cxn ang="0">
                <a:pos x="380" y="439"/>
              </a:cxn>
              <a:cxn ang="0">
                <a:pos x="321" y="449"/>
              </a:cxn>
              <a:cxn ang="0">
                <a:pos x="282" y="420"/>
              </a:cxn>
              <a:cxn ang="0">
                <a:pos x="243" y="400"/>
              </a:cxn>
              <a:cxn ang="0">
                <a:pos x="224" y="400"/>
              </a:cxn>
              <a:cxn ang="0">
                <a:pos x="204" y="391"/>
              </a:cxn>
              <a:cxn ang="0">
                <a:pos x="195" y="439"/>
              </a:cxn>
              <a:cxn ang="0">
                <a:pos x="165" y="400"/>
              </a:cxn>
              <a:cxn ang="0">
                <a:pos x="146" y="391"/>
              </a:cxn>
              <a:cxn ang="0">
                <a:pos x="126" y="371"/>
              </a:cxn>
              <a:cxn ang="0">
                <a:pos x="117" y="400"/>
              </a:cxn>
              <a:cxn ang="0">
                <a:pos x="87" y="381"/>
              </a:cxn>
              <a:cxn ang="0">
                <a:pos x="58" y="381"/>
              </a:cxn>
              <a:cxn ang="0">
                <a:pos x="48" y="391"/>
              </a:cxn>
              <a:cxn ang="0">
                <a:pos x="19" y="342"/>
              </a:cxn>
              <a:cxn ang="0">
                <a:pos x="19" y="313"/>
              </a:cxn>
              <a:cxn ang="0">
                <a:pos x="39" y="283"/>
              </a:cxn>
              <a:cxn ang="0">
                <a:pos x="19" y="254"/>
              </a:cxn>
              <a:cxn ang="0">
                <a:pos x="58" y="225"/>
              </a:cxn>
              <a:cxn ang="0">
                <a:pos x="107" y="225"/>
              </a:cxn>
              <a:cxn ang="0">
                <a:pos x="126" y="176"/>
              </a:cxn>
              <a:cxn ang="0">
                <a:pos x="136" y="137"/>
              </a:cxn>
              <a:cxn ang="0">
                <a:pos x="165" y="127"/>
              </a:cxn>
              <a:cxn ang="0">
                <a:pos x="165" y="49"/>
              </a:cxn>
            </a:cxnLst>
            <a:rect l="0" t="0" r="r" b="b"/>
            <a:pathLst>
              <a:path w="497" h="449">
                <a:moveTo>
                  <a:pt x="165" y="49"/>
                </a:moveTo>
                <a:lnTo>
                  <a:pt x="185" y="39"/>
                </a:lnTo>
                <a:lnTo>
                  <a:pt x="195" y="39"/>
                </a:lnTo>
                <a:lnTo>
                  <a:pt x="204" y="20"/>
                </a:lnTo>
                <a:lnTo>
                  <a:pt x="214" y="20"/>
                </a:lnTo>
                <a:lnTo>
                  <a:pt x="214" y="10"/>
                </a:lnTo>
                <a:lnTo>
                  <a:pt x="214" y="0"/>
                </a:lnTo>
                <a:lnTo>
                  <a:pt x="243" y="0"/>
                </a:lnTo>
                <a:lnTo>
                  <a:pt x="273" y="10"/>
                </a:lnTo>
                <a:lnTo>
                  <a:pt x="282" y="10"/>
                </a:lnTo>
                <a:lnTo>
                  <a:pt x="312" y="49"/>
                </a:lnTo>
                <a:lnTo>
                  <a:pt x="341" y="59"/>
                </a:lnTo>
                <a:lnTo>
                  <a:pt x="351" y="69"/>
                </a:lnTo>
                <a:lnTo>
                  <a:pt x="351" y="88"/>
                </a:lnTo>
                <a:lnTo>
                  <a:pt x="360" y="108"/>
                </a:lnTo>
                <a:lnTo>
                  <a:pt x="370" y="108"/>
                </a:lnTo>
                <a:lnTo>
                  <a:pt x="390" y="108"/>
                </a:lnTo>
                <a:lnTo>
                  <a:pt x="380" y="117"/>
                </a:lnTo>
                <a:lnTo>
                  <a:pt x="380" y="127"/>
                </a:lnTo>
                <a:lnTo>
                  <a:pt x="390" y="137"/>
                </a:lnTo>
                <a:lnTo>
                  <a:pt x="409" y="127"/>
                </a:lnTo>
                <a:lnTo>
                  <a:pt x="438" y="157"/>
                </a:lnTo>
                <a:lnTo>
                  <a:pt x="448" y="176"/>
                </a:lnTo>
                <a:lnTo>
                  <a:pt x="419" y="215"/>
                </a:lnTo>
                <a:lnTo>
                  <a:pt x="390" y="235"/>
                </a:lnTo>
                <a:lnTo>
                  <a:pt x="399" y="244"/>
                </a:lnTo>
                <a:lnTo>
                  <a:pt x="419" y="264"/>
                </a:lnTo>
                <a:lnTo>
                  <a:pt x="429" y="254"/>
                </a:lnTo>
                <a:lnTo>
                  <a:pt x="448" y="264"/>
                </a:lnTo>
                <a:lnTo>
                  <a:pt x="438" y="274"/>
                </a:lnTo>
                <a:lnTo>
                  <a:pt x="429" y="283"/>
                </a:lnTo>
                <a:lnTo>
                  <a:pt x="448" y="303"/>
                </a:lnTo>
                <a:lnTo>
                  <a:pt x="458" y="293"/>
                </a:lnTo>
                <a:lnTo>
                  <a:pt x="468" y="293"/>
                </a:lnTo>
                <a:lnTo>
                  <a:pt x="477" y="303"/>
                </a:lnTo>
                <a:lnTo>
                  <a:pt x="468" y="332"/>
                </a:lnTo>
                <a:lnTo>
                  <a:pt x="487" y="332"/>
                </a:lnTo>
                <a:lnTo>
                  <a:pt x="487" y="342"/>
                </a:lnTo>
                <a:lnTo>
                  <a:pt x="487" y="352"/>
                </a:lnTo>
                <a:lnTo>
                  <a:pt x="497" y="361"/>
                </a:lnTo>
                <a:lnTo>
                  <a:pt x="487" y="371"/>
                </a:lnTo>
                <a:lnTo>
                  <a:pt x="477" y="381"/>
                </a:lnTo>
                <a:lnTo>
                  <a:pt x="458" y="381"/>
                </a:lnTo>
                <a:lnTo>
                  <a:pt x="429" y="381"/>
                </a:lnTo>
                <a:lnTo>
                  <a:pt x="399" y="391"/>
                </a:lnTo>
                <a:lnTo>
                  <a:pt x="380" y="410"/>
                </a:lnTo>
                <a:lnTo>
                  <a:pt x="380" y="420"/>
                </a:lnTo>
                <a:lnTo>
                  <a:pt x="380" y="439"/>
                </a:lnTo>
                <a:lnTo>
                  <a:pt x="360" y="449"/>
                </a:lnTo>
                <a:lnTo>
                  <a:pt x="321" y="449"/>
                </a:lnTo>
                <a:lnTo>
                  <a:pt x="312" y="439"/>
                </a:lnTo>
                <a:lnTo>
                  <a:pt x="282" y="420"/>
                </a:lnTo>
                <a:lnTo>
                  <a:pt x="263" y="420"/>
                </a:lnTo>
                <a:lnTo>
                  <a:pt x="243" y="400"/>
                </a:lnTo>
                <a:lnTo>
                  <a:pt x="224" y="400"/>
                </a:lnTo>
                <a:lnTo>
                  <a:pt x="214" y="400"/>
                </a:lnTo>
                <a:lnTo>
                  <a:pt x="204" y="391"/>
                </a:lnTo>
                <a:lnTo>
                  <a:pt x="195" y="391"/>
                </a:lnTo>
                <a:lnTo>
                  <a:pt x="195" y="439"/>
                </a:lnTo>
                <a:lnTo>
                  <a:pt x="175" y="420"/>
                </a:lnTo>
                <a:lnTo>
                  <a:pt x="165" y="400"/>
                </a:lnTo>
                <a:lnTo>
                  <a:pt x="156" y="400"/>
                </a:lnTo>
                <a:lnTo>
                  <a:pt x="146" y="391"/>
                </a:lnTo>
                <a:lnTo>
                  <a:pt x="146" y="371"/>
                </a:lnTo>
                <a:lnTo>
                  <a:pt x="126" y="371"/>
                </a:lnTo>
                <a:lnTo>
                  <a:pt x="126" y="391"/>
                </a:lnTo>
                <a:lnTo>
                  <a:pt x="117" y="400"/>
                </a:lnTo>
                <a:lnTo>
                  <a:pt x="107" y="381"/>
                </a:lnTo>
                <a:lnTo>
                  <a:pt x="87" y="381"/>
                </a:lnTo>
                <a:lnTo>
                  <a:pt x="58" y="371"/>
                </a:lnTo>
                <a:lnTo>
                  <a:pt x="58" y="381"/>
                </a:lnTo>
                <a:lnTo>
                  <a:pt x="48" y="400"/>
                </a:lnTo>
                <a:lnTo>
                  <a:pt x="48" y="391"/>
                </a:lnTo>
                <a:lnTo>
                  <a:pt x="29" y="361"/>
                </a:lnTo>
                <a:lnTo>
                  <a:pt x="19" y="342"/>
                </a:lnTo>
                <a:lnTo>
                  <a:pt x="0" y="342"/>
                </a:lnTo>
                <a:lnTo>
                  <a:pt x="19" y="313"/>
                </a:lnTo>
                <a:lnTo>
                  <a:pt x="19" y="293"/>
                </a:lnTo>
                <a:lnTo>
                  <a:pt x="39" y="283"/>
                </a:lnTo>
                <a:lnTo>
                  <a:pt x="19" y="264"/>
                </a:lnTo>
                <a:lnTo>
                  <a:pt x="19" y="254"/>
                </a:lnTo>
                <a:lnTo>
                  <a:pt x="39" y="235"/>
                </a:lnTo>
                <a:lnTo>
                  <a:pt x="58" y="225"/>
                </a:lnTo>
                <a:lnTo>
                  <a:pt x="87" y="235"/>
                </a:lnTo>
                <a:lnTo>
                  <a:pt x="107" y="225"/>
                </a:lnTo>
                <a:lnTo>
                  <a:pt x="117" y="196"/>
                </a:lnTo>
                <a:lnTo>
                  <a:pt x="126" y="176"/>
                </a:lnTo>
                <a:lnTo>
                  <a:pt x="126" y="166"/>
                </a:lnTo>
                <a:lnTo>
                  <a:pt x="136" y="137"/>
                </a:lnTo>
                <a:lnTo>
                  <a:pt x="156" y="137"/>
                </a:lnTo>
                <a:lnTo>
                  <a:pt x="165" y="127"/>
                </a:lnTo>
                <a:lnTo>
                  <a:pt x="175" y="59"/>
                </a:lnTo>
                <a:lnTo>
                  <a:pt x="165" y="4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en-US" sz="1100">
              <a:latin typeface="Polo" pitchFamily="2" charset="0"/>
              <a:cs typeface="+mn-cs"/>
            </a:endParaRPr>
          </a:p>
        </p:txBody>
      </p:sp>
      <p:sp>
        <p:nvSpPr>
          <p:cNvPr id="172" name="Freeform 201"/>
          <p:cNvSpPr>
            <a:spLocks/>
          </p:cNvSpPr>
          <p:nvPr>
            <p:custDataLst>
              <p:tags r:id="rId122"/>
            </p:custDataLst>
          </p:nvPr>
        </p:nvSpPr>
        <p:spPr bwMode="auto">
          <a:xfrm>
            <a:off x="2300288" y="4348163"/>
            <a:ext cx="306387" cy="292100"/>
          </a:xfrm>
          <a:custGeom>
            <a:avLst/>
            <a:gdLst/>
            <a:ahLst/>
            <a:cxnLst>
              <a:cxn ang="0">
                <a:pos x="322" y="390"/>
              </a:cxn>
              <a:cxn ang="0">
                <a:pos x="351" y="390"/>
              </a:cxn>
              <a:cxn ang="0">
                <a:pos x="370" y="410"/>
              </a:cxn>
              <a:cxn ang="0">
                <a:pos x="322" y="439"/>
              </a:cxn>
              <a:cxn ang="0">
                <a:pos x="283" y="439"/>
              </a:cxn>
              <a:cxn ang="0">
                <a:pos x="273" y="458"/>
              </a:cxn>
              <a:cxn ang="0">
                <a:pos x="244" y="468"/>
              </a:cxn>
              <a:cxn ang="0">
                <a:pos x="204" y="449"/>
              </a:cxn>
              <a:cxn ang="0">
                <a:pos x="195" y="410"/>
              </a:cxn>
              <a:cxn ang="0">
                <a:pos x="175" y="380"/>
              </a:cxn>
              <a:cxn ang="0">
                <a:pos x="165" y="341"/>
              </a:cxn>
              <a:cxn ang="0">
                <a:pos x="156" y="361"/>
              </a:cxn>
              <a:cxn ang="0">
                <a:pos x="117" y="351"/>
              </a:cxn>
              <a:cxn ang="0">
                <a:pos x="87" y="361"/>
              </a:cxn>
              <a:cxn ang="0">
                <a:pos x="58" y="312"/>
              </a:cxn>
              <a:cxn ang="0">
                <a:pos x="78" y="293"/>
              </a:cxn>
              <a:cxn ang="0">
                <a:pos x="48" y="263"/>
              </a:cxn>
              <a:cxn ang="0">
                <a:pos x="48" y="244"/>
              </a:cxn>
              <a:cxn ang="0">
                <a:pos x="68" y="215"/>
              </a:cxn>
              <a:cxn ang="0">
                <a:pos x="48" y="156"/>
              </a:cxn>
              <a:cxn ang="0">
                <a:pos x="19" y="166"/>
              </a:cxn>
              <a:cxn ang="0">
                <a:pos x="0" y="146"/>
              </a:cxn>
              <a:cxn ang="0">
                <a:pos x="19" y="117"/>
              </a:cxn>
              <a:cxn ang="0">
                <a:pos x="58" y="137"/>
              </a:cxn>
              <a:cxn ang="0">
                <a:pos x="68" y="127"/>
              </a:cxn>
              <a:cxn ang="0">
                <a:pos x="68" y="97"/>
              </a:cxn>
              <a:cxn ang="0">
                <a:pos x="48" y="88"/>
              </a:cxn>
              <a:cxn ang="0">
                <a:pos x="29" y="68"/>
              </a:cxn>
              <a:cxn ang="0">
                <a:pos x="39" y="68"/>
              </a:cxn>
              <a:cxn ang="0">
                <a:pos x="58" y="49"/>
              </a:cxn>
              <a:cxn ang="0">
                <a:pos x="78" y="39"/>
              </a:cxn>
              <a:cxn ang="0">
                <a:pos x="107" y="58"/>
              </a:cxn>
              <a:cxn ang="0">
                <a:pos x="136" y="78"/>
              </a:cxn>
              <a:cxn ang="0">
                <a:pos x="175" y="107"/>
              </a:cxn>
              <a:cxn ang="0">
                <a:pos x="204" y="97"/>
              </a:cxn>
              <a:cxn ang="0">
                <a:pos x="224" y="78"/>
              </a:cxn>
              <a:cxn ang="0">
                <a:pos x="224" y="49"/>
              </a:cxn>
              <a:cxn ang="0">
                <a:pos x="253" y="39"/>
              </a:cxn>
              <a:cxn ang="0">
                <a:pos x="283" y="49"/>
              </a:cxn>
              <a:cxn ang="0">
                <a:pos x="273" y="29"/>
              </a:cxn>
              <a:cxn ang="0">
                <a:pos x="312" y="29"/>
              </a:cxn>
              <a:cxn ang="0">
                <a:pos x="322" y="0"/>
              </a:cxn>
              <a:cxn ang="0">
                <a:pos x="380" y="39"/>
              </a:cxn>
              <a:cxn ang="0">
                <a:pos x="419" y="19"/>
              </a:cxn>
              <a:cxn ang="0">
                <a:pos x="439" y="39"/>
              </a:cxn>
              <a:cxn ang="0">
                <a:pos x="458" y="49"/>
              </a:cxn>
              <a:cxn ang="0">
                <a:pos x="448" y="117"/>
              </a:cxn>
              <a:cxn ang="0">
                <a:pos x="409" y="146"/>
              </a:cxn>
              <a:cxn ang="0">
                <a:pos x="409" y="176"/>
              </a:cxn>
              <a:cxn ang="0">
                <a:pos x="380" y="215"/>
              </a:cxn>
              <a:cxn ang="0">
                <a:pos x="322" y="215"/>
              </a:cxn>
              <a:cxn ang="0">
                <a:pos x="312" y="244"/>
              </a:cxn>
              <a:cxn ang="0">
                <a:pos x="312" y="273"/>
              </a:cxn>
              <a:cxn ang="0">
                <a:pos x="292" y="322"/>
              </a:cxn>
              <a:cxn ang="0">
                <a:pos x="312" y="341"/>
              </a:cxn>
              <a:cxn ang="0">
                <a:pos x="331" y="371"/>
              </a:cxn>
            </a:cxnLst>
            <a:rect l="0" t="0" r="r" b="b"/>
            <a:pathLst>
              <a:path w="458" h="468">
                <a:moveTo>
                  <a:pt x="331" y="371"/>
                </a:moveTo>
                <a:lnTo>
                  <a:pt x="322" y="390"/>
                </a:lnTo>
                <a:lnTo>
                  <a:pt x="331" y="400"/>
                </a:lnTo>
                <a:lnTo>
                  <a:pt x="351" y="390"/>
                </a:lnTo>
                <a:lnTo>
                  <a:pt x="361" y="400"/>
                </a:lnTo>
                <a:lnTo>
                  <a:pt x="370" y="410"/>
                </a:lnTo>
                <a:lnTo>
                  <a:pt x="351" y="419"/>
                </a:lnTo>
                <a:lnTo>
                  <a:pt x="322" y="439"/>
                </a:lnTo>
                <a:lnTo>
                  <a:pt x="302" y="449"/>
                </a:lnTo>
                <a:lnTo>
                  <a:pt x="283" y="439"/>
                </a:lnTo>
                <a:lnTo>
                  <a:pt x="263" y="449"/>
                </a:lnTo>
                <a:lnTo>
                  <a:pt x="273" y="458"/>
                </a:lnTo>
                <a:lnTo>
                  <a:pt x="253" y="468"/>
                </a:lnTo>
                <a:lnTo>
                  <a:pt x="244" y="468"/>
                </a:lnTo>
                <a:lnTo>
                  <a:pt x="244" y="458"/>
                </a:lnTo>
                <a:lnTo>
                  <a:pt x="204" y="449"/>
                </a:lnTo>
                <a:lnTo>
                  <a:pt x="204" y="439"/>
                </a:lnTo>
                <a:lnTo>
                  <a:pt x="195" y="410"/>
                </a:lnTo>
                <a:lnTo>
                  <a:pt x="195" y="390"/>
                </a:lnTo>
                <a:lnTo>
                  <a:pt x="175" y="380"/>
                </a:lnTo>
                <a:lnTo>
                  <a:pt x="175" y="361"/>
                </a:lnTo>
                <a:lnTo>
                  <a:pt x="165" y="341"/>
                </a:lnTo>
                <a:lnTo>
                  <a:pt x="165" y="351"/>
                </a:lnTo>
                <a:lnTo>
                  <a:pt x="156" y="361"/>
                </a:lnTo>
                <a:lnTo>
                  <a:pt x="146" y="361"/>
                </a:lnTo>
                <a:lnTo>
                  <a:pt x="117" y="351"/>
                </a:lnTo>
                <a:lnTo>
                  <a:pt x="107" y="351"/>
                </a:lnTo>
                <a:lnTo>
                  <a:pt x="87" y="361"/>
                </a:lnTo>
                <a:lnTo>
                  <a:pt x="58" y="332"/>
                </a:lnTo>
                <a:lnTo>
                  <a:pt x="58" y="312"/>
                </a:lnTo>
                <a:lnTo>
                  <a:pt x="68" y="312"/>
                </a:lnTo>
                <a:lnTo>
                  <a:pt x="78" y="293"/>
                </a:lnTo>
                <a:lnTo>
                  <a:pt x="68" y="283"/>
                </a:lnTo>
                <a:lnTo>
                  <a:pt x="48" y="263"/>
                </a:lnTo>
                <a:lnTo>
                  <a:pt x="48" y="244"/>
                </a:lnTo>
                <a:lnTo>
                  <a:pt x="58" y="215"/>
                </a:lnTo>
                <a:lnTo>
                  <a:pt x="68" y="215"/>
                </a:lnTo>
                <a:lnTo>
                  <a:pt x="68" y="185"/>
                </a:lnTo>
                <a:lnTo>
                  <a:pt x="48" y="156"/>
                </a:lnTo>
                <a:lnTo>
                  <a:pt x="39" y="156"/>
                </a:lnTo>
                <a:lnTo>
                  <a:pt x="19" y="166"/>
                </a:lnTo>
                <a:lnTo>
                  <a:pt x="9" y="156"/>
                </a:lnTo>
                <a:lnTo>
                  <a:pt x="0" y="146"/>
                </a:lnTo>
                <a:lnTo>
                  <a:pt x="19" y="137"/>
                </a:lnTo>
                <a:lnTo>
                  <a:pt x="19" y="117"/>
                </a:lnTo>
                <a:lnTo>
                  <a:pt x="39" y="127"/>
                </a:lnTo>
                <a:lnTo>
                  <a:pt x="58" y="137"/>
                </a:lnTo>
                <a:lnTo>
                  <a:pt x="68" y="146"/>
                </a:lnTo>
                <a:lnTo>
                  <a:pt x="68" y="127"/>
                </a:lnTo>
                <a:lnTo>
                  <a:pt x="78" y="117"/>
                </a:lnTo>
                <a:lnTo>
                  <a:pt x="68" y="97"/>
                </a:lnTo>
                <a:lnTo>
                  <a:pt x="48" y="88"/>
                </a:lnTo>
                <a:lnTo>
                  <a:pt x="39" y="88"/>
                </a:lnTo>
                <a:lnTo>
                  <a:pt x="29" y="68"/>
                </a:lnTo>
                <a:lnTo>
                  <a:pt x="9" y="68"/>
                </a:lnTo>
                <a:lnTo>
                  <a:pt x="39" y="68"/>
                </a:lnTo>
                <a:lnTo>
                  <a:pt x="39" y="49"/>
                </a:lnTo>
                <a:lnTo>
                  <a:pt x="58" y="49"/>
                </a:lnTo>
                <a:lnTo>
                  <a:pt x="68" y="39"/>
                </a:lnTo>
                <a:lnTo>
                  <a:pt x="78" y="39"/>
                </a:lnTo>
                <a:lnTo>
                  <a:pt x="97" y="58"/>
                </a:lnTo>
                <a:lnTo>
                  <a:pt x="107" y="58"/>
                </a:lnTo>
                <a:lnTo>
                  <a:pt x="126" y="58"/>
                </a:lnTo>
                <a:lnTo>
                  <a:pt x="136" y="78"/>
                </a:lnTo>
                <a:lnTo>
                  <a:pt x="156" y="97"/>
                </a:lnTo>
                <a:lnTo>
                  <a:pt x="175" y="107"/>
                </a:lnTo>
                <a:lnTo>
                  <a:pt x="185" y="97"/>
                </a:lnTo>
                <a:lnTo>
                  <a:pt x="204" y="97"/>
                </a:lnTo>
                <a:lnTo>
                  <a:pt x="204" y="78"/>
                </a:lnTo>
                <a:lnTo>
                  <a:pt x="224" y="78"/>
                </a:lnTo>
                <a:lnTo>
                  <a:pt x="224" y="68"/>
                </a:lnTo>
                <a:lnTo>
                  <a:pt x="224" y="49"/>
                </a:lnTo>
                <a:lnTo>
                  <a:pt x="234" y="29"/>
                </a:lnTo>
                <a:lnTo>
                  <a:pt x="253" y="39"/>
                </a:lnTo>
                <a:lnTo>
                  <a:pt x="273" y="58"/>
                </a:lnTo>
                <a:lnTo>
                  <a:pt x="283" y="49"/>
                </a:lnTo>
                <a:lnTo>
                  <a:pt x="273" y="39"/>
                </a:lnTo>
                <a:lnTo>
                  <a:pt x="273" y="29"/>
                </a:lnTo>
                <a:lnTo>
                  <a:pt x="292" y="29"/>
                </a:lnTo>
                <a:lnTo>
                  <a:pt x="312" y="29"/>
                </a:lnTo>
                <a:lnTo>
                  <a:pt x="322" y="19"/>
                </a:lnTo>
                <a:lnTo>
                  <a:pt x="322" y="0"/>
                </a:lnTo>
                <a:lnTo>
                  <a:pt x="361" y="19"/>
                </a:lnTo>
                <a:lnTo>
                  <a:pt x="380" y="39"/>
                </a:lnTo>
                <a:lnTo>
                  <a:pt x="390" y="39"/>
                </a:lnTo>
                <a:lnTo>
                  <a:pt x="419" y="19"/>
                </a:lnTo>
                <a:lnTo>
                  <a:pt x="429" y="19"/>
                </a:lnTo>
                <a:lnTo>
                  <a:pt x="439" y="39"/>
                </a:lnTo>
                <a:lnTo>
                  <a:pt x="458" y="29"/>
                </a:lnTo>
                <a:lnTo>
                  <a:pt x="458" y="49"/>
                </a:lnTo>
                <a:lnTo>
                  <a:pt x="458" y="107"/>
                </a:lnTo>
                <a:lnTo>
                  <a:pt x="448" y="117"/>
                </a:lnTo>
                <a:lnTo>
                  <a:pt x="429" y="117"/>
                </a:lnTo>
                <a:lnTo>
                  <a:pt x="409" y="146"/>
                </a:lnTo>
                <a:lnTo>
                  <a:pt x="419" y="156"/>
                </a:lnTo>
                <a:lnTo>
                  <a:pt x="409" y="176"/>
                </a:lnTo>
                <a:lnTo>
                  <a:pt x="390" y="205"/>
                </a:lnTo>
                <a:lnTo>
                  <a:pt x="380" y="215"/>
                </a:lnTo>
                <a:lnTo>
                  <a:pt x="341" y="205"/>
                </a:lnTo>
                <a:lnTo>
                  <a:pt x="322" y="215"/>
                </a:lnTo>
                <a:lnTo>
                  <a:pt x="302" y="234"/>
                </a:lnTo>
                <a:lnTo>
                  <a:pt x="312" y="244"/>
                </a:lnTo>
                <a:lnTo>
                  <a:pt x="322" y="263"/>
                </a:lnTo>
                <a:lnTo>
                  <a:pt x="312" y="273"/>
                </a:lnTo>
                <a:lnTo>
                  <a:pt x="302" y="293"/>
                </a:lnTo>
                <a:lnTo>
                  <a:pt x="292" y="322"/>
                </a:lnTo>
                <a:lnTo>
                  <a:pt x="302" y="322"/>
                </a:lnTo>
                <a:lnTo>
                  <a:pt x="312" y="341"/>
                </a:lnTo>
                <a:lnTo>
                  <a:pt x="331" y="3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en-US" sz="1100">
              <a:latin typeface="Polo" pitchFamily="2" charset="0"/>
              <a:cs typeface="+mn-cs"/>
            </a:endParaRPr>
          </a:p>
        </p:txBody>
      </p:sp>
      <p:sp>
        <p:nvSpPr>
          <p:cNvPr id="18557" name="Freeform 197"/>
          <p:cNvSpPr>
            <a:spLocks noChangeAspect="1"/>
          </p:cNvSpPr>
          <p:nvPr>
            <p:custDataLst>
              <p:tags r:id="rId123"/>
            </p:custDataLst>
          </p:nvPr>
        </p:nvSpPr>
        <p:spPr bwMode="auto">
          <a:xfrm>
            <a:off x="4195763" y="5064125"/>
            <a:ext cx="415925" cy="277813"/>
          </a:xfrm>
          <a:custGeom>
            <a:avLst/>
            <a:gdLst>
              <a:gd name="T0" fmla="*/ 325275 w 624"/>
              <a:gd name="T1" fmla="*/ 222745 h 449"/>
              <a:gd name="T2" fmla="*/ 344605 w 624"/>
              <a:gd name="T3" fmla="*/ 210989 h 449"/>
              <a:gd name="T4" fmla="*/ 351270 w 624"/>
              <a:gd name="T5" fmla="*/ 198614 h 449"/>
              <a:gd name="T6" fmla="*/ 370600 w 624"/>
              <a:gd name="T7" fmla="*/ 192427 h 449"/>
              <a:gd name="T8" fmla="*/ 389930 w 624"/>
              <a:gd name="T9" fmla="*/ 192427 h 449"/>
              <a:gd name="T10" fmla="*/ 389930 w 624"/>
              <a:gd name="T11" fmla="*/ 174483 h 449"/>
              <a:gd name="T12" fmla="*/ 415925 w 624"/>
              <a:gd name="T13" fmla="*/ 174483 h 449"/>
              <a:gd name="T14" fmla="*/ 403261 w 624"/>
              <a:gd name="T15" fmla="*/ 162727 h 449"/>
              <a:gd name="T16" fmla="*/ 409926 w 624"/>
              <a:gd name="T17" fmla="*/ 138597 h 449"/>
              <a:gd name="T18" fmla="*/ 396595 w 624"/>
              <a:gd name="T19" fmla="*/ 126841 h 449"/>
              <a:gd name="T20" fmla="*/ 409926 w 624"/>
              <a:gd name="T21" fmla="*/ 120653 h 449"/>
              <a:gd name="T22" fmla="*/ 415925 w 624"/>
              <a:gd name="T23" fmla="*/ 108897 h 449"/>
              <a:gd name="T24" fmla="*/ 403261 w 624"/>
              <a:gd name="T25" fmla="*/ 102710 h 449"/>
              <a:gd name="T26" fmla="*/ 389930 w 624"/>
              <a:gd name="T27" fmla="*/ 78579 h 449"/>
              <a:gd name="T28" fmla="*/ 377265 w 624"/>
              <a:gd name="T29" fmla="*/ 66823 h 449"/>
              <a:gd name="T30" fmla="*/ 363934 w 624"/>
              <a:gd name="T31" fmla="*/ 48261 h 449"/>
              <a:gd name="T32" fmla="*/ 351270 w 624"/>
              <a:gd name="T33" fmla="*/ 36505 h 449"/>
              <a:gd name="T34" fmla="*/ 331940 w 624"/>
              <a:gd name="T35" fmla="*/ 30318 h 449"/>
              <a:gd name="T36" fmla="*/ 318609 w 624"/>
              <a:gd name="T37" fmla="*/ 42693 h 449"/>
              <a:gd name="T38" fmla="*/ 299279 w 624"/>
              <a:gd name="T39" fmla="*/ 36505 h 449"/>
              <a:gd name="T40" fmla="*/ 273284 w 624"/>
              <a:gd name="T41" fmla="*/ 36505 h 449"/>
              <a:gd name="T42" fmla="*/ 259953 w 624"/>
              <a:gd name="T43" fmla="*/ 42693 h 449"/>
              <a:gd name="T44" fmla="*/ 253954 w 624"/>
              <a:gd name="T45" fmla="*/ 36505 h 449"/>
              <a:gd name="T46" fmla="*/ 233958 w 624"/>
              <a:gd name="T47" fmla="*/ 42693 h 449"/>
              <a:gd name="T48" fmla="*/ 227959 w 624"/>
              <a:gd name="T49" fmla="*/ 54449 h 449"/>
              <a:gd name="T50" fmla="*/ 221293 w 624"/>
              <a:gd name="T51" fmla="*/ 60636 h 449"/>
              <a:gd name="T52" fmla="*/ 201964 w 624"/>
              <a:gd name="T53" fmla="*/ 48261 h 449"/>
              <a:gd name="T54" fmla="*/ 195298 w 624"/>
              <a:gd name="T55" fmla="*/ 30318 h 449"/>
              <a:gd name="T56" fmla="*/ 162637 w 624"/>
              <a:gd name="T57" fmla="*/ 0 h 449"/>
              <a:gd name="T58" fmla="*/ 136642 w 624"/>
              <a:gd name="T59" fmla="*/ 6187 h 449"/>
              <a:gd name="T60" fmla="*/ 91317 w 624"/>
              <a:gd name="T61" fmla="*/ 12375 h 449"/>
              <a:gd name="T62" fmla="*/ 77986 w 624"/>
              <a:gd name="T63" fmla="*/ 17943 h 449"/>
              <a:gd name="T64" fmla="*/ 45325 w 624"/>
              <a:gd name="T65" fmla="*/ 12375 h 449"/>
              <a:gd name="T66" fmla="*/ 13331 w 624"/>
              <a:gd name="T67" fmla="*/ 0 h 449"/>
              <a:gd name="T68" fmla="*/ 13331 w 624"/>
              <a:gd name="T69" fmla="*/ 12375 h 449"/>
              <a:gd name="T70" fmla="*/ 0 w 624"/>
              <a:gd name="T71" fmla="*/ 12375 h 449"/>
              <a:gd name="T72" fmla="*/ 13331 w 624"/>
              <a:gd name="T73" fmla="*/ 48261 h 449"/>
              <a:gd name="T74" fmla="*/ 19330 w 624"/>
              <a:gd name="T75" fmla="*/ 96523 h 449"/>
              <a:gd name="T76" fmla="*/ 32661 w 624"/>
              <a:gd name="T77" fmla="*/ 174483 h 449"/>
              <a:gd name="T78" fmla="*/ 45325 w 624"/>
              <a:gd name="T79" fmla="*/ 210989 h 449"/>
              <a:gd name="T80" fmla="*/ 51991 w 624"/>
              <a:gd name="T81" fmla="*/ 222745 h 449"/>
              <a:gd name="T82" fmla="*/ 65322 w 624"/>
              <a:gd name="T83" fmla="*/ 210989 h 449"/>
              <a:gd name="T84" fmla="*/ 71320 w 624"/>
              <a:gd name="T85" fmla="*/ 204801 h 449"/>
              <a:gd name="T86" fmla="*/ 84651 w 624"/>
              <a:gd name="T87" fmla="*/ 192427 h 449"/>
              <a:gd name="T88" fmla="*/ 97316 w 624"/>
              <a:gd name="T89" fmla="*/ 192427 h 449"/>
              <a:gd name="T90" fmla="*/ 97316 w 624"/>
              <a:gd name="T91" fmla="*/ 210989 h 449"/>
              <a:gd name="T92" fmla="*/ 103981 w 624"/>
              <a:gd name="T93" fmla="*/ 222745 h 449"/>
              <a:gd name="T94" fmla="*/ 110647 w 624"/>
              <a:gd name="T95" fmla="*/ 228932 h 449"/>
              <a:gd name="T96" fmla="*/ 117312 w 624"/>
              <a:gd name="T97" fmla="*/ 240688 h 449"/>
              <a:gd name="T98" fmla="*/ 136642 w 624"/>
              <a:gd name="T99" fmla="*/ 240688 h 449"/>
              <a:gd name="T100" fmla="*/ 162637 w 624"/>
              <a:gd name="T101" fmla="*/ 253063 h 449"/>
              <a:gd name="T102" fmla="*/ 175968 w 624"/>
              <a:gd name="T103" fmla="*/ 246875 h 449"/>
              <a:gd name="T104" fmla="*/ 201964 w 624"/>
              <a:gd name="T105" fmla="*/ 240688 h 449"/>
              <a:gd name="T106" fmla="*/ 227959 w 624"/>
              <a:gd name="T107" fmla="*/ 246875 h 449"/>
              <a:gd name="T108" fmla="*/ 233958 w 624"/>
              <a:gd name="T109" fmla="*/ 271006 h 449"/>
              <a:gd name="T110" fmla="*/ 240623 w 624"/>
              <a:gd name="T111" fmla="*/ 277193 h 449"/>
              <a:gd name="T112" fmla="*/ 253954 w 624"/>
              <a:gd name="T113" fmla="*/ 271006 h 449"/>
              <a:gd name="T114" fmla="*/ 253954 w 624"/>
              <a:gd name="T115" fmla="*/ 259250 h 449"/>
              <a:gd name="T116" fmla="*/ 240623 w 624"/>
              <a:gd name="T117" fmla="*/ 240688 h 449"/>
              <a:gd name="T118" fmla="*/ 259953 w 624"/>
              <a:gd name="T119" fmla="*/ 235119 h 449"/>
              <a:gd name="T120" fmla="*/ 299279 w 624"/>
              <a:gd name="T121" fmla="*/ 228932 h 449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624"/>
              <a:gd name="T184" fmla="*/ 0 h 449"/>
              <a:gd name="T185" fmla="*/ 624 w 624"/>
              <a:gd name="T186" fmla="*/ 449 h 449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624" h="449">
                <a:moveTo>
                  <a:pt x="468" y="361"/>
                </a:moveTo>
                <a:lnTo>
                  <a:pt x="488" y="361"/>
                </a:lnTo>
                <a:lnTo>
                  <a:pt x="498" y="361"/>
                </a:lnTo>
                <a:lnTo>
                  <a:pt x="517" y="342"/>
                </a:lnTo>
                <a:lnTo>
                  <a:pt x="517" y="322"/>
                </a:lnTo>
                <a:lnTo>
                  <a:pt x="527" y="322"/>
                </a:lnTo>
                <a:lnTo>
                  <a:pt x="546" y="322"/>
                </a:lnTo>
                <a:lnTo>
                  <a:pt x="556" y="312"/>
                </a:lnTo>
                <a:lnTo>
                  <a:pt x="566" y="312"/>
                </a:lnTo>
                <a:lnTo>
                  <a:pt x="585" y="312"/>
                </a:lnTo>
                <a:lnTo>
                  <a:pt x="585" y="303"/>
                </a:lnTo>
                <a:lnTo>
                  <a:pt x="585" y="283"/>
                </a:lnTo>
                <a:lnTo>
                  <a:pt x="595" y="283"/>
                </a:lnTo>
                <a:lnTo>
                  <a:pt x="624" y="283"/>
                </a:lnTo>
                <a:lnTo>
                  <a:pt x="615" y="273"/>
                </a:lnTo>
                <a:lnTo>
                  <a:pt x="605" y="264"/>
                </a:lnTo>
                <a:lnTo>
                  <a:pt x="605" y="244"/>
                </a:lnTo>
                <a:lnTo>
                  <a:pt x="615" y="225"/>
                </a:lnTo>
                <a:lnTo>
                  <a:pt x="605" y="215"/>
                </a:lnTo>
                <a:lnTo>
                  <a:pt x="595" y="205"/>
                </a:lnTo>
                <a:lnTo>
                  <a:pt x="605" y="195"/>
                </a:lnTo>
                <a:lnTo>
                  <a:pt x="615" y="195"/>
                </a:lnTo>
                <a:lnTo>
                  <a:pt x="624" y="195"/>
                </a:lnTo>
                <a:lnTo>
                  <a:pt x="624" y="176"/>
                </a:lnTo>
                <a:lnTo>
                  <a:pt x="624" y="166"/>
                </a:lnTo>
                <a:lnTo>
                  <a:pt x="605" y="166"/>
                </a:lnTo>
                <a:lnTo>
                  <a:pt x="595" y="147"/>
                </a:lnTo>
                <a:lnTo>
                  <a:pt x="585" y="127"/>
                </a:lnTo>
                <a:lnTo>
                  <a:pt x="585" y="117"/>
                </a:lnTo>
                <a:lnTo>
                  <a:pt x="566" y="108"/>
                </a:lnTo>
                <a:lnTo>
                  <a:pt x="556" y="88"/>
                </a:lnTo>
                <a:lnTo>
                  <a:pt x="546" y="78"/>
                </a:lnTo>
                <a:lnTo>
                  <a:pt x="537" y="78"/>
                </a:lnTo>
                <a:lnTo>
                  <a:pt x="527" y="59"/>
                </a:lnTo>
                <a:lnTo>
                  <a:pt x="517" y="49"/>
                </a:lnTo>
                <a:lnTo>
                  <a:pt x="498" y="49"/>
                </a:lnTo>
                <a:lnTo>
                  <a:pt x="488" y="59"/>
                </a:lnTo>
                <a:lnTo>
                  <a:pt x="478" y="69"/>
                </a:lnTo>
                <a:lnTo>
                  <a:pt x="468" y="69"/>
                </a:lnTo>
                <a:lnTo>
                  <a:pt x="449" y="59"/>
                </a:lnTo>
                <a:lnTo>
                  <a:pt x="429" y="59"/>
                </a:lnTo>
                <a:lnTo>
                  <a:pt x="410" y="59"/>
                </a:lnTo>
                <a:lnTo>
                  <a:pt x="410" y="78"/>
                </a:lnTo>
                <a:lnTo>
                  <a:pt x="390" y="69"/>
                </a:lnTo>
                <a:lnTo>
                  <a:pt x="390" y="59"/>
                </a:lnTo>
                <a:lnTo>
                  <a:pt x="381" y="59"/>
                </a:lnTo>
                <a:lnTo>
                  <a:pt x="371" y="69"/>
                </a:lnTo>
                <a:lnTo>
                  <a:pt x="351" y="69"/>
                </a:lnTo>
                <a:lnTo>
                  <a:pt x="351" y="78"/>
                </a:lnTo>
                <a:lnTo>
                  <a:pt x="342" y="88"/>
                </a:lnTo>
                <a:lnTo>
                  <a:pt x="332" y="88"/>
                </a:lnTo>
                <a:lnTo>
                  <a:pt x="332" y="98"/>
                </a:lnTo>
                <a:lnTo>
                  <a:pt x="322" y="98"/>
                </a:lnTo>
                <a:lnTo>
                  <a:pt x="303" y="78"/>
                </a:lnTo>
                <a:lnTo>
                  <a:pt x="283" y="78"/>
                </a:lnTo>
                <a:lnTo>
                  <a:pt x="293" y="49"/>
                </a:lnTo>
                <a:lnTo>
                  <a:pt x="254" y="20"/>
                </a:lnTo>
                <a:lnTo>
                  <a:pt x="244" y="0"/>
                </a:lnTo>
                <a:lnTo>
                  <a:pt x="215" y="0"/>
                </a:lnTo>
                <a:lnTo>
                  <a:pt x="205" y="10"/>
                </a:lnTo>
                <a:lnTo>
                  <a:pt x="156" y="20"/>
                </a:lnTo>
                <a:lnTo>
                  <a:pt x="137" y="20"/>
                </a:lnTo>
                <a:lnTo>
                  <a:pt x="117" y="29"/>
                </a:lnTo>
                <a:lnTo>
                  <a:pt x="107" y="20"/>
                </a:lnTo>
                <a:lnTo>
                  <a:pt x="68" y="20"/>
                </a:lnTo>
                <a:lnTo>
                  <a:pt x="39" y="20"/>
                </a:lnTo>
                <a:lnTo>
                  <a:pt x="20" y="0"/>
                </a:lnTo>
                <a:lnTo>
                  <a:pt x="20" y="10"/>
                </a:lnTo>
                <a:lnTo>
                  <a:pt x="20" y="20"/>
                </a:lnTo>
                <a:lnTo>
                  <a:pt x="0" y="20"/>
                </a:lnTo>
                <a:lnTo>
                  <a:pt x="10" y="49"/>
                </a:lnTo>
                <a:lnTo>
                  <a:pt x="20" y="78"/>
                </a:lnTo>
                <a:lnTo>
                  <a:pt x="20" y="108"/>
                </a:lnTo>
                <a:lnTo>
                  <a:pt x="29" y="156"/>
                </a:lnTo>
                <a:lnTo>
                  <a:pt x="49" y="215"/>
                </a:lnTo>
                <a:lnTo>
                  <a:pt x="49" y="283"/>
                </a:lnTo>
                <a:lnTo>
                  <a:pt x="68" y="322"/>
                </a:lnTo>
                <a:lnTo>
                  <a:pt x="68" y="342"/>
                </a:lnTo>
                <a:lnTo>
                  <a:pt x="68" y="361"/>
                </a:lnTo>
                <a:lnTo>
                  <a:pt x="78" y="361"/>
                </a:lnTo>
                <a:lnTo>
                  <a:pt x="78" y="351"/>
                </a:lnTo>
                <a:lnTo>
                  <a:pt x="98" y="342"/>
                </a:lnTo>
                <a:lnTo>
                  <a:pt x="107" y="342"/>
                </a:lnTo>
                <a:lnTo>
                  <a:pt x="107" y="332"/>
                </a:lnTo>
                <a:lnTo>
                  <a:pt x="117" y="322"/>
                </a:lnTo>
                <a:lnTo>
                  <a:pt x="127" y="312"/>
                </a:lnTo>
                <a:lnTo>
                  <a:pt x="137" y="312"/>
                </a:lnTo>
                <a:lnTo>
                  <a:pt x="146" y="312"/>
                </a:lnTo>
                <a:lnTo>
                  <a:pt x="156" y="322"/>
                </a:lnTo>
                <a:lnTo>
                  <a:pt x="146" y="342"/>
                </a:lnTo>
                <a:lnTo>
                  <a:pt x="146" y="361"/>
                </a:lnTo>
                <a:lnTo>
                  <a:pt x="156" y="361"/>
                </a:lnTo>
                <a:lnTo>
                  <a:pt x="166" y="361"/>
                </a:lnTo>
                <a:lnTo>
                  <a:pt x="166" y="371"/>
                </a:lnTo>
                <a:lnTo>
                  <a:pt x="166" y="381"/>
                </a:lnTo>
                <a:lnTo>
                  <a:pt x="176" y="390"/>
                </a:lnTo>
                <a:lnTo>
                  <a:pt x="195" y="390"/>
                </a:lnTo>
                <a:lnTo>
                  <a:pt x="205" y="390"/>
                </a:lnTo>
                <a:lnTo>
                  <a:pt x="224" y="400"/>
                </a:lnTo>
                <a:lnTo>
                  <a:pt x="244" y="410"/>
                </a:lnTo>
                <a:lnTo>
                  <a:pt x="254" y="410"/>
                </a:lnTo>
                <a:lnTo>
                  <a:pt x="264" y="400"/>
                </a:lnTo>
                <a:lnTo>
                  <a:pt x="283" y="390"/>
                </a:lnTo>
                <a:lnTo>
                  <a:pt x="303" y="390"/>
                </a:lnTo>
                <a:lnTo>
                  <a:pt x="322" y="400"/>
                </a:lnTo>
                <a:lnTo>
                  <a:pt x="342" y="400"/>
                </a:lnTo>
                <a:lnTo>
                  <a:pt x="342" y="420"/>
                </a:lnTo>
                <a:lnTo>
                  <a:pt x="351" y="439"/>
                </a:lnTo>
                <a:lnTo>
                  <a:pt x="351" y="449"/>
                </a:lnTo>
                <a:lnTo>
                  <a:pt x="361" y="449"/>
                </a:lnTo>
                <a:lnTo>
                  <a:pt x="371" y="439"/>
                </a:lnTo>
                <a:lnTo>
                  <a:pt x="381" y="439"/>
                </a:lnTo>
                <a:lnTo>
                  <a:pt x="381" y="420"/>
                </a:lnTo>
                <a:lnTo>
                  <a:pt x="361" y="410"/>
                </a:lnTo>
                <a:lnTo>
                  <a:pt x="361" y="390"/>
                </a:lnTo>
                <a:lnTo>
                  <a:pt x="361" y="381"/>
                </a:lnTo>
                <a:lnTo>
                  <a:pt x="390" y="381"/>
                </a:lnTo>
                <a:lnTo>
                  <a:pt x="420" y="371"/>
                </a:lnTo>
                <a:lnTo>
                  <a:pt x="449" y="371"/>
                </a:lnTo>
                <a:lnTo>
                  <a:pt x="468" y="361"/>
                </a:lnTo>
                <a:close/>
              </a:path>
            </a:pathLst>
          </a:custGeom>
          <a:solidFill>
            <a:srgbClr val="C0C0C0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558" name="Freeform 196"/>
          <p:cNvSpPr>
            <a:spLocks noChangeAspect="1"/>
          </p:cNvSpPr>
          <p:nvPr>
            <p:custDataLst>
              <p:tags r:id="rId124"/>
            </p:custDataLst>
          </p:nvPr>
        </p:nvSpPr>
        <p:spPr bwMode="auto">
          <a:xfrm>
            <a:off x="4124325" y="4795838"/>
            <a:ext cx="430213" cy="328612"/>
          </a:xfrm>
          <a:custGeom>
            <a:avLst/>
            <a:gdLst>
              <a:gd name="T0" fmla="*/ 84840 w 644"/>
              <a:gd name="T1" fmla="*/ 280599 h 527"/>
              <a:gd name="T2" fmla="*/ 97533 w 644"/>
              <a:gd name="T3" fmla="*/ 274364 h 527"/>
              <a:gd name="T4" fmla="*/ 149639 w 644"/>
              <a:gd name="T5" fmla="*/ 286211 h 527"/>
              <a:gd name="T6" fmla="*/ 175693 w 644"/>
              <a:gd name="T7" fmla="*/ 274364 h 527"/>
              <a:gd name="T8" fmla="*/ 227131 w 644"/>
              <a:gd name="T9" fmla="*/ 268128 h 527"/>
              <a:gd name="T10" fmla="*/ 259865 w 644"/>
              <a:gd name="T11" fmla="*/ 316765 h 527"/>
              <a:gd name="T12" fmla="*/ 292598 w 644"/>
              <a:gd name="T13" fmla="*/ 329237 h 527"/>
              <a:gd name="T14" fmla="*/ 305291 w 644"/>
              <a:gd name="T15" fmla="*/ 316765 h 527"/>
              <a:gd name="T16" fmla="*/ 325332 w 644"/>
              <a:gd name="T17" fmla="*/ 304918 h 527"/>
              <a:gd name="T18" fmla="*/ 344705 w 644"/>
              <a:gd name="T19" fmla="*/ 316765 h 527"/>
              <a:gd name="T20" fmla="*/ 370758 w 644"/>
              <a:gd name="T21" fmla="*/ 304918 h 527"/>
              <a:gd name="T22" fmla="*/ 396811 w 644"/>
              <a:gd name="T23" fmla="*/ 304918 h 527"/>
              <a:gd name="T24" fmla="*/ 409504 w 644"/>
              <a:gd name="T25" fmla="*/ 286211 h 527"/>
              <a:gd name="T26" fmla="*/ 422865 w 644"/>
              <a:gd name="T27" fmla="*/ 274364 h 527"/>
              <a:gd name="T28" fmla="*/ 416184 w 644"/>
              <a:gd name="T29" fmla="*/ 256281 h 527"/>
              <a:gd name="T30" fmla="*/ 429545 w 644"/>
              <a:gd name="T31" fmla="*/ 231962 h 527"/>
              <a:gd name="T32" fmla="*/ 429545 w 644"/>
              <a:gd name="T33" fmla="*/ 219491 h 527"/>
              <a:gd name="T34" fmla="*/ 422865 w 644"/>
              <a:gd name="T35" fmla="*/ 201408 h 527"/>
              <a:gd name="T36" fmla="*/ 409504 w 644"/>
              <a:gd name="T37" fmla="*/ 183325 h 527"/>
              <a:gd name="T38" fmla="*/ 383451 w 644"/>
              <a:gd name="T39" fmla="*/ 195172 h 527"/>
              <a:gd name="T40" fmla="*/ 370758 w 644"/>
              <a:gd name="T41" fmla="*/ 188937 h 527"/>
              <a:gd name="T42" fmla="*/ 370758 w 644"/>
              <a:gd name="T43" fmla="*/ 152147 h 527"/>
              <a:gd name="T44" fmla="*/ 370758 w 644"/>
              <a:gd name="T45" fmla="*/ 139676 h 527"/>
              <a:gd name="T46" fmla="*/ 357397 w 644"/>
              <a:gd name="T47" fmla="*/ 145912 h 527"/>
              <a:gd name="T48" fmla="*/ 318652 w 644"/>
              <a:gd name="T49" fmla="*/ 139676 h 527"/>
              <a:gd name="T50" fmla="*/ 299279 w 644"/>
              <a:gd name="T51" fmla="*/ 115357 h 527"/>
              <a:gd name="T52" fmla="*/ 273225 w 644"/>
              <a:gd name="T53" fmla="*/ 109746 h 527"/>
              <a:gd name="T54" fmla="*/ 247172 w 644"/>
              <a:gd name="T55" fmla="*/ 91039 h 527"/>
              <a:gd name="T56" fmla="*/ 201746 w 644"/>
              <a:gd name="T57" fmla="*/ 48637 h 527"/>
              <a:gd name="T58" fmla="*/ 163000 w 644"/>
              <a:gd name="T59" fmla="*/ 30554 h 527"/>
              <a:gd name="T60" fmla="*/ 123586 w 644"/>
              <a:gd name="T61" fmla="*/ 11848 h 527"/>
              <a:gd name="T62" fmla="*/ 97533 w 644"/>
              <a:gd name="T63" fmla="*/ 24319 h 527"/>
              <a:gd name="T64" fmla="*/ 84840 w 644"/>
              <a:gd name="T65" fmla="*/ 48637 h 527"/>
              <a:gd name="T66" fmla="*/ 84840 w 644"/>
              <a:gd name="T67" fmla="*/ 72956 h 527"/>
              <a:gd name="T68" fmla="*/ 71479 w 644"/>
              <a:gd name="T69" fmla="*/ 79191 h 527"/>
              <a:gd name="T70" fmla="*/ 38746 w 644"/>
              <a:gd name="T71" fmla="*/ 79191 h 527"/>
              <a:gd name="T72" fmla="*/ 26053 w 644"/>
              <a:gd name="T73" fmla="*/ 97274 h 527"/>
              <a:gd name="T74" fmla="*/ 12693 w 644"/>
              <a:gd name="T75" fmla="*/ 109746 h 527"/>
              <a:gd name="T76" fmla="*/ 12693 w 644"/>
              <a:gd name="T77" fmla="*/ 145912 h 527"/>
              <a:gd name="T78" fmla="*/ 19373 w 644"/>
              <a:gd name="T79" fmla="*/ 170854 h 527"/>
              <a:gd name="T80" fmla="*/ 6680 w 644"/>
              <a:gd name="T81" fmla="*/ 183325 h 527"/>
              <a:gd name="T82" fmla="*/ 0 w 644"/>
              <a:gd name="T83" fmla="*/ 207643 h 527"/>
              <a:gd name="T84" fmla="*/ 26053 w 644"/>
              <a:gd name="T85" fmla="*/ 201408 h 527"/>
              <a:gd name="T86" fmla="*/ 58787 w 644"/>
              <a:gd name="T87" fmla="*/ 201408 h 527"/>
              <a:gd name="T88" fmla="*/ 58787 w 644"/>
              <a:gd name="T89" fmla="*/ 213255 h 527"/>
              <a:gd name="T90" fmla="*/ 32734 w 644"/>
              <a:gd name="T91" fmla="*/ 219491 h 527"/>
              <a:gd name="T92" fmla="*/ 58787 w 644"/>
              <a:gd name="T93" fmla="*/ 261893 h 527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644"/>
              <a:gd name="T142" fmla="*/ 0 h 527"/>
              <a:gd name="T143" fmla="*/ 644 w 644"/>
              <a:gd name="T144" fmla="*/ 527 h 527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644" h="527">
                <a:moveTo>
                  <a:pt x="107" y="449"/>
                </a:moveTo>
                <a:lnTo>
                  <a:pt x="127" y="449"/>
                </a:lnTo>
                <a:lnTo>
                  <a:pt x="127" y="439"/>
                </a:lnTo>
                <a:lnTo>
                  <a:pt x="127" y="429"/>
                </a:lnTo>
                <a:lnTo>
                  <a:pt x="146" y="439"/>
                </a:lnTo>
                <a:lnTo>
                  <a:pt x="175" y="449"/>
                </a:lnTo>
                <a:lnTo>
                  <a:pt x="214" y="449"/>
                </a:lnTo>
                <a:lnTo>
                  <a:pt x="224" y="458"/>
                </a:lnTo>
                <a:lnTo>
                  <a:pt x="244" y="449"/>
                </a:lnTo>
                <a:lnTo>
                  <a:pt x="244" y="439"/>
                </a:lnTo>
                <a:lnTo>
                  <a:pt x="263" y="439"/>
                </a:lnTo>
                <a:lnTo>
                  <a:pt x="312" y="439"/>
                </a:lnTo>
                <a:lnTo>
                  <a:pt x="322" y="429"/>
                </a:lnTo>
                <a:lnTo>
                  <a:pt x="341" y="429"/>
                </a:lnTo>
                <a:lnTo>
                  <a:pt x="361" y="449"/>
                </a:lnTo>
                <a:lnTo>
                  <a:pt x="400" y="478"/>
                </a:lnTo>
                <a:lnTo>
                  <a:pt x="390" y="507"/>
                </a:lnTo>
                <a:lnTo>
                  <a:pt x="410" y="507"/>
                </a:lnTo>
                <a:lnTo>
                  <a:pt x="429" y="527"/>
                </a:lnTo>
                <a:lnTo>
                  <a:pt x="439" y="527"/>
                </a:lnTo>
                <a:lnTo>
                  <a:pt x="439" y="517"/>
                </a:lnTo>
                <a:lnTo>
                  <a:pt x="449" y="517"/>
                </a:lnTo>
                <a:lnTo>
                  <a:pt x="458" y="507"/>
                </a:lnTo>
                <a:lnTo>
                  <a:pt x="458" y="498"/>
                </a:lnTo>
                <a:lnTo>
                  <a:pt x="478" y="498"/>
                </a:lnTo>
                <a:lnTo>
                  <a:pt x="488" y="488"/>
                </a:lnTo>
                <a:lnTo>
                  <a:pt x="497" y="488"/>
                </a:lnTo>
                <a:lnTo>
                  <a:pt x="497" y="498"/>
                </a:lnTo>
                <a:lnTo>
                  <a:pt x="517" y="507"/>
                </a:lnTo>
                <a:lnTo>
                  <a:pt x="517" y="488"/>
                </a:lnTo>
                <a:lnTo>
                  <a:pt x="536" y="488"/>
                </a:lnTo>
                <a:lnTo>
                  <a:pt x="556" y="488"/>
                </a:lnTo>
                <a:lnTo>
                  <a:pt x="575" y="498"/>
                </a:lnTo>
                <a:lnTo>
                  <a:pt x="585" y="498"/>
                </a:lnTo>
                <a:lnTo>
                  <a:pt x="595" y="488"/>
                </a:lnTo>
                <a:lnTo>
                  <a:pt x="605" y="478"/>
                </a:lnTo>
                <a:lnTo>
                  <a:pt x="624" y="478"/>
                </a:lnTo>
                <a:lnTo>
                  <a:pt x="614" y="458"/>
                </a:lnTo>
                <a:lnTo>
                  <a:pt x="624" y="449"/>
                </a:lnTo>
                <a:lnTo>
                  <a:pt x="624" y="439"/>
                </a:lnTo>
                <a:lnTo>
                  <a:pt x="634" y="439"/>
                </a:lnTo>
                <a:lnTo>
                  <a:pt x="634" y="429"/>
                </a:lnTo>
                <a:lnTo>
                  <a:pt x="624" y="419"/>
                </a:lnTo>
                <a:lnTo>
                  <a:pt x="624" y="410"/>
                </a:lnTo>
                <a:lnTo>
                  <a:pt x="634" y="400"/>
                </a:lnTo>
                <a:lnTo>
                  <a:pt x="634" y="380"/>
                </a:lnTo>
                <a:lnTo>
                  <a:pt x="644" y="371"/>
                </a:lnTo>
                <a:lnTo>
                  <a:pt x="634" y="361"/>
                </a:lnTo>
                <a:lnTo>
                  <a:pt x="624" y="351"/>
                </a:lnTo>
                <a:lnTo>
                  <a:pt x="644" y="351"/>
                </a:lnTo>
                <a:lnTo>
                  <a:pt x="644" y="341"/>
                </a:lnTo>
                <a:lnTo>
                  <a:pt x="644" y="332"/>
                </a:lnTo>
                <a:lnTo>
                  <a:pt x="634" y="322"/>
                </a:lnTo>
                <a:lnTo>
                  <a:pt x="634" y="312"/>
                </a:lnTo>
                <a:lnTo>
                  <a:pt x="624" y="293"/>
                </a:lnTo>
                <a:lnTo>
                  <a:pt x="614" y="293"/>
                </a:lnTo>
                <a:lnTo>
                  <a:pt x="595" y="293"/>
                </a:lnTo>
                <a:lnTo>
                  <a:pt x="575" y="302"/>
                </a:lnTo>
                <a:lnTo>
                  <a:pt x="575" y="312"/>
                </a:lnTo>
                <a:lnTo>
                  <a:pt x="566" y="312"/>
                </a:lnTo>
                <a:lnTo>
                  <a:pt x="556" y="312"/>
                </a:lnTo>
                <a:lnTo>
                  <a:pt x="556" y="302"/>
                </a:lnTo>
                <a:lnTo>
                  <a:pt x="556" y="293"/>
                </a:lnTo>
                <a:lnTo>
                  <a:pt x="556" y="263"/>
                </a:lnTo>
                <a:lnTo>
                  <a:pt x="556" y="244"/>
                </a:lnTo>
                <a:lnTo>
                  <a:pt x="566" y="234"/>
                </a:lnTo>
                <a:lnTo>
                  <a:pt x="556" y="224"/>
                </a:lnTo>
                <a:lnTo>
                  <a:pt x="546" y="215"/>
                </a:lnTo>
                <a:lnTo>
                  <a:pt x="536" y="224"/>
                </a:lnTo>
                <a:lnTo>
                  <a:pt x="536" y="234"/>
                </a:lnTo>
                <a:lnTo>
                  <a:pt x="517" y="234"/>
                </a:lnTo>
                <a:lnTo>
                  <a:pt x="497" y="224"/>
                </a:lnTo>
                <a:lnTo>
                  <a:pt x="478" y="224"/>
                </a:lnTo>
                <a:lnTo>
                  <a:pt x="468" y="224"/>
                </a:lnTo>
                <a:lnTo>
                  <a:pt x="458" y="215"/>
                </a:lnTo>
                <a:lnTo>
                  <a:pt x="449" y="185"/>
                </a:lnTo>
                <a:lnTo>
                  <a:pt x="439" y="176"/>
                </a:lnTo>
                <a:lnTo>
                  <a:pt x="429" y="176"/>
                </a:lnTo>
                <a:lnTo>
                  <a:pt x="410" y="176"/>
                </a:lnTo>
                <a:lnTo>
                  <a:pt x="390" y="176"/>
                </a:lnTo>
                <a:lnTo>
                  <a:pt x="380" y="166"/>
                </a:lnTo>
                <a:lnTo>
                  <a:pt x="371" y="146"/>
                </a:lnTo>
                <a:lnTo>
                  <a:pt x="351" y="117"/>
                </a:lnTo>
                <a:lnTo>
                  <a:pt x="322" y="88"/>
                </a:lnTo>
                <a:lnTo>
                  <a:pt x="302" y="78"/>
                </a:lnTo>
                <a:lnTo>
                  <a:pt x="292" y="68"/>
                </a:lnTo>
                <a:lnTo>
                  <a:pt x="283" y="58"/>
                </a:lnTo>
                <a:lnTo>
                  <a:pt x="244" y="49"/>
                </a:lnTo>
                <a:lnTo>
                  <a:pt x="224" y="39"/>
                </a:lnTo>
                <a:lnTo>
                  <a:pt x="205" y="29"/>
                </a:lnTo>
                <a:lnTo>
                  <a:pt x="185" y="19"/>
                </a:lnTo>
                <a:lnTo>
                  <a:pt x="166" y="19"/>
                </a:lnTo>
                <a:lnTo>
                  <a:pt x="146" y="0"/>
                </a:lnTo>
                <a:lnTo>
                  <a:pt x="146" y="39"/>
                </a:lnTo>
                <a:lnTo>
                  <a:pt x="146" y="58"/>
                </a:lnTo>
                <a:lnTo>
                  <a:pt x="146" y="68"/>
                </a:lnTo>
                <a:lnTo>
                  <a:pt x="127" y="78"/>
                </a:lnTo>
                <a:lnTo>
                  <a:pt x="117" y="78"/>
                </a:lnTo>
                <a:lnTo>
                  <a:pt x="107" y="97"/>
                </a:lnTo>
                <a:lnTo>
                  <a:pt x="127" y="117"/>
                </a:lnTo>
                <a:lnTo>
                  <a:pt x="127" y="127"/>
                </a:lnTo>
                <a:lnTo>
                  <a:pt x="117" y="127"/>
                </a:lnTo>
                <a:lnTo>
                  <a:pt x="107" y="127"/>
                </a:lnTo>
                <a:lnTo>
                  <a:pt x="88" y="117"/>
                </a:lnTo>
                <a:lnTo>
                  <a:pt x="88" y="127"/>
                </a:lnTo>
                <a:lnTo>
                  <a:pt x="58" y="127"/>
                </a:lnTo>
                <a:lnTo>
                  <a:pt x="49" y="137"/>
                </a:lnTo>
                <a:lnTo>
                  <a:pt x="49" y="156"/>
                </a:lnTo>
                <a:lnTo>
                  <a:pt x="39" y="156"/>
                </a:lnTo>
                <a:lnTo>
                  <a:pt x="29" y="156"/>
                </a:lnTo>
                <a:lnTo>
                  <a:pt x="29" y="176"/>
                </a:lnTo>
                <a:lnTo>
                  <a:pt x="19" y="176"/>
                </a:lnTo>
                <a:lnTo>
                  <a:pt x="10" y="195"/>
                </a:lnTo>
                <a:lnTo>
                  <a:pt x="10" y="215"/>
                </a:lnTo>
                <a:lnTo>
                  <a:pt x="19" y="234"/>
                </a:lnTo>
                <a:lnTo>
                  <a:pt x="29" y="244"/>
                </a:lnTo>
                <a:lnTo>
                  <a:pt x="29" y="263"/>
                </a:lnTo>
                <a:lnTo>
                  <a:pt x="29" y="273"/>
                </a:lnTo>
                <a:lnTo>
                  <a:pt x="19" y="273"/>
                </a:lnTo>
                <a:lnTo>
                  <a:pt x="10" y="293"/>
                </a:lnTo>
                <a:lnTo>
                  <a:pt x="10" y="312"/>
                </a:lnTo>
                <a:lnTo>
                  <a:pt x="0" y="322"/>
                </a:lnTo>
                <a:lnTo>
                  <a:pt x="0" y="332"/>
                </a:lnTo>
                <a:lnTo>
                  <a:pt x="10" y="332"/>
                </a:lnTo>
                <a:lnTo>
                  <a:pt x="29" y="332"/>
                </a:lnTo>
                <a:lnTo>
                  <a:pt x="39" y="322"/>
                </a:lnTo>
                <a:lnTo>
                  <a:pt x="49" y="322"/>
                </a:lnTo>
                <a:lnTo>
                  <a:pt x="68" y="332"/>
                </a:lnTo>
                <a:lnTo>
                  <a:pt x="88" y="322"/>
                </a:lnTo>
                <a:lnTo>
                  <a:pt x="97" y="322"/>
                </a:lnTo>
                <a:lnTo>
                  <a:pt x="97" y="332"/>
                </a:lnTo>
                <a:lnTo>
                  <a:pt x="88" y="341"/>
                </a:lnTo>
                <a:lnTo>
                  <a:pt x="78" y="351"/>
                </a:lnTo>
                <a:lnTo>
                  <a:pt x="58" y="351"/>
                </a:lnTo>
                <a:lnTo>
                  <a:pt x="49" y="351"/>
                </a:lnTo>
                <a:lnTo>
                  <a:pt x="58" y="371"/>
                </a:lnTo>
                <a:lnTo>
                  <a:pt x="68" y="390"/>
                </a:lnTo>
                <a:lnTo>
                  <a:pt x="88" y="419"/>
                </a:lnTo>
                <a:lnTo>
                  <a:pt x="97" y="439"/>
                </a:lnTo>
                <a:lnTo>
                  <a:pt x="107" y="449"/>
                </a:lnTo>
                <a:close/>
              </a:path>
            </a:pathLst>
          </a:custGeom>
          <a:solidFill>
            <a:srgbClr val="C0C0C0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75" name="Freeform 195"/>
          <p:cNvSpPr>
            <a:spLocks/>
          </p:cNvSpPr>
          <p:nvPr>
            <p:custDataLst>
              <p:tags r:id="rId125"/>
            </p:custDataLst>
          </p:nvPr>
        </p:nvSpPr>
        <p:spPr bwMode="auto">
          <a:xfrm>
            <a:off x="3017838" y="3959225"/>
            <a:ext cx="319087" cy="180975"/>
          </a:xfrm>
          <a:custGeom>
            <a:avLst/>
            <a:gdLst/>
            <a:ahLst/>
            <a:cxnLst>
              <a:cxn ang="0">
                <a:pos x="458" y="186"/>
              </a:cxn>
              <a:cxn ang="0">
                <a:pos x="429" y="176"/>
              </a:cxn>
              <a:cxn ang="0">
                <a:pos x="400" y="186"/>
              </a:cxn>
              <a:cxn ang="0">
                <a:pos x="361" y="186"/>
              </a:cxn>
              <a:cxn ang="0">
                <a:pos x="341" y="157"/>
              </a:cxn>
              <a:cxn ang="0">
                <a:pos x="312" y="108"/>
              </a:cxn>
              <a:cxn ang="0">
                <a:pos x="302" y="79"/>
              </a:cxn>
              <a:cxn ang="0">
                <a:pos x="282" y="49"/>
              </a:cxn>
              <a:cxn ang="0">
                <a:pos x="263" y="30"/>
              </a:cxn>
              <a:cxn ang="0">
                <a:pos x="243" y="10"/>
              </a:cxn>
              <a:cxn ang="0">
                <a:pos x="234" y="20"/>
              </a:cxn>
              <a:cxn ang="0">
                <a:pos x="175" y="0"/>
              </a:cxn>
              <a:cxn ang="0">
                <a:pos x="146" y="20"/>
              </a:cxn>
              <a:cxn ang="0">
                <a:pos x="117" y="30"/>
              </a:cxn>
              <a:cxn ang="0">
                <a:pos x="78" y="40"/>
              </a:cxn>
              <a:cxn ang="0">
                <a:pos x="58" y="59"/>
              </a:cxn>
              <a:cxn ang="0">
                <a:pos x="39" y="59"/>
              </a:cxn>
              <a:cxn ang="0">
                <a:pos x="19" y="88"/>
              </a:cxn>
              <a:cxn ang="0">
                <a:pos x="0" y="88"/>
              </a:cxn>
              <a:cxn ang="0">
                <a:pos x="29" y="118"/>
              </a:cxn>
              <a:cxn ang="0">
                <a:pos x="48" y="137"/>
              </a:cxn>
              <a:cxn ang="0">
                <a:pos x="78" y="127"/>
              </a:cxn>
              <a:cxn ang="0">
                <a:pos x="87" y="157"/>
              </a:cxn>
              <a:cxn ang="0">
                <a:pos x="117" y="166"/>
              </a:cxn>
              <a:cxn ang="0">
                <a:pos x="107" y="186"/>
              </a:cxn>
              <a:cxn ang="0">
                <a:pos x="117" y="215"/>
              </a:cxn>
              <a:cxn ang="0">
                <a:pos x="136" y="215"/>
              </a:cxn>
              <a:cxn ang="0">
                <a:pos x="146" y="254"/>
              </a:cxn>
              <a:cxn ang="0">
                <a:pos x="214" y="254"/>
              </a:cxn>
              <a:cxn ang="0">
                <a:pos x="243" y="244"/>
              </a:cxn>
              <a:cxn ang="0">
                <a:pos x="263" y="264"/>
              </a:cxn>
              <a:cxn ang="0">
                <a:pos x="302" y="283"/>
              </a:cxn>
              <a:cxn ang="0">
                <a:pos x="331" y="283"/>
              </a:cxn>
              <a:cxn ang="0">
                <a:pos x="361" y="264"/>
              </a:cxn>
              <a:cxn ang="0">
                <a:pos x="409" y="274"/>
              </a:cxn>
              <a:cxn ang="0">
                <a:pos x="458" y="254"/>
              </a:cxn>
              <a:cxn ang="0">
                <a:pos x="468" y="225"/>
              </a:cxn>
              <a:cxn ang="0">
                <a:pos x="478" y="205"/>
              </a:cxn>
            </a:cxnLst>
            <a:rect l="0" t="0" r="r" b="b"/>
            <a:pathLst>
              <a:path w="478" h="293">
                <a:moveTo>
                  <a:pt x="478" y="205"/>
                </a:moveTo>
                <a:lnTo>
                  <a:pt x="458" y="186"/>
                </a:lnTo>
                <a:lnTo>
                  <a:pt x="448" y="176"/>
                </a:lnTo>
                <a:lnTo>
                  <a:pt x="429" y="176"/>
                </a:lnTo>
                <a:lnTo>
                  <a:pt x="419" y="196"/>
                </a:lnTo>
                <a:lnTo>
                  <a:pt x="400" y="186"/>
                </a:lnTo>
                <a:lnTo>
                  <a:pt x="380" y="196"/>
                </a:lnTo>
                <a:lnTo>
                  <a:pt x="361" y="186"/>
                </a:lnTo>
                <a:lnTo>
                  <a:pt x="361" y="166"/>
                </a:lnTo>
                <a:lnTo>
                  <a:pt x="341" y="157"/>
                </a:lnTo>
                <a:lnTo>
                  <a:pt x="331" y="137"/>
                </a:lnTo>
                <a:lnTo>
                  <a:pt x="312" y="108"/>
                </a:lnTo>
                <a:lnTo>
                  <a:pt x="302" y="98"/>
                </a:lnTo>
                <a:lnTo>
                  <a:pt x="302" y="79"/>
                </a:lnTo>
                <a:lnTo>
                  <a:pt x="292" y="59"/>
                </a:lnTo>
                <a:lnTo>
                  <a:pt x="282" y="49"/>
                </a:lnTo>
                <a:lnTo>
                  <a:pt x="263" y="49"/>
                </a:lnTo>
                <a:lnTo>
                  <a:pt x="263" y="30"/>
                </a:lnTo>
                <a:lnTo>
                  <a:pt x="253" y="30"/>
                </a:lnTo>
                <a:lnTo>
                  <a:pt x="243" y="10"/>
                </a:lnTo>
                <a:lnTo>
                  <a:pt x="234" y="0"/>
                </a:lnTo>
                <a:lnTo>
                  <a:pt x="234" y="20"/>
                </a:lnTo>
                <a:lnTo>
                  <a:pt x="214" y="30"/>
                </a:lnTo>
                <a:lnTo>
                  <a:pt x="175" y="0"/>
                </a:lnTo>
                <a:lnTo>
                  <a:pt x="156" y="10"/>
                </a:lnTo>
                <a:lnTo>
                  <a:pt x="146" y="20"/>
                </a:lnTo>
                <a:lnTo>
                  <a:pt x="126" y="20"/>
                </a:lnTo>
                <a:lnTo>
                  <a:pt x="117" y="30"/>
                </a:lnTo>
                <a:lnTo>
                  <a:pt x="97" y="40"/>
                </a:lnTo>
                <a:lnTo>
                  <a:pt x="78" y="40"/>
                </a:lnTo>
                <a:lnTo>
                  <a:pt x="68" y="49"/>
                </a:lnTo>
                <a:lnTo>
                  <a:pt x="58" y="59"/>
                </a:lnTo>
                <a:lnTo>
                  <a:pt x="48" y="59"/>
                </a:lnTo>
                <a:lnTo>
                  <a:pt x="39" y="59"/>
                </a:lnTo>
                <a:lnTo>
                  <a:pt x="29" y="79"/>
                </a:lnTo>
                <a:lnTo>
                  <a:pt x="19" y="88"/>
                </a:lnTo>
                <a:lnTo>
                  <a:pt x="9" y="88"/>
                </a:lnTo>
                <a:lnTo>
                  <a:pt x="0" y="88"/>
                </a:lnTo>
                <a:lnTo>
                  <a:pt x="0" y="98"/>
                </a:lnTo>
                <a:lnTo>
                  <a:pt x="29" y="118"/>
                </a:lnTo>
                <a:lnTo>
                  <a:pt x="39" y="137"/>
                </a:lnTo>
                <a:lnTo>
                  <a:pt x="48" y="137"/>
                </a:lnTo>
                <a:lnTo>
                  <a:pt x="58" y="127"/>
                </a:lnTo>
                <a:lnTo>
                  <a:pt x="78" y="127"/>
                </a:lnTo>
                <a:lnTo>
                  <a:pt x="78" y="137"/>
                </a:lnTo>
                <a:lnTo>
                  <a:pt x="87" y="157"/>
                </a:lnTo>
                <a:lnTo>
                  <a:pt x="107" y="166"/>
                </a:lnTo>
                <a:lnTo>
                  <a:pt x="117" y="166"/>
                </a:lnTo>
                <a:lnTo>
                  <a:pt x="117" y="186"/>
                </a:lnTo>
                <a:lnTo>
                  <a:pt x="107" y="186"/>
                </a:lnTo>
                <a:lnTo>
                  <a:pt x="97" y="196"/>
                </a:lnTo>
                <a:lnTo>
                  <a:pt x="117" y="215"/>
                </a:lnTo>
                <a:lnTo>
                  <a:pt x="126" y="225"/>
                </a:lnTo>
                <a:lnTo>
                  <a:pt x="136" y="215"/>
                </a:lnTo>
                <a:lnTo>
                  <a:pt x="136" y="244"/>
                </a:lnTo>
                <a:lnTo>
                  <a:pt x="146" y="254"/>
                </a:lnTo>
                <a:lnTo>
                  <a:pt x="165" y="254"/>
                </a:lnTo>
                <a:lnTo>
                  <a:pt x="214" y="254"/>
                </a:lnTo>
                <a:lnTo>
                  <a:pt x="234" y="244"/>
                </a:lnTo>
                <a:lnTo>
                  <a:pt x="243" y="244"/>
                </a:lnTo>
                <a:lnTo>
                  <a:pt x="263" y="244"/>
                </a:lnTo>
                <a:lnTo>
                  <a:pt x="263" y="264"/>
                </a:lnTo>
                <a:lnTo>
                  <a:pt x="282" y="274"/>
                </a:lnTo>
                <a:lnTo>
                  <a:pt x="302" y="283"/>
                </a:lnTo>
                <a:lnTo>
                  <a:pt x="312" y="293"/>
                </a:lnTo>
                <a:lnTo>
                  <a:pt x="331" y="283"/>
                </a:lnTo>
                <a:lnTo>
                  <a:pt x="341" y="274"/>
                </a:lnTo>
                <a:lnTo>
                  <a:pt x="361" y="264"/>
                </a:lnTo>
                <a:lnTo>
                  <a:pt x="380" y="274"/>
                </a:lnTo>
                <a:lnTo>
                  <a:pt x="409" y="274"/>
                </a:lnTo>
                <a:lnTo>
                  <a:pt x="439" y="274"/>
                </a:lnTo>
                <a:lnTo>
                  <a:pt x="458" y="254"/>
                </a:lnTo>
                <a:lnTo>
                  <a:pt x="458" y="235"/>
                </a:lnTo>
                <a:lnTo>
                  <a:pt x="468" y="225"/>
                </a:lnTo>
                <a:lnTo>
                  <a:pt x="478" y="215"/>
                </a:lnTo>
                <a:lnTo>
                  <a:pt x="478" y="20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en-US" sz="1100">
              <a:latin typeface="Polo" pitchFamily="2" charset="0"/>
              <a:cs typeface="+mn-cs"/>
            </a:endParaRPr>
          </a:p>
        </p:txBody>
      </p:sp>
      <p:sp>
        <p:nvSpPr>
          <p:cNvPr id="18560" name="Freeform 194"/>
          <p:cNvSpPr>
            <a:spLocks noChangeAspect="1"/>
          </p:cNvSpPr>
          <p:nvPr>
            <p:custDataLst>
              <p:tags r:id="rId126"/>
            </p:custDataLst>
          </p:nvPr>
        </p:nvSpPr>
        <p:spPr bwMode="auto">
          <a:xfrm>
            <a:off x="3017838" y="3959225"/>
            <a:ext cx="317500" cy="180975"/>
          </a:xfrm>
          <a:custGeom>
            <a:avLst/>
            <a:gdLst>
              <a:gd name="T0" fmla="*/ 304215 w 478"/>
              <a:gd name="T1" fmla="*/ 114885 h 293"/>
              <a:gd name="T2" fmla="*/ 291595 w 478"/>
              <a:gd name="T3" fmla="*/ 108709 h 293"/>
              <a:gd name="T4" fmla="*/ 265690 w 478"/>
              <a:gd name="T5" fmla="*/ 114885 h 293"/>
              <a:gd name="T6" fmla="*/ 239786 w 478"/>
              <a:gd name="T7" fmla="*/ 114885 h 293"/>
              <a:gd name="T8" fmla="*/ 226501 w 478"/>
              <a:gd name="T9" fmla="*/ 96973 h 293"/>
              <a:gd name="T10" fmla="*/ 207239 w 478"/>
              <a:gd name="T11" fmla="*/ 66707 h 293"/>
              <a:gd name="T12" fmla="*/ 200596 w 478"/>
              <a:gd name="T13" fmla="*/ 48795 h 293"/>
              <a:gd name="T14" fmla="*/ 187312 w 478"/>
              <a:gd name="T15" fmla="*/ 30265 h 293"/>
              <a:gd name="T16" fmla="*/ 174691 w 478"/>
              <a:gd name="T17" fmla="*/ 18530 h 293"/>
              <a:gd name="T18" fmla="*/ 161407 w 478"/>
              <a:gd name="T19" fmla="*/ 6177 h 293"/>
              <a:gd name="T20" fmla="*/ 155429 w 478"/>
              <a:gd name="T21" fmla="*/ 12353 h 293"/>
              <a:gd name="T22" fmla="*/ 116240 w 478"/>
              <a:gd name="T23" fmla="*/ 0 h 293"/>
              <a:gd name="T24" fmla="*/ 96977 w 478"/>
              <a:gd name="T25" fmla="*/ 12353 h 293"/>
              <a:gd name="T26" fmla="*/ 77714 w 478"/>
              <a:gd name="T27" fmla="*/ 18530 h 293"/>
              <a:gd name="T28" fmla="*/ 51810 w 478"/>
              <a:gd name="T29" fmla="*/ 24706 h 293"/>
              <a:gd name="T30" fmla="*/ 38525 w 478"/>
              <a:gd name="T31" fmla="*/ 36442 h 293"/>
              <a:gd name="T32" fmla="*/ 25905 w 478"/>
              <a:gd name="T33" fmla="*/ 36442 h 293"/>
              <a:gd name="T34" fmla="*/ 12620 w 478"/>
              <a:gd name="T35" fmla="*/ 54354 h 293"/>
              <a:gd name="T36" fmla="*/ 0 w 478"/>
              <a:gd name="T37" fmla="*/ 54354 h 293"/>
              <a:gd name="T38" fmla="*/ 19263 w 478"/>
              <a:gd name="T39" fmla="*/ 72884 h 293"/>
              <a:gd name="T40" fmla="*/ 31883 w 478"/>
              <a:gd name="T41" fmla="*/ 84620 h 293"/>
              <a:gd name="T42" fmla="*/ 51810 w 478"/>
              <a:gd name="T43" fmla="*/ 78443 h 293"/>
              <a:gd name="T44" fmla="*/ 57788 w 478"/>
              <a:gd name="T45" fmla="*/ 96973 h 293"/>
              <a:gd name="T46" fmla="*/ 77714 w 478"/>
              <a:gd name="T47" fmla="*/ 102532 h 293"/>
              <a:gd name="T48" fmla="*/ 71072 w 478"/>
              <a:gd name="T49" fmla="*/ 114885 h 293"/>
              <a:gd name="T50" fmla="*/ 77714 w 478"/>
              <a:gd name="T51" fmla="*/ 132797 h 293"/>
              <a:gd name="T52" fmla="*/ 90335 w 478"/>
              <a:gd name="T53" fmla="*/ 132797 h 293"/>
              <a:gd name="T54" fmla="*/ 96977 w 478"/>
              <a:gd name="T55" fmla="*/ 156886 h 293"/>
              <a:gd name="T56" fmla="*/ 142144 w 478"/>
              <a:gd name="T57" fmla="*/ 163063 h 293"/>
              <a:gd name="T58" fmla="*/ 155429 w 478"/>
              <a:gd name="T59" fmla="*/ 150710 h 293"/>
              <a:gd name="T60" fmla="*/ 174691 w 478"/>
              <a:gd name="T61" fmla="*/ 163063 h 293"/>
              <a:gd name="T62" fmla="*/ 200596 w 478"/>
              <a:gd name="T63" fmla="*/ 174798 h 293"/>
              <a:gd name="T64" fmla="*/ 219859 w 478"/>
              <a:gd name="T65" fmla="*/ 174798 h 293"/>
              <a:gd name="T66" fmla="*/ 239786 w 478"/>
              <a:gd name="T67" fmla="*/ 163063 h 293"/>
              <a:gd name="T68" fmla="*/ 271668 w 478"/>
              <a:gd name="T69" fmla="*/ 174798 h 293"/>
              <a:gd name="T70" fmla="*/ 304215 w 478"/>
              <a:gd name="T71" fmla="*/ 163063 h 293"/>
              <a:gd name="T72" fmla="*/ 310858 w 478"/>
              <a:gd name="T73" fmla="*/ 138974 h 293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478"/>
              <a:gd name="T112" fmla="*/ 0 h 293"/>
              <a:gd name="T113" fmla="*/ 478 w 478"/>
              <a:gd name="T114" fmla="*/ 293 h 293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478" h="293">
                <a:moveTo>
                  <a:pt x="478" y="205"/>
                </a:moveTo>
                <a:lnTo>
                  <a:pt x="458" y="186"/>
                </a:lnTo>
                <a:lnTo>
                  <a:pt x="448" y="176"/>
                </a:lnTo>
                <a:lnTo>
                  <a:pt x="439" y="176"/>
                </a:lnTo>
                <a:lnTo>
                  <a:pt x="419" y="196"/>
                </a:lnTo>
                <a:lnTo>
                  <a:pt x="400" y="186"/>
                </a:lnTo>
                <a:lnTo>
                  <a:pt x="380" y="196"/>
                </a:lnTo>
                <a:lnTo>
                  <a:pt x="361" y="186"/>
                </a:lnTo>
                <a:lnTo>
                  <a:pt x="361" y="166"/>
                </a:lnTo>
                <a:lnTo>
                  <a:pt x="341" y="157"/>
                </a:lnTo>
                <a:lnTo>
                  <a:pt x="331" y="137"/>
                </a:lnTo>
                <a:lnTo>
                  <a:pt x="312" y="108"/>
                </a:lnTo>
                <a:lnTo>
                  <a:pt x="302" y="98"/>
                </a:lnTo>
                <a:lnTo>
                  <a:pt x="302" y="79"/>
                </a:lnTo>
                <a:lnTo>
                  <a:pt x="292" y="59"/>
                </a:lnTo>
                <a:lnTo>
                  <a:pt x="282" y="49"/>
                </a:lnTo>
                <a:lnTo>
                  <a:pt x="263" y="49"/>
                </a:lnTo>
                <a:lnTo>
                  <a:pt x="263" y="30"/>
                </a:lnTo>
                <a:lnTo>
                  <a:pt x="253" y="30"/>
                </a:lnTo>
                <a:lnTo>
                  <a:pt x="243" y="10"/>
                </a:lnTo>
                <a:lnTo>
                  <a:pt x="234" y="0"/>
                </a:lnTo>
                <a:lnTo>
                  <a:pt x="234" y="20"/>
                </a:lnTo>
                <a:lnTo>
                  <a:pt x="214" y="30"/>
                </a:lnTo>
                <a:lnTo>
                  <a:pt x="175" y="0"/>
                </a:lnTo>
                <a:lnTo>
                  <a:pt x="156" y="10"/>
                </a:lnTo>
                <a:lnTo>
                  <a:pt x="146" y="20"/>
                </a:lnTo>
                <a:lnTo>
                  <a:pt x="136" y="20"/>
                </a:lnTo>
                <a:lnTo>
                  <a:pt x="117" y="30"/>
                </a:lnTo>
                <a:lnTo>
                  <a:pt x="97" y="40"/>
                </a:lnTo>
                <a:lnTo>
                  <a:pt x="78" y="40"/>
                </a:lnTo>
                <a:lnTo>
                  <a:pt x="68" y="49"/>
                </a:lnTo>
                <a:lnTo>
                  <a:pt x="58" y="59"/>
                </a:lnTo>
                <a:lnTo>
                  <a:pt x="48" y="59"/>
                </a:lnTo>
                <a:lnTo>
                  <a:pt x="39" y="59"/>
                </a:lnTo>
                <a:lnTo>
                  <a:pt x="29" y="79"/>
                </a:lnTo>
                <a:lnTo>
                  <a:pt x="19" y="88"/>
                </a:lnTo>
                <a:lnTo>
                  <a:pt x="9" y="88"/>
                </a:lnTo>
                <a:lnTo>
                  <a:pt x="0" y="88"/>
                </a:lnTo>
                <a:lnTo>
                  <a:pt x="0" y="98"/>
                </a:lnTo>
                <a:lnTo>
                  <a:pt x="29" y="118"/>
                </a:lnTo>
                <a:lnTo>
                  <a:pt x="39" y="137"/>
                </a:lnTo>
                <a:lnTo>
                  <a:pt x="48" y="137"/>
                </a:lnTo>
                <a:lnTo>
                  <a:pt x="58" y="127"/>
                </a:lnTo>
                <a:lnTo>
                  <a:pt x="78" y="127"/>
                </a:lnTo>
                <a:lnTo>
                  <a:pt x="78" y="137"/>
                </a:lnTo>
                <a:lnTo>
                  <a:pt x="87" y="157"/>
                </a:lnTo>
                <a:lnTo>
                  <a:pt x="107" y="166"/>
                </a:lnTo>
                <a:lnTo>
                  <a:pt x="117" y="166"/>
                </a:lnTo>
                <a:lnTo>
                  <a:pt x="117" y="186"/>
                </a:lnTo>
                <a:lnTo>
                  <a:pt x="107" y="186"/>
                </a:lnTo>
                <a:lnTo>
                  <a:pt x="97" y="205"/>
                </a:lnTo>
                <a:lnTo>
                  <a:pt x="117" y="215"/>
                </a:lnTo>
                <a:lnTo>
                  <a:pt x="126" y="225"/>
                </a:lnTo>
                <a:lnTo>
                  <a:pt x="136" y="215"/>
                </a:lnTo>
                <a:lnTo>
                  <a:pt x="136" y="244"/>
                </a:lnTo>
                <a:lnTo>
                  <a:pt x="146" y="254"/>
                </a:lnTo>
                <a:lnTo>
                  <a:pt x="165" y="264"/>
                </a:lnTo>
                <a:lnTo>
                  <a:pt x="214" y="264"/>
                </a:lnTo>
                <a:lnTo>
                  <a:pt x="234" y="244"/>
                </a:lnTo>
                <a:lnTo>
                  <a:pt x="263" y="244"/>
                </a:lnTo>
                <a:lnTo>
                  <a:pt x="263" y="264"/>
                </a:lnTo>
                <a:lnTo>
                  <a:pt x="282" y="274"/>
                </a:lnTo>
                <a:lnTo>
                  <a:pt x="302" y="283"/>
                </a:lnTo>
                <a:lnTo>
                  <a:pt x="312" y="293"/>
                </a:lnTo>
                <a:lnTo>
                  <a:pt x="331" y="283"/>
                </a:lnTo>
                <a:lnTo>
                  <a:pt x="341" y="283"/>
                </a:lnTo>
                <a:lnTo>
                  <a:pt x="361" y="264"/>
                </a:lnTo>
                <a:lnTo>
                  <a:pt x="380" y="274"/>
                </a:lnTo>
                <a:lnTo>
                  <a:pt x="409" y="283"/>
                </a:lnTo>
                <a:lnTo>
                  <a:pt x="439" y="283"/>
                </a:lnTo>
                <a:lnTo>
                  <a:pt x="458" y="264"/>
                </a:lnTo>
                <a:lnTo>
                  <a:pt x="458" y="235"/>
                </a:lnTo>
                <a:lnTo>
                  <a:pt x="468" y="225"/>
                </a:lnTo>
                <a:lnTo>
                  <a:pt x="478" y="215"/>
                </a:lnTo>
              </a:path>
            </a:pathLst>
          </a:custGeom>
          <a:noFill/>
          <a:ln w="6350" cap="rnd">
            <a:solidFill>
              <a:srgbClr val="4C7445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77" name="Freeform 193"/>
          <p:cNvSpPr>
            <a:spLocks/>
          </p:cNvSpPr>
          <p:nvPr>
            <p:custDataLst>
              <p:tags r:id="rId127"/>
            </p:custDataLst>
          </p:nvPr>
        </p:nvSpPr>
        <p:spPr bwMode="auto">
          <a:xfrm>
            <a:off x="3171825" y="4014788"/>
            <a:ext cx="379413" cy="369887"/>
          </a:xfrm>
          <a:custGeom>
            <a:avLst/>
            <a:gdLst/>
            <a:ahLst/>
            <a:cxnLst>
              <a:cxn ang="0">
                <a:pos x="195" y="547"/>
              </a:cxn>
              <a:cxn ang="0">
                <a:pos x="224" y="488"/>
              </a:cxn>
              <a:cxn ang="0">
                <a:pos x="302" y="478"/>
              </a:cxn>
              <a:cxn ang="0">
                <a:pos x="322" y="420"/>
              </a:cxn>
              <a:cxn ang="0">
                <a:pos x="380" y="410"/>
              </a:cxn>
              <a:cxn ang="0">
                <a:pos x="439" y="469"/>
              </a:cxn>
              <a:cxn ang="0">
                <a:pos x="468" y="439"/>
              </a:cxn>
              <a:cxn ang="0">
                <a:pos x="487" y="410"/>
              </a:cxn>
              <a:cxn ang="0">
                <a:pos x="526" y="352"/>
              </a:cxn>
              <a:cxn ang="0">
                <a:pos x="565" y="322"/>
              </a:cxn>
              <a:cxn ang="0">
                <a:pos x="526" y="283"/>
              </a:cxn>
              <a:cxn ang="0">
                <a:pos x="497" y="254"/>
              </a:cxn>
              <a:cxn ang="0">
                <a:pos x="458" y="225"/>
              </a:cxn>
              <a:cxn ang="0">
                <a:pos x="370" y="215"/>
              </a:cxn>
              <a:cxn ang="0">
                <a:pos x="322" y="244"/>
              </a:cxn>
              <a:cxn ang="0">
                <a:pos x="322" y="205"/>
              </a:cxn>
              <a:cxn ang="0">
                <a:pos x="322" y="166"/>
              </a:cxn>
              <a:cxn ang="0">
                <a:pos x="361" y="117"/>
              </a:cxn>
              <a:cxn ang="0">
                <a:pos x="370" y="108"/>
              </a:cxn>
              <a:cxn ang="0">
                <a:pos x="370" y="49"/>
              </a:cxn>
              <a:cxn ang="0">
                <a:pos x="351" y="10"/>
              </a:cxn>
              <a:cxn ang="0">
                <a:pos x="322" y="39"/>
              </a:cxn>
              <a:cxn ang="0">
                <a:pos x="273" y="39"/>
              </a:cxn>
              <a:cxn ang="0">
                <a:pos x="244" y="49"/>
              </a:cxn>
              <a:cxn ang="0">
                <a:pos x="263" y="78"/>
              </a:cxn>
              <a:cxn ang="0">
                <a:pos x="244" y="117"/>
              </a:cxn>
              <a:cxn ang="0">
                <a:pos x="224" y="147"/>
              </a:cxn>
              <a:cxn ang="0">
                <a:pos x="175" y="186"/>
              </a:cxn>
              <a:cxn ang="0">
                <a:pos x="107" y="186"/>
              </a:cxn>
              <a:cxn ang="0">
                <a:pos x="88" y="225"/>
              </a:cxn>
              <a:cxn ang="0">
                <a:pos x="107" y="273"/>
              </a:cxn>
              <a:cxn ang="0">
                <a:pos x="68" y="283"/>
              </a:cxn>
              <a:cxn ang="0">
                <a:pos x="29" y="283"/>
              </a:cxn>
              <a:cxn ang="0">
                <a:pos x="0" y="313"/>
              </a:cxn>
              <a:cxn ang="0">
                <a:pos x="9" y="342"/>
              </a:cxn>
              <a:cxn ang="0">
                <a:pos x="48" y="352"/>
              </a:cxn>
              <a:cxn ang="0">
                <a:pos x="107" y="371"/>
              </a:cxn>
              <a:cxn ang="0">
                <a:pos x="136" y="391"/>
              </a:cxn>
              <a:cxn ang="0">
                <a:pos x="136" y="430"/>
              </a:cxn>
              <a:cxn ang="0">
                <a:pos x="127" y="478"/>
              </a:cxn>
              <a:cxn ang="0">
                <a:pos x="136" y="527"/>
              </a:cxn>
              <a:cxn ang="0">
                <a:pos x="146" y="586"/>
              </a:cxn>
              <a:cxn ang="0">
                <a:pos x="166" y="576"/>
              </a:cxn>
            </a:cxnLst>
            <a:rect l="0" t="0" r="r" b="b"/>
            <a:pathLst>
              <a:path w="565" h="595">
                <a:moveTo>
                  <a:pt x="166" y="547"/>
                </a:moveTo>
                <a:lnTo>
                  <a:pt x="185" y="537"/>
                </a:lnTo>
                <a:lnTo>
                  <a:pt x="195" y="547"/>
                </a:lnTo>
                <a:lnTo>
                  <a:pt x="214" y="537"/>
                </a:lnTo>
                <a:lnTo>
                  <a:pt x="214" y="508"/>
                </a:lnTo>
                <a:lnTo>
                  <a:pt x="224" y="488"/>
                </a:lnTo>
                <a:lnTo>
                  <a:pt x="244" y="469"/>
                </a:lnTo>
                <a:lnTo>
                  <a:pt x="273" y="488"/>
                </a:lnTo>
                <a:lnTo>
                  <a:pt x="302" y="478"/>
                </a:lnTo>
                <a:lnTo>
                  <a:pt x="312" y="449"/>
                </a:lnTo>
                <a:lnTo>
                  <a:pt x="331" y="439"/>
                </a:lnTo>
                <a:lnTo>
                  <a:pt x="322" y="420"/>
                </a:lnTo>
                <a:lnTo>
                  <a:pt x="341" y="410"/>
                </a:lnTo>
                <a:lnTo>
                  <a:pt x="361" y="410"/>
                </a:lnTo>
                <a:lnTo>
                  <a:pt x="380" y="410"/>
                </a:lnTo>
                <a:lnTo>
                  <a:pt x="400" y="430"/>
                </a:lnTo>
                <a:lnTo>
                  <a:pt x="419" y="439"/>
                </a:lnTo>
                <a:lnTo>
                  <a:pt x="439" y="469"/>
                </a:lnTo>
                <a:lnTo>
                  <a:pt x="458" y="469"/>
                </a:lnTo>
                <a:lnTo>
                  <a:pt x="468" y="469"/>
                </a:lnTo>
                <a:lnTo>
                  <a:pt x="468" y="439"/>
                </a:lnTo>
                <a:lnTo>
                  <a:pt x="478" y="420"/>
                </a:lnTo>
                <a:lnTo>
                  <a:pt x="497" y="410"/>
                </a:lnTo>
                <a:lnTo>
                  <a:pt x="487" y="410"/>
                </a:lnTo>
                <a:lnTo>
                  <a:pt x="487" y="391"/>
                </a:lnTo>
                <a:lnTo>
                  <a:pt x="487" y="381"/>
                </a:lnTo>
                <a:lnTo>
                  <a:pt x="526" y="352"/>
                </a:lnTo>
                <a:lnTo>
                  <a:pt x="536" y="361"/>
                </a:lnTo>
                <a:lnTo>
                  <a:pt x="565" y="342"/>
                </a:lnTo>
                <a:lnTo>
                  <a:pt x="565" y="322"/>
                </a:lnTo>
                <a:lnTo>
                  <a:pt x="565" y="303"/>
                </a:lnTo>
                <a:lnTo>
                  <a:pt x="556" y="303"/>
                </a:lnTo>
                <a:lnTo>
                  <a:pt x="526" y="283"/>
                </a:lnTo>
                <a:lnTo>
                  <a:pt x="517" y="273"/>
                </a:lnTo>
                <a:lnTo>
                  <a:pt x="507" y="244"/>
                </a:lnTo>
                <a:lnTo>
                  <a:pt x="497" y="254"/>
                </a:lnTo>
                <a:lnTo>
                  <a:pt x="468" y="264"/>
                </a:lnTo>
                <a:lnTo>
                  <a:pt x="468" y="244"/>
                </a:lnTo>
                <a:lnTo>
                  <a:pt x="458" y="225"/>
                </a:lnTo>
                <a:lnTo>
                  <a:pt x="429" y="234"/>
                </a:lnTo>
                <a:lnTo>
                  <a:pt x="400" y="225"/>
                </a:lnTo>
                <a:lnTo>
                  <a:pt x="370" y="215"/>
                </a:lnTo>
                <a:lnTo>
                  <a:pt x="341" y="234"/>
                </a:lnTo>
                <a:lnTo>
                  <a:pt x="331" y="254"/>
                </a:lnTo>
                <a:lnTo>
                  <a:pt x="322" y="244"/>
                </a:lnTo>
                <a:lnTo>
                  <a:pt x="322" y="234"/>
                </a:lnTo>
                <a:lnTo>
                  <a:pt x="331" y="225"/>
                </a:lnTo>
                <a:lnTo>
                  <a:pt x="322" y="205"/>
                </a:lnTo>
                <a:lnTo>
                  <a:pt x="341" y="186"/>
                </a:lnTo>
                <a:lnTo>
                  <a:pt x="322" y="166"/>
                </a:lnTo>
                <a:lnTo>
                  <a:pt x="322" y="156"/>
                </a:lnTo>
                <a:lnTo>
                  <a:pt x="331" y="147"/>
                </a:lnTo>
                <a:lnTo>
                  <a:pt x="361" y="117"/>
                </a:lnTo>
                <a:lnTo>
                  <a:pt x="361" y="127"/>
                </a:lnTo>
                <a:lnTo>
                  <a:pt x="370" y="117"/>
                </a:lnTo>
                <a:lnTo>
                  <a:pt x="370" y="108"/>
                </a:lnTo>
                <a:lnTo>
                  <a:pt x="380" y="88"/>
                </a:lnTo>
                <a:lnTo>
                  <a:pt x="400" y="59"/>
                </a:lnTo>
                <a:lnTo>
                  <a:pt x="370" y="49"/>
                </a:lnTo>
                <a:lnTo>
                  <a:pt x="400" y="30"/>
                </a:lnTo>
                <a:lnTo>
                  <a:pt x="370" y="0"/>
                </a:lnTo>
                <a:lnTo>
                  <a:pt x="351" y="10"/>
                </a:lnTo>
                <a:lnTo>
                  <a:pt x="341" y="30"/>
                </a:lnTo>
                <a:lnTo>
                  <a:pt x="331" y="39"/>
                </a:lnTo>
                <a:lnTo>
                  <a:pt x="322" y="39"/>
                </a:lnTo>
                <a:lnTo>
                  <a:pt x="302" y="39"/>
                </a:lnTo>
                <a:lnTo>
                  <a:pt x="283" y="49"/>
                </a:lnTo>
                <a:lnTo>
                  <a:pt x="273" y="39"/>
                </a:lnTo>
                <a:lnTo>
                  <a:pt x="263" y="30"/>
                </a:lnTo>
                <a:lnTo>
                  <a:pt x="253" y="39"/>
                </a:lnTo>
                <a:lnTo>
                  <a:pt x="244" y="49"/>
                </a:lnTo>
                <a:lnTo>
                  <a:pt x="263" y="59"/>
                </a:lnTo>
                <a:lnTo>
                  <a:pt x="273" y="69"/>
                </a:lnTo>
                <a:lnTo>
                  <a:pt x="263" y="78"/>
                </a:lnTo>
                <a:lnTo>
                  <a:pt x="263" y="98"/>
                </a:lnTo>
                <a:lnTo>
                  <a:pt x="253" y="108"/>
                </a:lnTo>
                <a:lnTo>
                  <a:pt x="244" y="117"/>
                </a:lnTo>
                <a:lnTo>
                  <a:pt x="244" y="127"/>
                </a:lnTo>
                <a:lnTo>
                  <a:pt x="234" y="127"/>
                </a:lnTo>
                <a:lnTo>
                  <a:pt x="224" y="147"/>
                </a:lnTo>
                <a:lnTo>
                  <a:pt x="224" y="166"/>
                </a:lnTo>
                <a:lnTo>
                  <a:pt x="205" y="186"/>
                </a:lnTo>
                <a:lnTo>
                  <a:pt x="175" y="186"/>
                </a:lnTo>
                <a:lnTo>
                  <a:pt x="146" y="186"/>
                </a:lnTo>
                <a:lnTo>
                  <a:pt x="127" y="176"/>
                </a:lnTo>
                <a:lnTo>
                  <a:pt x="107" y="186"/>
                </a:lnTo>
                <a:lnTo>
                  <a:pt x="97" y="195"/>
                </a:lnTo>
                <a:lnTo>
                  <a:pt x="78" y="205"/>
                </a:lnTo>
                <a:lnTo>
                  <a:pt x="88" y="225"/>
                </a:lnTo>
                <a:lnTo>
                  <a:pt x="107" y="244"/>
                </a:lnTo>
                <a:lnTo>
                  <a:pt x="117" y="254"/>
                </a:lnTo>
                <a:lnTo>
                  <a:pt x="107" y="273"/>
                </a:lnTo>
                <a:lnTo>
                  <a:pt x="97" y="283"/>
                </a:lnTo>
                <a:lnTo>
                  <a:pt x="78" y="293"/>
                </a:lnTo>
                <a:lnTo>
                  <a:pt x="68" y="283"/>
                </a:lnTo>
                <a:lnTo>
                  <a:pt x="48" y="273"/>
                </a:lnTo>
                <a:lnTo>
                  <a:pt x="39" y="273"/>
                </a:lnTo>
                <a:lnTo>
                  <a:pt x="29" y="283"/>
                </a:lnTo>
                <a:lnTo>
                  <a:pt x="29" y="293"/>
                </a:lnTo>
                <a:lnTo>
                  <a:pt x="9" y="303"/>
                </a:lnTo>
                <a:lnTo>
                  <a:pt x="0" y="313"/>
                </a:lnTo>
                <a:lnTo>
                  <a:pt x="9" y="322"/>
                </a:lnTo>
                <a:lnTo>
                  <a:pt x="9" y="332"/>
                </a:lnTo>
                <a:lnTo>
                  <a:pt x="9" y="342"/>
                </a:lnTo>
                <a:lnTo>
                  <a:pt x="9" y="352"/>
                </a:lnTo>
                <a:lnTo>
                  <a:pt x="29" y="352"/>
                </a:lnTo>
                <a:lnTo>
                  <a:pt x="48" y="352"/>
                </a:lnTo>
                <a:lnTo>
                  <a:pt x="58" y="361"/>
                </a:lnTo>
                <a:lnTo>
                  <a:pt x="88" y="361"/>
                </a:lnTo>
                <a:lnTo>
                  <a:pt x="107" y="371"/>
                </a:lnTo>
                <a:lnTo>
                  <a:pt x="107" y="391"/>
                </a:lnTo>
                <a:lnTo>
                  <a:pt x="127" y="381"/>
                </a:lnTo>
                <a:lnTo>
                  <a:pt x="136" y="391"/>
                </a:lnTo>
                <a:lnTo>
                  <a:pt x="127" y="410"/>
                </a:lnTo>
                <a:lnTo>
                  <a:pt x="146" y="420"/>
                </a:lnTo>
                <a:lnTo>
                  <a:pt x="136" y="430"/>
                </a:lnTo>
                <a:lnTo>
                  <a:pt x="136" y="439"/>
                </a:lnTo>
                <a:lnTo>
                  <a:pt x="136" y="459"/>
                </a:lnTo>
                <a:lnTo>
                  <a:pt x="127" y="478"/>
                </a:lnTo>
                <a:lnTo>
                  <a:pt x="136" y="488"/>
                </a:lnTo>
                <a:lnTo>
                  <a:pt x="136" y="527"/>
                </a:lnTo>
                <a:lnTo>
                  <a:pt x="146" y="537"/>
                </a:lnTo>
                <a:lnTo>
                  <a:pt x="136" y="556"/>
                </a:lnTo>
                <a:lnTo>
                  <a:pt x="146" y="586"/>
                </a:lnTo>
                <a:lnTo>
                  <a:pt x="146" y="595"/>
                </a:lnTo>
                <a:lnTo>
                  <a:pt x="166" y="586"/>
                </a:lnTo>
                <a:lnTo>
                  <a:pt x="166" y="576"/>
                </a:lnTo>
                <a:lnTo>
                  <a:pt x="175" y="556"/>
                </a:lnTo>
                <a:lnTo>
                  <a:pt x="166" y="54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en-US" sz="1100">
              <a:latin typeface="Polo" pitchFamily="2" charset="0"/>
              <a:cs typeface="+mn-cs"/>
            </a:endParaRPr>
          </a:p>
        </p:txBody>
      </p:sp>
      <p:grpSp>
        <p:nvGrpSpPr>
          <p:cNvPr id="18562" name="Group 189"/>
          <p:cNvGrpSpPr>
            <a:grpSpLocks noChangeAspect="1"/>
          </p:cNvGrpSpPr>
          <p:nvPr>
            <p:custDataLst>
              <p:tags r:id="rId128"/>
            </p:custDataLst>
          </p:nvPr>
        </p:nvGrpSpPr>
        <p:grpSpPr bwMode="auto">
          <a:xfrm>
            <a:off x="2565400" y="3784600"/>
            <a:ext cx="222250" cy="155575"/>
            <a:chOff x="1366" y="1503"/>
            <a:chExt cx="331" cy="253"/>
          </a:xfrm>
        </p:grpSpPr>
        <p:sp>
          <p:nvSpPr>
            <p:cNvPr id="18766" name="Freeform 191"/>
            <p:cNvSpPr>
              <a:spLocks noChangeAspect="1"/>
            </p:cNvSpPr>
            <p:nvPr/>
          </p:nvSpPr>
          <p:spPr bwMode="auto">
            <a:xfrm>
              <a:off x="1365" y="1503"/>
              <a:ext cx="332" cy="254"/>
            </a:xfrm>
            <a:custGeom>
              <a:avLst/>
              <a:gdLst>
                <a:gd name="T0" fmla="*/ 146 w 331"/>
                <a:gd name="T1" fmla="*/ 216 h 253"/>
                <a:gd name="T2" fmla="*/ 117 w 331"/>
                <a:gd name="T3" fmla="*/ 226 h 253"/>
                <a:gd name="T4" fmla="*/ 97 w 331"/>
                <a:gd name="T5" fmla="*/ 236 h 253"/>
                <a:gd name="T6" fmla="*/ 87 w 331"/>
                <a:gd name="T7" fmla="*/ 236 h 253"/>
                <a:gd name="T8" fmla="*/ 78 w 331"/>
                <a:gd name="T9" fmla="*/ 236 h 253"/>
                <a:gd name="T10" fmla="*/ 48 w 331"/>
                <a:gd name="T11" fmla="*/ 236 h 253"/>
                <a:gd name="T12" fmla="*/ 19 w 331"/>
                <a:gd name="T13" fmla="*/ 236 h 253"/>
                <a:gd name="T14" fmla="*/ 9 w 331"/>
                <a:gd name="T15" fmla="*/ 236 h 253"/>
                <a:gd name="T16" fmla="*/ 0 w 331"/>
                <a:gd name="T17" fmla="*/ 216 h 253"/>
                <a:gd name="T18" fmla="*/ 9 w 331"/>
                <a:gd name="T19" fmla="*/ 197 h 253"/>
                <a:gd name="T20" fmla="*/ 9 w 331"/>
                <a:gd name="T21" fmla="*/ 197 h 253"/>
                <a:gd name="T22" fmla="*/ 0 w 331"/>
                <a:gd name="T23" fmla="*/ 177 h 253"/>
                <a:gd name="T24" fmla="*/ 0 w 331"/>
                <a:gd name="T25" fmla="*/ 158 h 253"/>
                <a:gd name="T26" fmla="*/ 19 w 331"/>
                <a:gd name="T27" fmla="*/ 158 h 253"/>
                <a:gd name="T28" fmla="*/ 29 w 331"/>
                <a:gd name="T29" fmla="*/ 138 h 253"/>
                <a:gd name="T30" fmla="*/ 29 w 331"/>
                <a:gd name="T31" fmla="*/ 117 h 253"/>
                <a:gd name="T32" fmla="*/ 29 w 331"/>
                <a:gd name="T33" fmla="*/ 97 h 253"/>
                <a:gd name="T34" fmla="*/ 39 w 331"/>
                <a:gd name="T35" fmla="*/ 97 h 253"/>
                <a:gd name="T36" fmla="*/ 48 w 331"/>
                <a:gd name="T37" fmla="*/ 78 h 253"/>
                <a:gd name="T38" fmla="*/ 68 w 331"/>
                <a:gd name="T39" fmla="*/ 68 h 253"/>
                <a:gd name="T40" fmla="*/ 68 w 331"/>
                <a:gd name="T41" fmla="*/ 48 h 253"/>
                <a:gd name="T42" fmla="*/ 68 w 331"/>
                <a:gd name="T43" fmla="*/ 39 h 253"/>
                <a:gd name="T44" fmla="*/ 87 w 331"/>
                <a:gd name="T45" fmla="*/ 39 h 253"/>
                <a:gd name="T46" fmla="*/ 97 w 331"/>
                <a:gd name="T47" fmla="*/ 39 h 253"/>
                <a:gd name="T48" fmla="*/ 107 w 331"/>
                <a:gd name="T49" fmla="*/ 29 h 253"/>
                <a:gd name="T50" fmla="*/ 107 w 331"/>
                <a:gd name="T51" fmla="*/ 19 h 253"/>
                <a:gd name="T52" fmla="*/ 117 w 331"/>
                <a:gd name="T53" fmla="*/ 9 h 253"/>
                <a:gd name="T54" fmla="*/ 136 w 331"/>
                <a:gd name="T55" fmla="*/ 9 h 253"/>
                <a:gd name="T56" fmla="*/ 146 w 331"/>
                <a:gd name="T57" fmla="*/ 0 h 253"/>
                <a:gd name="T58" fmla="*/ 156 w 331"/>
                <a:gd name="T59" fmla="*/ 0 h 253"/>
                <a:gd name="T60" fmla="*/ 165 w 331"/>
                <a:gd name="T61" fmla="*/ 9 h 253"/>
                <a:gd name="T62" fmla="*/ 165 w 331"/>
                <a:gd name="T63" fmla="*/ 29 h 253"/>
                <a:gd name="T64" fmla="*/ 177 w 331"/>
                <a:gd name="T65" fmla="*/ 39 h 253"/>
                <a:gd name="T66" fmla="*/ 197 w 331"/>
                <a:gd name="T67" fmla="*/ 78 h 253"/>
                <a:gd name="T68" fmla="*/ 226 w 331"/>
                <a:gd name="T69" fmla="*/ 107 h 253"/>
                <a:gd name="T70" fmla="*/ 255 w 331"/>
                <a:gd name="T71" fmla="*/ 126 h 253"/>
                <a:gd name="T72" fmla="*/ 284 w 331"/>
                <a:gd name="T73" fmla="*/ 138 h 253"/>
                <a:gd name="T74" fmla="*/ 304 w 331"/>
                <a:gd name="T75" fmla="*/ 126 h 253"/>
                <a:gd name="T76" fmla="*/ 314 w 331"/>
                <a:gd name="T77" fmla="*/ 138 h 253"/>
                <a:gd name="T78" fmla="*/ 314 w 331"/>
                <a:gd name="T79" fmla="*/ 158 h 253"/>
                <a:gd name="T80" fmla="*/ 314 w 331"/>
                <a:gd name="T81" fmla="*/ 177 h 253"/>
                <a:gd name="T82" fmla="*/ 323 w 331"/>
                <a:gd name="T83" fmla="*/ 187 h 253"/>
                <a:gd name="T84" fmla="*/ 333 w 331"/>
                <a:gd name="T85" fmla="*/ 197 h 253"/>
                <a:gd name="T86" fmla="*/ 333 w 331"/>
                <a:gd name="T87" fmla="*/ 206 h 253"/>
                <a:gd name="T88" fmla="*/ 323 w 331"/>
                <a:gd name="T89" fmla="*/ 216 h 253"/>
                <a:gd name="T90" fmla="*/ 294 w 331"/>
                <a:gd name="T91" fmla="*/ 236 h 253"/>
                <a:gd name="T92" fmla="*/ 275 w 331"/>
                <a:gd name="T93" fmla="*/ 245 h 253"/>
                <a:gd name="T94" fmla="*/ 255 w 331"/>
                <a:gd name="T95" fmla="*/ 255 h 253"/>
                <a:gd name="T96" fmla="*/ 236 w 331"/>
                <a:gd name="T97" fmla="*/ 255 h 253"/>
                <a:gd name="T98" fmla="*/ 216 w 331"/>
                <a:gd name="T99" fmla="*/ 245 h 253"/>
                <a:gd name="T100" fmla="*/ 197 w 331"/>
                <a:gd name="T101" fmla="*/ 255 h 253"/>
                <a:gd name="T102" fmla="*/ 177 w 331"/>
                <a:gd name="T103" fmla="*/ 245 h 253"/>
                <a:gd name="T104" fmla="*/ 165 w 331"/>
                <a:gd name="T105" fmla="*/ 245 h 253"/>
                <a:gd name="T106" fmla="*/ 156 w 331"/>
                <a:gd name="T107" fmla="*/ 245 h 253"/>
                <a:gd name="T108" fmla="*/ 156 w 331"/>
                <a:gd name="T109" fmla="*/ 236 h 253"/>
                <a:gd name="T110" fmla="*/ 146 w 331"/>
                <a:gd name="T111" fmla="*/ 216 h 25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331"/>
                <a:gd name="T169" fmla="*/ 0 h 253"/>
                <a:gd name="T170" fmla="*/ 331 w 331"/>
                <a:gd name="T171" fmla="*/ 253 h 25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331" h="253">
                  <a:moveTo>
                    <a:pt x="146" y="214"/>
                  </a:moveTo>
                  <a:lnTo>
                    <a:pt x="117" y="224"/>
                  </a:lnTo>
                  <a:lnTo>
                    <a:pt x="97" y="234"/>
                  </a:lnTo>
                  <a:lnTo>
                    <a:pt x="87" y="234"/>
                  </a:lnTo>
                  <a:lnTo>
                    <a:pt x="78" y="234"/>
                  </a:lnTo>
                  <a:lnTo>
                    <a:pt x="48" y="234"/>
                  </a:lnTo>
                  <a:lnTo>
                    <a:pt x="19" y="234"/>
                  </a:lnTo>
                  <a:lnTo>
                    <a:pt x="9" y="234"/>
                  </a:lnTo>
                  <a:lnTo>
                    <a:pt x="0" y="214"/>
                  </a:lnTo>
                  <a:lnTo>
                    <a:pt x="9" y="195"/>
                  </a:lnTo>
                  <a:lnTo>
                    <a:pt x="0" y="175"/>
                  </a:lnTo>
                  <a:lnTo>
                    <a:pt x="0" y="156"/>
                  </a:lnTo>
                  <a:lnTo>
                    <a:pt x="19" y="156"/>
                  </a:lnTo>
                  <a:lnTo>
                    <a:pt x="29" y="136"/>
                  </a:lnTo>
                  <a:lnTo>
                    <a:pt x="29" y="117"/>
                  </a:lnTo>
                  <a:lnTo>
                    <a:pt x="29" y="97"/>
                  </a:lnTo>
                  <a:lnTo>
                    <a:pt x="39" y="97"/>
                  </a:lnTo>
                  <a:lnTo>
                    <a:pt x="48" y="78"/>
                  </a:lnTo>
                  <a:lnTo>
                    <a:pt x="68" y="68"/>
                  </a:lnTo>
                  <a:lnTo>
                    <a:pt x="68" y="48"/>
                  </a:lnTo>
                  <a:lnTo>
                    <a:pt x="68" y="39"/>
                  </a:lnTo>
                  <a:lnTo>
                    <a:pt x="87" y="39"/>
                  </a:lnTo>
                  <a:lnTo>
                    <a:pt x="97" y="39"/>
                  </a:lnTo>
                  <a:lnTo>
                    <a:pt x="107" y="29"/>
                  </a:lnTo>
                  <a:lnTo>
                    <a:pt x="107" y="19"/>
                  </a:lnTo>
                  <a:lnTo>
                    <a:pt x="117" y="9"/>
                  </a:lnTo>
                  <a:lnTo>
                    <a:pt x="136" y="9"/>
                  </a:lnTo>
                  <a:lnTo>
                    <a:pt x="146" y="0"/>
                  </a:lnTo>
                  <a:lnTo>
                    <a:pt x="156" y="0"/>
                  </a:lnTo>
                  <a:lnTo>
                    <a:pt x="165" y="9"/>
                  </a:lnTo>
                  <a:lnTo>
                    <a:pt x="165" y="29"/>
                  </a:lnTo>
                  <a:lnTo>
                    <a:pt x="175" y="39"/>
                  </a:lnTo>
                  <a:lnTo>
                    <a:pt x="195" y="78"/>
                  </a:lnTo>
                  <a:lnTo>
                    <a:pt x="224" y="107"/>
                  </a:lnTo>
                  <a:lnTo>
                    <a:pt x="253" y="126"/>
                  </a:lnTo>
                  <a:lnTo>
                    <a:pt x="282" y="136"/>
                  </a:lnTo>
                  <a:lnTo>
                    <a:pt x="302" y="126"/>
                  </a:lnTo>
                  <a:lnTo>
                    <a:pt x="312" y="136"/>
                  </a:lnTo>
                  <a:lnTo>
                    <a:pt x="312" y="156"/>
                  </a:lnTo>
                  <a:lnTo>
                    <a:pt x="312" y="175"/>
                  </a:lnTo>
                  <a:lnTo>
                    <a:pt x="321" y="185"/>
                  </a:lnTo>
                  <a:lnTo>
                    <a:pt x="331" y="195"/>
                  </a:lnTo>
                  <a:lnTo>
                    <a:pt x="331" y="204"/>
                  </a:lnTo>
                  <a:lnTo>
                    <a:pt x="321" y="214"/>
                  </a:lnTo>
                  <a:lnTo>
                    <a:pt x="292" y="234"/>
                  </a:lnTo>
                  <a:lnTo>
                    <a:pt x="273" y="243"/>
                  </a:lnTo>
                  <a:lnTo>
                    <a:pt x="253" y="253"/>
                  </a:lnTo>
                  <a:lnTo>
                    <a:pt x="234" y="253"/>
                  </a:lnTo>
                  <a:lnTo>
                    <a:pt x="214" y="243"/>
                  </a:lnTo>
                  <a:lnTo>
                    <a:pt x="195" y="253"/>
                  </a:lnTo>
                  <a:lnTo>
                    <a:pt x="175" y="243"/>
                  </a:lnTo>
                  <a:lnTo>
                    <a:pt x="165" y="243"/>
                  </a:lnTo>
                  <a:lnTo>
                    <a:pt x="156" y="243"/>
                  </a:lnTo>
                  <a:lnTo>
                    <a:pt x="156" y="234"/>
                  </a:lnTo>
                  <a:lnTo>
                    <a:pt x="146" y="214"/>
                  </a:lnTo>
                  <a:close/>
                </a:path>
              </a:pathLst>
            </a:custGeom>
            <a:solidFill>
              <a:srgbClr val="DDDD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8767" name="Freeform 190"/>
            <p:cNvSpPr>
              <a:spLocks noChangeAspect="1"/>
            </p:cNvSpPr>
            <p:nvPr/>
          </p:nvSpPr>
          <p:spPr bwMode="auto">
            <a:xfrm>
              <a:off x="1366" y="1503"/>
              <a:ext cx="331" cy="253"/>
            </a:xfrm>
            <a:custGeom>
              <a:avLst/>
              <a:gdLst>
                <a:gd name="T0" fmla="*/ 146 w 331"/>
                <a:gd name="T1" fmla="*/ 214 h 253"/>
                <a:gd name="T2" fmla="*/ 117 w 331"/>
                <a:gd name="T3" fmla="*/ 224 h 253"/>
                <a:gd name="T4" fmla="*/ 97 w 331"/>
                <a:gd name="T5" fmla="*/ 234 h 253"/>
                <a:gd name="T6" fmla="*/ 87 w 331"/>
                <a:gd name="T7" fmla="*/ 234 h 253"/>
                <a:gd name="T8" fmla="*/ 78 w 331"/>
                <a:gd name="T9" fmla="*/ 234 h 253"/>
                <a:gd name="T10" fmla="*/ 48 w 331"/>
                <a:gd name="T11" fmla="*/ 234 h 253"/>
                <a:gd name="T12" fmla="*/ 19 w 331"/>
                <a:gd name="T13" fmla="*/ 234 h 253"/>
                <a:gd name="T14" fmla="*/ 9 w 331"/>
                <a:gd name="T15" fmla="*/ 234 h 253"/>
                <a:gd name="T16" fmla="*/ 0 w 331"/>
                <a:gd name="T17" fmla="*/ 214 h 253"/>
                <a:gd name="T18" fmla="*/ 9 w 331"/>
                <a:gd name="T19" fmla="*/ 195 h 253"/>
                <a:gd name="T20" fmla="*/ 9 w 331"/>
                <a:gd name="T21" fmla="*/ 195 h 253"/>
                <a:gd name="T22" fmla="*/ 0 w 331"/>
                <a:gd name="T23" fmla="*/ 175 h 253"/>
                <a:gd name="T24" fmla="*/ 0 w 331"/>
                <a:gd name="T25" fmla="*/ 156 h 253"/>
                <a:gd name="T26" fmla="*/ 19 w 331"/>
                <a:gd name="T27" fmla="*/ 156 h 253"/>
                <a:gd name="T28" fmla="*/ 29 w 331"/>
                <a:gd name="T29" fmla="*/ 136 h 253"/>
                <a:gd name="T30" fmla="*/ 29 w 331"/>
                <a:gd name="T31" fmla="*/ 117 h 253"/>
                <a:gd name="T32" fmla="*/ 29 w 331"/>
                <a:gd name="T33" fmla="*/ 97 h 253"/>
                <a:gd name="T34" fmla="*/ 39 w 331"/>
                <a:gd name="T35" fmla="*/ 97 h 253"/>
                <a:gd name="T36" fmla="*/ 48 w 331"/>
                <a:gd name="T37" fmla="*/ 78 h 253"/>
                <a:gd name="T38" fmla="*/ 68 w 331"/>
                <a:gd name="T39" fmla="*/ 68 h 253"/>
                <a:gd name="T40" fmla="*/ 68 w 331"/>
                <a:gd name="T41" fmla="*/ 48 h 253"/>
                <a:gd name="T42" fmla="*/ 68 w 331"/>
                <a:gd name="T43" fmla="*/ 39 h 253"/>
                <a:gd name="T44" fmla="*/ 87 w 331"/>
                <a:gd name="T45" fmla="*/ 39 h 253"/>
                <a:gd name="T46" fmla="*/ 97 w 331"/>
                <a:gd name="T47" fmla="*/ 39 h 253"/>
                <a:gd name="T48" fmla="*/ 107 w 331"/>
                <a:gd name="T49" fmla="*/ 29 h 253"/>
                <a:gd name="T50" fmla="*/ 107 w 331"/>
                <a:gd name="T51" fmla="*/ 19 h 253"/>
                <a:gd name="T52" fmla="*/ 117 w 331"/>
                <a:gd name="T53" fmla="*/ 9 h 253"/>
                <a:gd name="T54" fmla="*/ 136 w 331"/>
                <a:gd name="T55" fmla="*/ 9 h 253"/>
                <a:gd name="T56" fmla="*/ 146 w 331"/>
                <a:gd name="T57" fmla="*/ 0 h 253"/>
                <a:gd name="T58" fmla="*/ 156 w 331"/>
                <a:gd name="T59" fmla="*/ 0 h 253"/>
                <a:gd name="T60" fmla="*/ 165 w 331"/>
                <a:gd name="T61" fmla="*/ 9 h 253"/>
                <a:gd name="T62" fmla="*/ 165 w 331"/>
                <a:gd name="T63" fmla="*/ 29 h 253"/>
                <a:gd name="T64" fmla="*/ 175 w 331"/>
                <a:gd name="T65" fmla="*/ 39 h 253"/>
                <a:gd name="T66" fmla="*/ 195 w 331"/>
                <a:gd name="T67" fmla="*/ 78 h 253"/>
                <a:gd name="T68" fmla="*/ 224 w 331"/>
                <a:gd name="T69" fmla="*/ 107 h 253"/>
                <a:gd name="T70" fmla="*/ 253 w 331"/>
                <a:gd name="T71" fmla="*/ 126 h 253"/>
                <a:gd name="T72" fmla="*/ 282 w 331"/>
                <a:gd name="T73" fmla="*/ 136 h 253"/>
                <a:gd name="T74" fmla="*/ 302 w 331"/>
                <a:gd name="T75" fmla="*/ 126 h 253"/>
                <a:gd name="T76" fmla="*/ 312 w 331"/>
                <a:gd name="T77" fmla="*/ 136 h 253"/>
                <a:gd name="T78" fmla="*/ 312 w 331"/>
                <a:gd name="T79" fmla="*/ 156 h 253"/>
                <a:gd name="T80" fmla="*/ 312 w 331"/>
                <a:gd name="T81" fmla="*/ 175 h 253"/>
                <a:gd name="T82" fmla="*/ 321 w 331"/>
                <a:gd name="T83" fmla="*/ 185 h 253"/>
                <a:gd name="T84" fmla="*/ 331 w 331"/>
                <a:gd name="T85" fmla="*/ 195 h 253"/>
                <a:gd name="T86" fmla="*/ 331 w 331"/>
                <a:gd name="T87" fmla="*/ 204 h 253"/>
                <a:gd name="T88" fmla="*/ 321 w 331"/>
                <a:gd name="T89" fmla="*/ 214 h 253"/>
                <a:gd name="T90" fmla="*/ 292 w 331"/>
                <a:gd name="T91" fmla="*/ 234 h 253"/>
                <a:gd name="T92" fmla="*/ 273 w 331"/>
                <a:gd name="T93" fmla="*/ 243 h 253"/>
                <a:gd name="T94" fmla="*/ 253 w 331"/>
                <a:gd name="T95" fmla="*/ 253 h 253"/>
                <a:gd name="T96" fmla="*/ 234 w 331"/>
                <a:gd name="T97" fmla="*/ 253 h 253"/>
                <a:gd name="T98" fmla="*/ 214 w 331"/>
                <a:gd name="T99" fmla="*/ 243 h 253"/>
                <a:gd name="T100" fmla="*/ 195 w 331"/>
                <a:gd name="T101" fmla="*/ 253 h 253"/>
                <a:gd name="T102" fmla="*/ 175 w 331"/>
                <a:gd name="T103" fmla="*/ 243 h 253"/>
                <a:gd name="T104" fmla="*/ 165 w 331"/>
                <a:gd name="T105" fmla="*/ 243 h 253"/>
                <a:gd name="T106" fmla="*/ 156 w 331"/>
                <a:gd name="T107" fmla="*/ 243 h 253"/>
                <a:gd name="T108" fmla="*/ 156 w 331"/>
                <a:gd name="T109" fmla="*/ 234 h 25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331"/>
                <a:gd name="T166" fmla="*/ 0 h 253"/>
                <a:gd name="T167" fmla="*/ 331 w 331"/>
                <a:gd name="T168" fmla="*/ 253 h 25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331" h="253">
                  <a:moveTo>
                    <a:pt x="146" y="214"/>
                  </a:moveTo>
                  <a:lnTo>
                    <a:pt x="117" y="224"/>
                  </a:lnTo>
                  <a:lnTo>
                    <a:pt x="97" y="234"/>
                  </a:lnTo>
                  <a:lnTo>
                    <a:pt x="87" y="234"/>
                  </a:lnTo>
                  <a:lnTo>
                    <a:pt x="78" y="234"/>
                  </a:lnTo>
                  <a:lnTo>
                    <a:pt x="48" y="234"/>
                  </a:lnTo>
                  <a:lnTo>
                    <a:pt x="19" y="234"/>
                  </a:lnTo>
                  <a:lnTo>
                    <a:pt x="9" y="234"/>
                  </a:lnTo>
                  <a:lnTo>
                    <a:pt x="0" y="214"/>
                  </a:lnTo>
                  <a:lnTo>
                    <a:pt x="9" y="195"/>
                  </a:lnTo>
                  <a:lnTo>
                    <a:pt x="0" y="175"/>
                  </a:lnTo>
                  <a:lnTo>
                    <a:pt x="0" y="156"/>
                  </a:lnTo>
                  <a:lnTo>
                    <a:pt x="19" y="156"/>
                  </a:lnTo>
                  <a:lnTo>
                    <a:pt x="29" y="136"/>
                  </a:lnTo>
                  <a:lnTo>
                    <a:pt x="29" y="117"/>
                  </a:lnTo>
                  <a:lnTo>
                    <a:pt x="29" y="97"/>
                  </a:lnTo>
                  <a:lnTo>
                    <a:pt x="39" y="97"/>
                  </a:lnTo>
                  <a:lnTo>
                    <a:pt x="48" y="78"/>
                  </a:lnTo>
                  <a:lnTo>
                    <a:pt x="68" y="68"/>
                  </a:lnTo>
                  <a:lnTo>
                    <a:pt x="68" y="48"/>
                  </a:lnTo>
                  <a:lnTo>
                    <a:pt x="68" y="39"/>
                  </a:lnTo>
                  <a:lnTo>
                    <a:pt x="87" y="39"/>
                  </a:lnTo>
                  <a:lnTo>
                    <a:pt x="97" y="39"/>
                  </a:lnTo>
                  <a:lnTo>
                    <a:pt x="107" y="29"/>
                  </a:lnTo>
                  <a:lnTo>
                    <a:pt x="107" y="19"/>
                  </a:lnTo>
                  <a:lnTo>
                    <a:pt x="117" y="9"/>
                  </a:lnTo>
                  <a:lnTo>
                    <a:pt x="136" y="9"/>
                  </a:lnTo>
                  <a:lnTo>
                    <a:pt x="146" y="0"/>
                  </a:lnTo>
                  <a:lnTo>
                    <a:pt x="156" y="0"/>
                  </a:lnTo>
                  <a:lnTo>
                    <a:pt x="165" y="9"/>
                  </a:lnTo>
                  <a:lnTo>
                    <a:pt x="165" y="29"/>
                  </a:lnTo>
                  <a:lnTo>
                    <a:pt x="175" y="39"/>
                  </a:lnTo>
                  <a:lnTo>
                    <a:pt x="195" y="78"/>
                  </a:lnTo>
                  <a:lnTo>
                    <a:pt x="224" y="107"/>
                  </a:lnTo>
                  <a:lnTo>
                    <a:pt x="253" y="126"/>
                  </a:lnTo>
                  <a:lnTo>
                    <a:pt x="282" y="136"/>
                  </a:lnTo>
                  <a:lnTo>
                    <a:pt x="302" y="126"/>
                  </a:lnTo>
                  <a:lnTo>
                    <a:pt x="312" y="136"/>
                  </a:lnTo>
                  <a:lnTo>
                    <a:pt x="312" y="156"/>
                  </a:lnTo>
                  <a:lnTo>
                    <a:pt x="312" y="175"/>
                  </a:lnTo>
                  <a:lnTo>
                    <a:pt x="321" y="185"/>
                  </a:lnTo>
                  <a:lnTo>
                    <a:pt x="331" y="195"/>
                  </a:lnTo>
                  <a:lnTo>
                    <a:pt x="331" y="204"/>
                  </a:lnTo>
                  <a:lnTo>
                    <a:pt x="321" y="214"/>
                  </a:lnTo>
                  <a:lnTo>
                    <a:pt x="292" y="234"/>
                  </a:lnTo>
                  <a:lnTo>
                    <a:pt x="273" y="243"/>
                  </a:lnTo>
                  <a:lnTo>
                    <a:pt x="253" y="253"/>
                  </a:lnTo>
                  <a:lnTo>
                    <a:pt x="234" y="253"/>
                  </a:lnTo>
                  <a:lnTo>
                    <a:pt x="214" y="243"/>
                  </a:lnTo>
                  <a:lnTo>
                    <a:pt x="195" y="253"/>
                  </a:lnTo>
                  <a:lnTo>
                    <a:pt x="175" y="243"/>
                  </a:lnTo>
                  <a:lnTo>
                    <a:pt x="165" y="243"/>
                  </a:lnTo>
                  <a:lnTo>
                    <a:pt x="156" y="243"/>
                  </a:lnTo>
                  <a:lnTo>
                    <a:pt x="156" y="234"/>
                  </a:lnTo>
                </a:path>
              </a:pathLst>
            </a:custGeom>
            <a:solidFill>
              <a:srgbClr val="DDDDDD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181" name="Freeform 188"/>
          <p:cNvSpPr>
            <a:spLocks/>
          </p:cNvSpPr>
          <p:nvPr>
            <p:custDataLst>
              <p:tags r:id="rId129"/>
            </p:custDataLst>
          </p:nvPr>
        </p:nvSpPr>
        <p:spPr bwMode="auto">
          <a:xfrm>
            <a:off x="2455863" y="3894138"/>
            <a:ext cx="168275" cy="149225"/>
          </a:xfrm>
          <a:custGeom>
            <a:avLst/>
            <a:gdLst/>
            <a:ahLst/>
            <a:cxnLst>
              <a:cxn ang="0">
                <a:pos x="127" y="244"/>
              </a:cxn>
              <a:cxn ang="0">
                <a:pos x="107" y="244"/>
              </a:cxn>
              <a:cxn ang="0">
                <a:pos x="78" y="225"/>
              </a:cxn>
              <a:cxn ang="0">
                <a:pos x="97" y="195"/>
              </a:cxn>
              <a:cxn ang="0">
                <a:pos x="88" y="166"/>
              </a:cxn>
              <a:cxn ang="0">
                <a:pos x="68" y="166"/>
              </a:cxn>
              <a:cxn ang="0">
                <a:pos x="58" y="147"/>
              </a:cxn>
              <a:cxn ang="0">
                <a:pos x="39" y="107"/>
              </a:cxn>
              <a:cxn ang="0">
                <a:pos x="19" y="107"/>
              </a:cxn>
              <a:cxn ang="0">
                <a:pos x="0" y="88"/>
              </a:cxn>
              <a:cxn ang="0">
                <a:pos x="10" y="59"/>
              </a:cxn>
              <a:cxn ang="0">
                <a:pos x="29" y="49"/>
              </a:cxn>
              <a:cxn ang="0">
                <a:pos x="49" y="29"/>
              </a:cxn>
              <a:cxn ang="0">
                <a:pos x="58" y="10"/>
              </a:cxn>
              <a:cxn ang="0">
                <a:pos x="78" y="0"/>
              </a:cxn>
              <a:cxn ang="0">
                <a:pos x="97" y="10"/>
              </a:cxn>
              <a:cxn ang="0">
                <a:pos x="97" y="39"/>
              </a:cxn>
              <a:cxn ang="0">
                <a:pos x="117" y="59"/>
              </a:cxn>
              <a:cxn ang="0">
                <a:pos x="146" y="59"/>
              </a:cxn>
              <a:cxn ang="0">
                <a:pos x="166" y="39"/>
              </a:cxn>
              <a:cxn ang="0">
                <a:pos x="185" y="59"/>
              </a:cxn>
              <a:cxn ang="0">
                <a:pos x="244" y="59"/>
              </a:cxn>
              <a:cxn ang="0">
                <a:pos x="253" y="59"/>
              </a:cxn>
              <a:cxn ang="0">
                <a:pos x="253" y="88"/>
              </a:cxn>
              <a:cxn ang="0">
                <a:pos x="253" y="107"/>
              </a:cxn>
              <a:cxn ang="0">
                <a:pos x="253" y="137"/>
              </a:cxn>
              <a:cxn ang="0">
                <a:pos x="234" y="156"/>
              </a:cxn>
              <a:cxn ang="0">
                <a:pos x="234" y="186"/>
              </a:cxn>
              <a:cxn ang="0">
                <a:pos x="214" y="205"/>
              </a:cxn>
              <a:cxn ang="0">
                <a:pos x="185" y="195"/>
              </a:cxn>
              <a:cxn ang="0">
                <a:pos x="166" y="205"/>
              </a:cxn>
              <a:cxn ang="0">
                <a:pos x="166" y="225"/>
              </a:cxn>
              <a:cxn ang="0">
                <a:pos x="146" y="225"/>
              </a:cxn>
              <a:cxn ang="0">
                <a:pos x="127" y="234"/>
              </a:cxn>
            </a:cxnLst>
            <a:rect l="0" t="0" r="r" b="b"/>
            <a:pathLst>
              <a:path w="253" h="244">
                <a:moveTo>
                  <a:pt x="136" y="244"/>
                </a:moveTo>
                <a:lnTo>
                  <a:pt x="127" y="244"/>
                </a:lnTo>
                <a:lnTo>
                  <a:pt x="117" y="244"/>
                </a:lnTo>
                <a:lnTo>
                  <a:pt x="107" y="244"/>
                </a:lnTo>
                <a:lnTo>
                  <a:pt x="68" y="234"/>
                </a:lnTo>
                <a:lnTo>
                  <a:pt x="78" y="225"/>
                </a:lnTo>
                <a:lnTo>
                  <a:pt x="88" y="205"/>
                </a:lnTo>
                <a:lnTo>
                  <a:pt x="97" y="195"/>
                </a:lnTo>
                <a:lnTo>
                  <a:pt x="97" y="186"/>
                </a:lnTo>
                <a:lnTo>
                  <a:pt x="88" y="166"/>
                </a:lnTo>
                <a:lnTo>
                  <a:pt x="68" y="166"/>
                </a:lnTo>
                <a:lnTo>
                  <a:pt x="68" y="156"/>
                </a:lnTo>
                <a:lnTo>
                  <a:pt x="58" y="147"/>
                </a:lnTo>
                <a:lnTo>
                  <a:pt x="49" y="137"/>
                </a:lnTo>
                <a:lnTo>
                  <a:pt x="39" y="107"/>
                </a:lnTo>
                <a:lnTo>
                  <a:pt x="29" y="107"/>
                </a:lnTo>
                <a:lnTo>
                  <a:pt x="19" y="107"/>
                </a:lnTo>
                <a:lnTo>
                  <a:pt x="0" y="107"/>
                </a:lnTo>
                <a:lnTo>
                  <a:pt x="0" y="88"/>
                </a:lnTo>
                <a:lnTo>
                  <a:pt x="0" y="68"/>
                </a:lnTo>
                <a:lnTo>
                  <a:pt x="10" y="59"/>
                </a:lnTo>
                <a:lnTo>
                  <a:pt x="19" y="59"/>
                </a:lnTo>
                <a:lnTo>
                  <a:pt x="29" y="49"/>
                </a:lnTo>
                <a:lnTo>
                  <a:pt x="39" y="39"/>
                </a:lnTo>
                <a:lnTo>
                  <a:pt x="49" y="29"/>
                </a:lnTo>
                <a:lnTo>
                  <a:pt x="58" y="29"/>
                </a:lnTo>
                <a:lnTo>
                  <a:pt x="58" y="10"/>
                </a:lnTo>
                <a:lnTo>
                  <a:pt x="68" y="0"/>
                </a:lnTo>
                <a:lnTo>
                  <a:pt x="78" y="0"/>
                </a:lnTo>
                <a:lnTo>
                  <a:pt x="88" y="0"/>
                </a:lnTo>
                <a:lnTo>
                  <a:pt x="97" y="10"/>
                </a:lnTo>
                <a:lnTo>
                  <a:pt x="97" y="29"/>
                </a:lnTo>
                <a:lnTo>
                  <a:pt x="97" y="39"/>
                </a:lnTo>
                <a:lnTo>
                  <a:pt x="97" y="49"/>
                </a:lnTo>
                <a:lnTo>
                  <a:pt x="117" y="59"/>
                </a:lnTo>
                <a:lnTo>
                  <a:pt x="136" y="59"/>
                </a:lnTo>
                <a:lnTo>
                  <a:pt x="146" y="59"/>
                </a:lnTo>
                <a:lnTo>
                  <a:pt x="156" y="68"/>
                </a:lnTo>
                <a:lnTo>
                  <a:pt x="166" y="39"/>
                </a:lnTo>
                <a:lnTo>
                  <a:pt x="175" y="59"/>
                </a:lnTo>
                <a:lnTo>
                  <a:pt x="185" y="59"/>
                </a:lnTo>
                <a:lnTo>
                  <a:pt x="214" y="59"/>
                </a:lnTo>
                <a:lnTo>
                  <a:pt x="244" y="59"/>
                </a:lnTo>
                <a:lnTo>
                  <a:pt x="253" y="59"/>
                </a:lnTo>
                <a:lnTo>
                  <a:pt x="253" y="78"/>
                </a:lnTo>
                <a:lnTo>
                  <a:pt x="253" y="88"/>
                </a:lnTo>
                <a:lnTo>
                  <a:pt x="253" y="98"/>
                </a:lnTo>
                <a:lnTo>
                  <a:pt x="253" y="107"/>
                </a:lnTo>
                <a:lnTo>
                  <a:pt x="253" y="117"/>
                </a:lnTo>
                <a:lnTo>
                  <a:pt x="253" y="137"/>
                </a:lnTo>
                <a:lnTo>
                  <a:pt x="234" y="147"/>
                </a:lnTo>
                <a:lnTo>
                  <a:pt x="234" y="156"/>
                </a:lnTo>
                <a:lnTo>
                  <a:pt x="244" y="166"/>
                </a:lnTo>
                <a:lnTo>
                  <a:pt x="234" y="186"/>
                </a:lnTo>
                <a:lnTo>
                  <a:pt x="224" y="195"/>
                </a:lnTo>
                <a:lnTo>
                  <a:pt x="214" y="205"/>
                </a:lnTo>
                <a:lnTo>
                  <a:pt x="205" y="205"/>
                </a:lnTo>
                <a:lnTo>
                  <a:pt x="185" y="195"/>
                </a:lnTo>
                <a:lnTo>
                  <a:pt x="175" y="195"/>
                </a:lnTo>
                <a:lnTo>
                  <a:pt x="166" y="205"/>
                </a:lnTo>
                <a:lnTo>
                  <a:pt x="175" y="215"/>
                </a:lnTo>
                <a:lnTo>
                  <a:pt x="166" y="225"/>
                </a:lnTo>
                <a:lnTo>
                  <a:pt x="156" y="225"/>
                </a:lnTo>
                <a:lnTo>
                  <a:pt x="146" y="225"/>
                </a:lnTo>
                <a:lnTo>
                  <a:pt x="127" y="225"/>
                </a:lnTo>
                <a:lnTo>
                  <a:pt x="127" y="234"/>
                </a:lnTo>
                <a:lnTo>
                  <a:pt x="136" y="2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en-US" sz="1100">
              <a:latin typeface="Polo" pitchFamily="2" charset="0"/>
              <a:cs typeface="+mn-cs"/>
            </a:endParaRPr>
          </a:p>
        </p:txBody>
      </p:sp>
      <p:sp>
        <p:nvSpPr>
          <p:cNvPr id="182" name="Freeform 187"/>
          <p:cNvSpPr>
            <a:spLocks/>
          </p:cNvSpPr>
          <p:nvPr>
            <p:custDataLst>
              <p:tags r:id="rId130"/>
            </p:custDataLst>
          </p:nvPr>
        </p:nvSpPr>
        <p:spPr bwMode="auto">
          <a:xfrm>
            <a:off x="2613025" y="3916363"/>
            <a:ext cx="174625" cy="115887"/>
          </a:xfrm>
          <a:custGeom>
            <a:avLst/>
            <a:gdLst/>
            <a:ahLst/>
            <a:cxnLst>
              <a:cxn ang="0">
                <a:pos x="244" y="186"/>
              </a:cxn>
              <a:cxn ang="0">
                <a:pos x="224" y="186"/>
              </a:cxn>
              <a:cxn ang="0">
                <a:pos x="195" y="186"/>
              </a:cxn>
              <a:cxn ang="0">
                <a:pos x="166" y="186"/>
              </a:cxn>
              <a:cxn ang="0">
                <a:pos x="156" y="176"/>
              </a:cxn>
              <a:cxn ang="0">
                <a:pos x="136" y="156"/>
              </a:cxn>
              <a:cxn ang="0">
                <a:pos x="136" y="147"/>
              </a:cxn>
              <a:cxn ang="0">
                <a:pos x="127" y="156"/>
              </a:cxn>
              <a:cxn ang="0">
                <a:pos x="127" y="176"/>
              </a:cxn>
              <a:cxn ang="0">
                <a:pos x="107" y="176"/>
              </a:cxn>
              <a:cxn ang="0">
                <a:pos x="88" y="176"/>
              </a:cxn>
              <a:cxn ang="0">
                <a:pos x="78" y="186"/>
              </a:cxn>
              <a:cxn ang="0">
                <a:pos x="68" y="186"/>
              </a:cxn>
              <a:cxn ang="0">
                <a:pos x="58" y="186"/>
              </a:cxn>
              <a:cxn ang="0">
                <a:pos x="49" y="176"/>
              </a:cxn>
              <a:cxn ang="0">
                <a:pos x="10" y="147"/>
              </a:cxn>
              <a:cxn ang="0">
                <a:pos x="10" y="137"/>
              </a:cxn>
              <a:cxn ang="0">
                <a:pos x="0" y="117"/>
              </a:cxn>
              <a:cxn ang="0">
                <a:pos x="10" y="108"/>
              </a:cxn>
              <a:cxn ang="0">
                <a:pos x="19" y="98"/>
              </a:cxn>
              <a:cxn ang="0">
                <a:pos x="19" y="88"/>
              </a:cxn>
              <a:cxn ang="0">
                <a:pos x="19" y="68"/>
              </a:cxn>
              <a:cxn ang="0">
                <a:pos x="19" y="59"/>
              </a:cxn>
              <a:cxn ang="0">
                <a:pos x="19" y="49"/>
              </a:cxn>
              <a:cxn ang="0">
                <a:pos x="29" y="39"/>
              </a:cxn>
              <a:cxn ang="0">
                <a:pos x="19" y="20"/>
              </a:cxn>
              <a:cxn ang="0">
                <a:pos x="19" y="20"/>
              </a:cxn>
              <a:cxn ang="0">
                <a:pos x="29" y="20"/>
              </a:cxn>
              <a:cxn ang="0">
                <a:pos x="49" y="10"/>
              </a:cxn>
              <a:cxn ang="0">
                <a:pos x="78" y="0"/>
              </a:cxn>
              <a:cxn ang="0">
                <a:pos x="88" y="20"/>
              </a:cxn>
              <a:cxn ang="0">
                <a:pos x="88" y="29"/>
              </a:cxn>
              <a:cxn ang="0">
                <a:pos x="107" y="29"/>
              </a:cxn>
              <a:cxn ang="0">
                <a:pos x="107" y="29"/>
              </a:cxn>
              <a:cxn ang="0">
                <a:pos x="127" y="39"/>
              </a:cxn>
              <a:cxn ang="0">
                <a:pos x="146" y="29"/>
              </a:cxn>
              <a:cxn ang="0">
                <a:pos x="166" y="39"/>
              </a:cxn>
              <a:cxn ang="0">
                <a:pos x="195" y="39"/>
              </a:cxn>
              <a:cxn ang="0">
                <a:pos x="205" y="29"/>
              </a:cxn>
              <a:cxn ang="0">
                <a:pos x="214" y="49"/>
              </a:cxn>
              <a:cxn ang="0">
                <a:pos x="214" y="68"/>
              </a:cxn>
              <a:cxn ang="0">
                <a:pos x="234" y="88"/>
              </a:cxn>
              <a:cxn ang="0">
                <a:pos x="244" y="88"/>
              </a:cxn>
              <a:cxn ang="0">
                <a:pos x="253" y="88"/>
              </a:cxn>
              <a:cxn ang="0">
                <a:pos x="263" y="117"/>
              </a:cxn>
              <a:cxn ang="0">
                <a:pos x="263" y="147"/>
              </a:cxn>
              <a:cxn ang="0">
                <a:pos x="244" y="156"/>
              </a:cxn>
              <a:cxn ang="0">
                <a:pos x="234" y="176"/>
              </a:cxn>
              <a:cxn ang="0">
                <a:pos x="244" y="186"/>
              </a:cxn>
            </a:cxnLst>
            <a:rect l="0" t="0" r="r" b="b"/>
            <a:pathLst>
              <a:path w="263" h="186">
                <a:moveTo>
                  <a:pt x="244" y="186"/>
                </a:moveTo>
                <a:lnTo>
                  <a:pt x="224" y="186"/>
                </a:lnTo>
                <a:lnTo>
                  <a:pt x="195" y="186"/>
                </a:lnTo>
                <a:lnTo>
                  <a:pt x="166" y="186"/>
                </a:lnTo>
                <a:lnTo>
                  <a:pt x="156" y="176"/>
                </a:lnTo>
                <a:lnTo>
                  <a:pt x="136" y="156"/>
                </a:lnTo>
                <a:lnTo>
                  <a:pt x="136" y="147"/>
                </a:lnTo>
                <a:lnTo>
                  <a:pt x="127" y="156"/>
                </a:lnTo>
                <a:lnTo>
                  <a:pt x="127" y="176"/>
                </a:lnTo>
                <a:lnTo>
                  <a:pt x="107" y="176"/>
                </a:lnTo>
                <a:lnTo>
                  <a:pt x="88" y="176"/>
                </a:lnTo>
                <a:lnTo>
                  <a:pt x="78" y="186"/>
                </a:lnTo>
                <a:lnTo>
                  <a:pt x="68" y="186"/>
                </a:lnTo>
                <a:lnTo>
                  <a:pt x="58" y="186"/>
                </a:lnTo>
                <a:lnTo>
                  <a:pt x="49" y="176"/>
                </a:lnTo>
                <a:lnTo>
                  <a:pt x="10" y="147"/>
                </a:lnTo>
                <a:lnTo>
                  <a:pt x="10" y="137"/>
                </a:lnTo>
                <a:lnTo>
                  <a:pt x="0" y="117"/>
                </a:lnTo>
                <a:lnTo>
                  <a:pt x="10" y="108"/>
                </a:lnTo>
                <a:lnTo>
                  <a:pt x="19" y="98"/>
                </a:lnTo>
                <a:lnTo>
                  <a:pt x="19" y="88"/>
                </a:lnTo>
                <a:lnTo>
                  <a:pt x="19" y="68"/>
                </a:lnTo>
                <a:lnTo>
                  <a:pt x="19" y="59"/>
                </a:lnTo>
                <a:lnTo>
                  <a:pt x="19" y="49"/>
                </a:lnTo>
                <a:lnTo>
                  <a:pt x="29" y="39"/>
                </a:lnTo>
                <a:lnTo>
                  <a:pt x="19" y="20"/>
                </a:lnTo>
                <a:lnTo>
                  <a:pt x="29" y="20"/>
                </a:lnTo>
                <a:lnTo>
                  <a:pt x="49" y="10"/>
                </a:lnTo>
                <a:lnTo>
                  <a:pt x="78" y="0"/>
                </a:lnTo>
                <a:lnTo>
                  <a:pt x="88" y="20"/>
                </a:lnTo>
                <a:lnTo>
                  <a:pt x="88" y="29"/>
                </a:lnTo>
                <a:lnTo>
                  <a:pt x="107" y="29"/>
                </a:lnTo>
                <a:lnTo>
                  <a:pt x="127" y="39"/>
                </a:lnTo>
                <a:lnTo>
                  <a:pt x="146" y="29"/>
                </a:lnTo>
                <a:lnTo>
                  <a:pt x="166" y="39"/>
                </a:lnTo>
                <a:lnTo>
                  <a:pt x="195" y="39"/>
                </a:lnTo>
                <a:lnTo>
                  <a:pt x="205" y="29"/>
                </a:lnTo>
                <a:lnTo>
                  <a:pt x="214" y="49"/>
                </a:lnTo>
                <a:lnTo>
                  <a:pt x="214" y="68"/>
                </a:lnTo>
                <a:lnTo>
                  <a:pt x="234" y="88"/>
                </a:lnTo>
                <a:lnTo>
                  <a:pt x="244" y="88"/>
                </a:lnTo>
                <a:lnTo>
                  <a:pt x="253" y="88"/>
                </a:lnTo>
                <a:lnTo>
                  <a:pt x="263" y="117"/>
                </a:lnTo>
                <a:lnTo>
                  <a:pt x="263" y="147"/>
                </a:lnTo>
                <a:lnTo>
                  <a:pt x="244" y="156"/>
                </a:lnTo>
                <a:lnTo>
                  <a:pt x="234" y="176"/>
                </a:lnTo>
                <a:lnTo>
                  <a:pt x="244" y="1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en-US" sz="1100">
              <a:latin typeface="Polo" pitchFamily="2" charset="0"/>
              <a:cs typeface="+mn-cs"/>
            </a:endParaRPr>
          </a:p>
        </p:txBody>
      </p:sp>
      <p:sp>
        <p:nvSpPr>
          <p:cNvPr id="18565" name="Freeform 186"/>
          <p:cNvSpPr>
            <a:spLocks noChangeAspect="1"/>
          </p:cNvSpPr>
          <p:nvPr>
            <p:custDataLst>
              <p:tags r:id="rId131"/>
            </p:custDataLst>
          </p:nvPr>
        </p:nvSpPr>
        <p:spPr bwMode="auto">
          <a:xfrm>
            <a:off x="2749550" y="3898900"/>
            <a:ext cx="168275" cy="201613"/>
          </a:xfrm>
          <a:custGeom>
            <a:avLst/>
            <a:gdLst>
              <a:gd name="T0" fmla="*/ 31926 w 253"/>
              <a:gd name="T1" fmla="*/ 147139 h 322"/>
              <a:gd name="T2" fmla="*/ 31926 w 253"/>
              <a:gd name="T3" fmla="*/ 153400 h 322"/>
              <a:gd name="T4" fmla="*/ 31926 w 253"/>
              <a:gd name="T5" fmla="*/ 171558 h 322"/>
              <a:gd name="T6" fmla="*/ 25940 w 253"/>
              <a:gd name="T7" fmla="*/ 189716 h 322"/>
              <a:gd name="T8" fmla="*/ 31926 w 253"/>
              <a:gd name="T9" fmla="*/ 189716 h 322"/>
              <a:gd name="T10" fmla="*/ 45228 w 253"/>
              <a:gd name="T11" fmla="*/ 189716 h 322"/>
              <a:gd name="T12" fmla="*/ 57865 w 253"/>
              <a:gd name="T13" fmla="*/ 184081 h 322"/>
              <a:gd name="T14" fmla="*/ 64517 w 253"/>
              <a:gd name="T15" fmla="*/ 189716 h 322"/>
              <a:gd name="T16" fmla="*/ 96442 w 253"/>
              <a:gd name="T17" fmla="*/ 202238 h 322"/>
              <a:gd name="T18" fmla="*/ 122382 w 253"/>
              <a:gd name="T19" fmla="*/ 202238 h 322"/>
              <a:gd name="T20" fmla="*/ 135684 w 253"/>
              <a:gd name="T21" fmla="*/ 195977 h 322"/>
              <a:gd name="T22" fmla="*/ 148321 w 253"/>
              <a:gd name="T23" fmla="*/ 189716 h 322"/>
              <a:gd name="T24" fmla="*/ 148321 w 253"/>
              <a:gd name="T25" fmla="*/ 171558 h 322"/>
              <a:gd name="T26" fmla="*/ 141670 w 253"/>
              <a:gd name="T27" fmla="*/ 153400 h 322"/>
              <a:gd name="T28" fmla="*/ 141670 w 253"/>
              <a:gd name="T29" fmla="*/ 128982 h 322"/>
              <a:gd name="T30" fmla="*/ 135684 w 253"/>
              <a:gd name="T31" fmla="*/ 110824 h 322"/>
              <a:gd name="T32" fmla="*/ 167610 w 253"/>
              <a:gd name="T33" fmla="*/ 79518 h 322"/>
              <a:gd name="T34" fmla="*/ 167610 w 253"/>
              <a:gd name="T35" fmla="*/ 60734 h 322"/>
              <a:gd name="T36" fmla="*/ 161624 w 253"/>
              <a:gd name="T37" fmla="*/ 55099 h 322"/>
              <a:gd name="T38" fmla="*/ 148321 w 253"/>
              <a:gd name="T39" fmla="*/ 42576 h 322"/>
              <a:gd name="T40" fmla="*/ 135684 w 253"/>
              <a:gd name="T41" fmla="*/ 48838 h 322"/>
              <a:gd name="T42" fmla="*/ 122382 w 253"/>
              <a:gd name="T43" fmla="*/ 48838 h 322"/>
              <a:gd name="T44" fmla="*/ 109745 w 253"/>
              <a:gd name="T45" fmla="*/ 30680 h 322"/>
              <a:gd name="T46" fmla="*/ 83805 w 253"/>
              <a:gd name="T47" fmla="*/ 11896 h 322"/>
              <a:gd name="T48" fmla="*/ 71168 w 253"/>
              <a:gd name="T49" fmla="*/ 0 h 322"/>
              <a:gd name="T50" fmla="*/ 45228 w 253"/>
              <a:gd name="T51" fmla="*/ 0 h 322"/>
              <a:gd name="T52" fmla="*/ 38577 w 253"/>
              <a:gd name="T53" fmla="*/ 11896 h 322"/>
              <a:gd name="T54" fmla="*/ 12637 w 253"/>
              <a:gd name="T55" fmla="*/ 30680 h 322"/>
              <a:gd name="T56" fmla="*/ 5986 w 253"/>
              <a:gd name="T57" fmla="*/ 48838 h 322"/>
              <a:gd name="T58" fmla="*/ 19288 w 253"/>
              <a:gd name="T59" fmla="*/ 66995 h 322"/>
              <a:gd name="T60" fmla="*/ 31926 w 253"/>
              <a:gd name="T61" fmla="*/ 73257 h 322"/>
              <a:gd name="T62" fmla="*/ 38577 w 253"/>
              <a:gd name="T63" fmla="*/ 110824 h 322"/>
              <a:gd name="T64" fmla="*/ 64517 w 253"/>
              <a:gd name="T65" fmla="*/ 97675 h 322"/>
              <a:gd name="T66" fmla="*/ 64517 w 253"/>
              <a:gd name="T67" fmla="*/ 91414 h 322"/>
              <a:gd name="T68" fmla="*/ 77819 w 253"/>
              <a:gd name="T69" fmla="*/ 79518 h 322"/>
              <a:gd name="T70" fmla="*/ 96442 w 253"/>
              <a:gd name="T71" fmla="*/ 79518 h 322"/>
              <a:gd name="T72" fmla="*/ 109745 w 253"/>
              <a:gd name="T73" fmla="*/ 79518 h 322"/>
              <a:gd name="T74" fmla="*/ 115731 w 253"/>
              <a:gd name="T75" fmla="*/ 91414 h 322"/>
              <a:gd name="T76" fmla="*/ 115731 w 253"/>
              <a:gd name="T77" fmla="*/ 104563 h 322"/>
              <a:gd name="T78" fmla="*/ 109745 w 253"/>
              <a:gd name="T79" fmla="*/ 116459 h 322"/>
              <a:gd name="T80" fmla="*/ 89791 w 253"/>
              <a:gd name="T81" fmla="*/ 116459 h 322"/>
              <a:gd name="T82" fmla="*/ 77819 w 253"/>
              <a:gd name="T83" fmla="*/ 116459 h 322"/>
              <a:gd name="T84" fmla="*/ 64517 w 253"/>
              <a:gd name="T85" fmla="*/ 110824 h 322"/>
              <a:gd name="T86" fmla="*/ 38577 w 253"/>
              <a:gd name="T87" fmla="*/ 110824 h 322"/>
              <a:gd name="T88" fmla="*/ 19288 w 253"/>
              <a:gd name="T89" fmla="*/ 128982 h 322"/>
              <a:gd name="T90" fmla="*/ 25940 w 253"/>
              <a:gd name="T91" fmla="*/ 140878 h 322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253"/>
              <a:gd name="T139" fmla="*/ 0 h 322"/>
              <a:gd name="T140" fmla="*/ 253 w 253"/>
              <a:gd name="T141" fmla="*/ 322 h 322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253" h="322">
                <a:moveTo>
                  <a:pt x="39" y="234"/>
                </a:moveTo>
                <a:lnTo>
                  <a:pt x="48" y="234"/>
                </a:lnTo>
                <a:lnTo>
                  <a:pt x="58" y="234"/>
                </a:lnTo>
                <a:lnTo>
                  <a:pt x="48" y="244"/>
                </a:lnTo>
                <a:lnTo>
                  <a:pt x="58" y="263"/>
                </a:lnTo>
                <a:lnTo>
                  <a:pt x="48" y="273"/>
                </a:lnTo>
                <a:lnTo>
                  <a:pt x="39" y="283"/>
                </a:lnTo>
                <a:lnTo>
                  <a:pt x="39" y="302"/>
                </a:lnTo>
                <a:lnTo>
                  <a:pt x="39" y="312"/>
                </a:lnTo>
                <a:lnTo>
                  <a:pt x="48" y="302"/>
                </a:lnTo>
                <a:lnTo>
                  <a:pt x="58" y="312"/>
                </a:lnTo>
                <a:lnTo>
                  <a:pt x="68" y="302"/>
                </a:lnTo>
                <a:lnTo>
                  <a:pt x="68" y="293"/>
                </a:lnTo>
                <a:lnTo>
                  <a:pt x="87" y="293"/>
                </a:lnTo>
                <a:lnTo>
                  <a:pt x="97" y="302"/>
                </a:lnTo>
                <a:lnTo>
                  <a:pt x="117" y="302"/>
                </a:lnTo>
                <a:lnTo>
                  <a:pt x="146" y="322"/>
                </a:lnTo>
                <a:lnTo>
                  <a:pt x="166" y="312"/>
                </a:lnTo>
                <a:lnTo>
                  <a:pt x="185" y="322"/>
                </a:lnTo>
                <a:lnTo>
                  <a:pt x="205" y="322"/>
                </a:lnTo>
                <a:lnTo>
                  <a:pt x="205" y="312"/>
                </a:lnTo>
                <a:lnTo>
                  <a:pt x="224" y="312"/>
                </a:lnTo>
                <a:lnTo>
                  <a:pt x="224" y="302"/>
                </a:lnTo>
                <a:lnTo>
                  <a:pt x="224" y="283"/>
                </a:lnTo>
                <a:lnTo>
                  <a:pt x="224" y="273"/>
                </a:lnTo>
                <a:lnTo>
                  <a:pt x="234" y="263"/>
                </a:lnTo>
                <a:lnTo>
                  <a:pt x="214" y="244"/>
                </a:lnTo>
                <a:lnTo>
                  <a:pt x="214" y="224"/>
                </a:lnTo>
                <a:lnTo>
                  <a:pt x="214" y="205"/>
                </a:lnTo>
                <a:lnTo>
                  <a:pt x="205" y="195"/>
                </a:lnTo>
                <a:lnTo>
                  <a:pt x="205" y="176"/>
                </a:lnTo>
                <a:lnTo>
                  <a:pt x="244" y="146"/>
                </a:lnTo>
                <a:lnTo>
                  <a:pt x="253" y="127"/>
                </a:lnTo>
                <a:lnTo>
                  <a:pt x="253" y="107"/>
                </a:lnTo>
                <a:lnTo>
                  <a:pt x="253" y="97"/>
                </a:lnTo>
                <a:lnTo>
                  <a:pt x="253" y="88"/>
                </a:lnTo>
                <a:lnTo>
                  <a:pt x="244" y="88"/>
                </a:lnTo>
                <a:lnTo>
                  <a:pt x="234" y="68"/>
                </a:lnTo>
                <a:lnTo>
                  <a:pt x="224" y="68"/>
                </a:lnTo>
                <a:lnTo>
                  <a:pt x="214" y="78"/>
                </a:lnTo>
                <a:lnTo>
                  <a:pt x="205" y="78"/>
                </a:lnTo>
                <a:lnTo>
                  <a:pt x="195" y="78"/>
                </a:lnTo>
                <a:lnTo>
                  <a:pt x="185" y="78"/>
                </a:lnTo>
                <a:lnTo>
                  <a:pt x="185" y="58"/>
                </a:lnTo>
                <a:lnTo>
                  <a:pt x="166" y="49"/>
                </a:lnTo>
                <a:lnTo>
                  <a:pt x="127" y="39"/>
                </a:lnTo>
                <a:lnTo>
                  <a:pt x="127" y="19"/>
                </a:lnTo>
                <a:lnTo>
                  <a:pt x="127" y="0"/>
                </a:lnTo>
                <a:lnTo>
                  <a:pt x="107" y="0"/>
                </a:lnTo>
                <a:lnTo>
                  <a:pt x="87" y="10"/>
                </a:lnTo>
                <a:lnTo>
                  <a:pt x="68" y="0"/>
                </a:lnTo>
                <a:lnTo>
                  <a:pt x="58" y="10"/>
                </a:lnTo>
                <a:lnTo>
                  <a:pt x="58" y="19"/>
                </a:lnTo>
                <a:lnTo>
                  <a:pt x="48" y="29"/>
                </a:lnTo>
                <a:lnTo>
                  <a:pt x="19" y="49"/>
                </a:lnTo>
                <a:lnTo>
                  <a:pt x="0" y="58"/>
                </a:lnTo>
                <a:lnTo>
                  <a:pt x="9" y="78"/>
                </a:lnTo>
                <a:lnTo>
                  <a:pt x="9" y="97"/>
                </a:lnTo>
                <a:lnTo>
                  <a:pt x="29" y="107"/>
                </a:lnTo>
                <a:lnTo>
                  <a:pt x="39" y="117"/>
                </a:lnTo>
                <a:lnTo>
                  <a:pt x="48" y="117"/>
                </a:lnTo>
                <a:lnTo>
                  <a:pt x="58" y="146"/>
                </a:lnTo>
                <a:lnTo>
                  <a:pt x="58" y="176"/>
                </a:lnTo>
                <a:lnTo>
                  <a:pt x="97" y="166"/>
                </a:lnTo>
                <a:lnTo>
                  <a:pt x="97" y="156"/>
                </a:lnTo>
                <a:lnTo>
                  <a:pt x="97" y="146"/>
                </a:lnTo>
                <a:lnTo>
                  <a:pt x="107" y="127"/>
                </a:lnTo>
                <a:lnTo>
                  <a:pt x="117" y="127"/>
                </a:lnTo>
                <a:lnTo>
                  <a:pt x="127" y="127"/>
                </a:lnTo>
                <a:lnTo>
                  <a:pt x="146" y="127"/>
                </a:lnTo>
                <a:lnTo>
                  <a:pt x="156" y="127"/>
                </a:lnTo>
                <a:lnTo>
                  <a:pt x="166" y="127"/>
                </a:lnTo>
                <a:lnTo>
                  <a:pt x="175" y="137"/>
                </a:lnTo>
                <a:lnTo>
                  <a:pt x="175" y="146"/>
                </a:lnTo>
                <a:lnTo>
                  <a:pt x="175" y="156"/>
                </a:lnTo>
                <a:lnTo>
                  <a:pt x="175" y="166"/>
                </a:lnTo>
                <a:lnTo>
                  <a:pt x="175" y="176"/>
                </a:lnTo>
                <a:lnTo>
                  <a:pt x="166" y="185"/>
                </a:lnTo>
                <a:lnTo>
                  <a:pt x="156" y="185"/>
                </a:lnTo>
                <a:lnTo>
                  <a:pt x="136" y="185"/>
                </a:lnTo>
                <a:lnTo>
                  <a:pt x="127" y="185"/>
                </a:lnTo>
                <a:lnTo>
                  <a:pt x="117" y="185"/>
                </a:lnTo>
                <a:lnTo>
                  <a:pt x="107" y="185"/>
                </a:lnTo>
                <a:lnTo>
                  <a:pt x="97" y="176"/>
                </a:lnTo>
                <a:lnTo>
                  <a:pt x="97" y="166"/>
                </a:lnTo>
                <a:lnTo>
                  <a:pt x="58" y="176"/>
                </a:lnTo>
                <a:lnTo>
                  <a:pt x="48" y="185"/>
                </a:lnTo>
                <a:lnTo>
                  <a:pt x="29" y="205"/>
                </a:lnTo>
                <a:lnTo>
                  <a:pt x="39" y="215"/>
                </a:lnTo>
                <a:lnTo>
                  <a:pt x="39" y="224"/>
                </a:lnTo>
                <a:lnTo>
                  <a:pt x="39" y="234"/>
                </a:lnTo>
                <a:close/>
              </a:path>
            </a:pathLst>
          </a:custGeom>
          <a:solidFill>
            <a:srgbClr val="F21C0A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" name="Freeform 185"/>
          <p:cNvSpPr>
            <a:spLocks/>
          </p:cNvSpPr>
          <p:nvPr>
            <p:custDataLst>
              <p:tags r:id="rId132"/>
            </p:custDataLst>
          </p:nvPr>
        </p:nvSpPr>
        <p:spPr bwMode="auto">
          <a:xfrm>
            <a:off x="2951163" y="4003675"/>
            <a:ext cx="157162" cy="120650"/>
          </a:xfrm>
          <a:custGeom>
            <a:avLst/>
            <a:gdLst/>
            <a:ahLst/>
            <a:cxnLst>
              <a:cxn ang="0">
                <a:pos x="0" y="10"/>
              </a:cxn>
              <a:cxn ang="0">
                <a:pos x="10" y="29"/>
              </a:cxn>
              <a:cxn ang="0">
                <a:pos x="10" y="39"/>
              </a:cxn>
              <a:cxn ang="0">
                <a:pos x="0" y="58"/>
              </a:cxn>
              <a:cxn ang="0">
                <a:pos x="10" y="68"/>
              </a:cxn>
              <a:cxn ang="0">
                <a:pos x="20" y="68"/>
              </a:cxn>
              <a:cxn ang="0">
                <a:pos x="39" y="78"/>
              </a:cxn>
              <a:cxn ang="0">
                <a:pos x="49" y="88"/>
              </a:cxn>
              <a:cxn ang="0">
                <a:pos x="39" y="107"/>
              </a:cxn>
              <a:cxn ang="0">
                <a:pos x="59" y="107"/>
              </a:cxn>
              <a:cxn ang="0">
                <a:pos x="59" y="136"/>
              </a:cxn>
              <a:cxn ang="0">
                <a:pos x="78" y="156"/>
              </a:cxn>
              <a:cxn ang="0">
                <a:pos x="88" y="175"/>
              </a:cxn>
              <a:cxn ang="0">
                <a:pos x="107" y="185"/>
              </a:cxn>
              <a:cxn ang="0">
                <a:pos x="127" y="195"/>
              </a:cxn>
              <a:cxn ang="0">
                <a:pos x="137" y="195"/>
              </a:cxn>
              <a:cxn ang="0">
                <a:pos x="137" y="175"/>
              </a:cxn>
              <a:cxn ang="0">
                <a:pos x="146" y="175"/>
              </a:cxn>
              <a:cxn ang="0">
                <a:pos x="166" y="185"/>
              </a:cxn>
              <a:cxn ang="0">
                <a:pos x="185" y="195"/>
              </a:cxn>
              <a:cxn ang="0">
                <a:pos x="195" y="195"/>
              </a:cxn>
              <a:cxn ang="0">
                <a:pos x="205" y="175"/>
              </a:cxn>
              <a:cxn ang="0">
                <a:pos x="215" y="185"/>
              </a:cxn>
              <a:cxn ang="0">
                <a:pos x="224" y="175"/>
              </a:cxn>
              <a:cxn ang="0">
                <a:pos x="234" y="175"/>
              </a:cxn>
              <a:cxn ang="0">
                <a:pos x="234" y="146"/>
              </a:cxn>
              <a:cxn ang="0">
                <a:pos x="224" y="156"/>
              </a:cxn>
              <a:cxn ang="0">
                <a:pos x="215" y="146"/>
              </a:cxn>
              <a:cxn ang="0">
                <a:pos x="195" y="136"/>
              </a:cxn>
              <a:cxn ang="0">
                <a:pos x="205" y="127"/>
              </a:cxn>
              <a:cxn ang="0">
                <a:pos x="215" y="117"/>
              </a:cxn>
              <a:cxn ang="0">
                <a:pos x="215" y="97"/>
              </a:cxn>
              <a:cxn ang="0">
                <a:pos x="205" y="97"/>
              </a:cxn>
              <a:cxn ang="0">
                <a:pos x="185" y="88"/>
              </a:cxn>
              <a:cxn ang="0">
                <a:pos x="176" y="68"/>
              </a:cxn>
              <a:cxn ang="0">
                <a:pos x="176" y="58"/>
              </a:cxn>
              <a:cxn ang="0">
                <a:pos x="156" y="58"/>
              </a:cxn>
              <a:cxn ang="0">
                <a:pos x="146" y="68"/>
              </a:cxn>
              <a:cxn ang="0">
                <a:pos x="137" y="68"/>
              </a:cxn>
              <a:cxn ang="0">
                <a:pos x="127" y="49"/>
              </a:cxn>
              <a:cxn ang="0">
                <a:pos x="98" y="29"/>
              </a:cxn>
              <a:cxn ang="0">
                <a:pos x="98" y="19"/>
              </a:cxn>
              <a:cxn ang="0">
                <a:pos x="88" y="29"/>
              </a:cxn>
              <a:cxn ang="0">
                <a:pos x="78" y="29"/>
              </a:cxn>
              <a:cxn ang="0">
                <a:pos x="88" y="10"/>
              </a:cxn>
              <a:cxn ang="0">
                <a:pos x="59" y="10"/>
              </a:cxn>
              <a:cxn ang="0">
                <a:pos x="49" y="0"/>
              </a:cxn>
              <a:cxn ang="0">
                <a:pos x="39" y="10"/>
              </a:cxn>
              <a:cxn ang="0">
                <a:pos x="29" y="10"/>
              </a:cxn>
              <a:cxn ang="0">
                <a:pos x="10" y="10"/>
              </a:cxn>
              <a:cxn ang="0">
                <a:pos x="0" y="10"/>
              </a:cxn>
            </a:cxnLst>
            <a:rect l="0" t="0" r="r" b="b"/>
            <a:pathLst>
              <a:path w="234" h="195">
                <a:moveTo>
                  <a:pt x="0" y="10"/>
                </a:moveTo>
                <a:lnTo>
                  <a:pt x="10" y="29"/>
                </a:lnTo>
                <a:lnTo>
                  <a:pt x="10" y="39"/>
                </a:lnTo>
                <a:lnTo>
                  <a:pt x="0" y="58"/>
                </a:lnTo>
                <a:lnTo>
                  <a:pt x="10" y="68"/>
                </a:lnTo>
                <a:lnTo>
                  <a:pt x="20" y="68"/>
                </a:lnTo>
                <a:lnTo>
                  <a:pt x="39" y="78"/>
                </a:lnTo>
                <a:lnTo>
                  <a:pt x="49" y="88"/>
                </a:lnTo>
                <a:lnTo>
                  <a:pt x="39" y="107"/>
                </a:lnTo>
                <a:lnTo>
                  <a:pt x="59" y="107"/>
                </a:lnTo>
                <a:lnTo>
                  <a:pt x="59" y="136"/>
                </a:lnTo>
                <a:lnTo>
                  <a:pt x="78" y="156"/>
                </a:lnTo>
                <a:lnTo>
                  <a:pt x="88" y="175"/>
                </a:lnTo>
                <a:lnTo>
                  <a:pt x="107" y="185"/>
                </a:lnTo>
                <a:lnTo>
                  <a:pt x="127" y="195"/>
                </a:lnTo>
                <a:lnTo>
                  <a:pt x="137" y="195"/>
                </a:lnTo>
                <a:lnTo>
                  <a:pt x="137" y="175"/>
                </a:lnTo>
                <a:lnTo>
                  <a:pt x="146" y="175"/>
                </a:lnTo>
                <a:lnTo>
                  <a:pt x="166" y="185"/>
                </a:lnTo>
                <a:lnTo>
                  <a:pt x="185" y="195"/>
                </a:lnTo>
                <a:lnTo>
                  <a:pt x="195" y="195"/>
                </a:lnTo>
                <a:lnTo>
                  <a:pt x="205" y="175"/>
                </a:lnTo>
                <a:lnTo>
                  <a:pt x="215" y="185"/>
                </a:lnTo>
                <a:lnTo>
                  <a:pt x="224" y="175"/>
                </a:lnTo>
                <a:lnTo>
                  <a:pt x="234" y="175"/>
                </a:lnTo>
                <a:lnTo>
                  <a:pt x="234" y="146"/>
                </a:lnTo>
                <a:lnTo>
                  <a:pt x="224" y="156"/>
                </a:lnTo>
                <a:lnTo>
                  <a:pt x="215" y="146"/>
                </a:lnTo>
                <a:lnTo>
                  <a:pt x="195" y="136"/>
                </a:lnTo>
                <a:lnTo>
                  <a:pt x="205" y="127"/>
                </a:lnTo>
                <a:lnTo>
                  <a:pt x="215" y="117"/>
                </a:lnTo>
                <a:lnTo>
                  <a:pt x="215" y="97"/>
                </a:lnTo>
                <a:lnTo>
                  <a:pt x="205" y="97"/>
                </a:lnTo>
                <a:lnTo>
                  <a:pt x="185" y="88"/>
                </a:lnTo>
                <a:lnTo>
                  <a:pt x="176" y="68"/>
                </a:lnTo>
                <a:lnTo>
                  <a:pt x="176" y="58"/>
                </a:lnTo>
                <a:lnTo>
                  <a:pt x="156" y="58"/>
                </a:lnTo>
                <a:lnTo>
                  <a:pt x="146" y="68"/>
                </a:lnTo>
                <a:lnTo>
                  <a:pt x="137" y="68"/>
                </a:lnTo>
                <a:lnTo>
                  <a:pt x="127" y="49"/>
                </a:lnTo>
                <a:lnTo>
                  <a:pt x="98" y="29"/>
                </a:lnTo>
                <a:lnTo>
                  <a:pt x="98" y="19"/>
                </a:lnTo>
                <a:lnTo>
                  <a:pt x="88" y="29"/>
                </a:lnTo>
                <a:lnTo>
                  <a:pt x="78" y="29"/>
                </a:lnTo>
                <a:lnTo>
                  <a:pt x="88" y="10"/>
                </a:lnTo>
                <a:lnTo>
                  <a:pt x="59" y="10"/>
                </a:lnTo>
                <a:lnTo>
                  <a:pt x="49" y="0"/>
                </a:lnTo>
                <a:lnTo>
                  <a:pt x="39" y="10"/>
                </a:lnTo>
                <a:lnTo>
                  <a:pt x="29" y="10"/>
                </a:lnTo>
                <a:lnTo>
                  <a:pt x="10" y="10"/>
                </a:lnTo>
                <a:lnTo>
                  <a:pt x="0" y="1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en-US" sz="1100">
              <a:latin typeface="Polo" pitchFamily="2" charset="0"/>
              <a:cs typeface="+mn-cs"/>
            </a:endParaRPr>
          </a:p>
        </p:txBody>
      </p:sp>
      <p:sp>
        <p:nvSpPr>
          <p:cNvPr id="185" name="Freeform 184"/>
          <p:cNvSpPr>
            <a:spLocks/>
          </p:cNvSpPr>
          <p:nvPr>
            <p:custDataLst>
              <p:tags r:id="rId133"/>
            </p:custDataLst>
          </p:nvPr>
        </p:nvSpPr>
        <p:spPr bwMode="auto">
          <a:xfrm>
            <a:off x="2879725" y="3978275"/>
            <a:ext cx="149225" cy="180975"/>
          </a:xfrm>
          <a:custGeom>
            <a:avLst/>
            <a:gdLst/>
            <a:ahLst/>
            <a:cxnLst>
              <a:cxn ang="0">
                <a:pos x="10" y="195"/>
              </a:cxn>
              <a:cxn ang="0">
                <a:pos x="19" y="205"/>
              </a:cxn>
              <a:cxn ang="0">
                <a:pos x="19" y="224"/>
              </a:cxn>
              <a:cxn ang="0">
                <a:pos x="29" y="224"/>
              </a:cxn>
              <a:cxn ang="0">
                <a:pos x="39" y="234"/>
              </a:cxn>
              <a:cxn ang="0">
                <a:pos x="39" y="244"/>
              </a:cxn>
              <a:cxn ang="0">
                <a:pos x="49" y="253"/>
              </a:cxn>
              <a:cxn ang="0">
                <a:pos x="58" y="273"/>
              </a:cxn>
              <a:cxn ang="0">
                <a:pos x="58" y="292"/>
              </a:cxn>
              <a:cxn ang="0">
                <a:pos x="88" y="283"/>
              </a:cxn>
              <a:cxn ang="0">
                <a:pos x="107" y="273"/>
              </a:cxn>
              <a:cxn ang="0">
                <a:pos x="127" y="273"/>
              </a:cxn>
              <a:cxn ang="0">
                <a:pos x="146" y="273"/>
              </a:cxn>
              <a:cxn ang="0">
                <a:pos x="156" y="253"/>
              </a:cxn>
              <a:cxn ang="0">
                <a:pos x="166" y="253"/>
              </a:cxn>
              <a:cxn ang="0">
                <a:pos x="195" y="263"/>
              </a:cxn>
              <a:cxn ang="0">
                <a:pos x="205" y="253"/>
              </a:cxn>
              <a:cxn ang="0">
                <a:pos x="205" y="244"/>
              </a:cxn>
              <a:cxn ang="0">
                <a:pos x="224" y="234"/>
              </a:cxn>
              <a:cxn ang="0">
                <a:pos x="214" y="224"/>
              </a:cxn>
              <a:cxn ang="0">
                <a:pos x="195" y="214"/>
              </a:cxn>
              <a:cxn ang="0">
                <a:pos x="175" y="195"/>
              </a:cxn>
              <a:cxn ang="0">
                <a:pos x="156" y="175"/>
              </a:cxn>
              <a:cxn ang="0">
                <a:pos x="156" y="146"/>
              </a:cxn>
              <a:cxn ang="0">
                <a:pos x="136" y="146"/>
              </a:cxn>
              <a:cxn ang="0">
                <a:pos x="146" y="127"/>
              </a:cxn>
              <a:cxn ang="0">
                <a:pos x="136" y="117"/>
              </a:cxn>
              <a:cxn ang="0">
                <a:pos x="127" y="107"/>
              </a:cxn>
              <a:cxn ang="0">
                <a:pos x="107" y="107"/>
              </a:cxn>
              <a:cxn ang="0">
                <a:pos x="107" y="97"/>
              </a:cxn>
              <a:cxn ang="0">
                <a:pos x="117" y="78"/>
              </a:cxn>
              <a:cxn ang="0">
                <a:pos x="117" y="68"/>
              </a:cxn>
              <a:cxn ang="0">
                <a:pos x="107" y="49"/>
              </a:cxn>
              <a:cxn ang="0">
                <a:pos x="88" y="49"/>
              </a:cxn>
              <a:cxn ang="0">
                <a:pos x="58" y="19"/>
              </a:cxn>
              <a:cxn ang="0">
                <a:pos x="58" y="10"/>
              </a:cxn>
              <a:cxn ang="0">
                <a:pos x="58" y="0"/>
              </a:cxn>
              <a:cxn ang="0">
                <a:pos x="39" y="19"/>
              </a:cxn>
              <a:cxn ang="0">
                <a:pos x="10" y="49"/>
              </a:cxn>
              <a:cxn ang="0">
                <a:pos x="0" y="68"/>
              </a:cxn>
              <a:cxn ang="0">
                <a:pos x="19" y="78"/>
              </a:cxn>
              <a:cxn ang="0">
                <a:pos x="19" y="97"/>
              </a:cxn>
              <a:cxn ang="0">
                <a:pos x="19" y="117"/>
              </a:cxn>
              <a:cxn ang="0">
                <a:pos x="39" y="136"/>
              </a:cxn>
              <a:cxn ang="0">
                <a:pos x="29" y="146"/>
              </a:cxn>
              <a:cxn ang="0">
                <a:pos x="29" y="156"/>
              </a:cxn>
              <a:cxn ang="0">
                <a:pos x="29" y="175"/>
              </a:cxn>
              <a:cxn ang="0">
                <a:pos x="29" y="185"/>
              </a:cxn>
              <a:cxn ang="0">
                <a:pos x="10" y="185"/>
              </a:cxn>
              <a:cxn ang="0">
                <a:pos x="10" y="195"/>
              </a:cxn>
            </a:cxnLst>
            <a:rect l="0" t="0" r="r" b="b"/>
            <a:pathLst>
              <a:path w="224" h="292">
                <a:moveTo>
                  <a:pt x="10" y="195"/>
                </a:moveTo>
                <a:lnTo>
                  <a:pt x="19" y="205"/>
                </a:lnTo>
                <a:lnTo>
                  <a:pt x="19" y="224"/>
                </a:lnTo>
                <a:lnTo>
                  <a:pt x="29" y="224"/>
                </a:lnTo>
                <a:lnTo>
                  <a:pt x="39" y="234"/>
                </a:lnTo>
                <a:lnTo>
                  <a:pt x="39" y="244"/>
                </a:lnTo>
                <a:lnTo>
                  <a:pt x="49" y="253"/>
                </a:lnTo>
                <a:lnTo>
                  <a:pt x="58" y="273"/>
                </a:lnTo>
                <a:lnTo>
                  <a:pt x="58" y="292"/>
                </a:lnTo>
                <a:lnTo>
                  <a:pt x="88" y="283"/>
                </a:lnTo>
                <a:lnTo>
                  <a:pt x="107" y="273"/>
                </a:lnTo>
                <a:lnTo>
                  <a:pt x="127" y="273"/>
                </a:lnTo>
                <a:lnTo>
                  <a:pt x="146" y="273"/>
                </a:lnTo>
                <a:lnTo>
                  <a:pt x="156" y="253"/>
                </a:lnTo>
                <a:lnTo>
                  <a:pt x="166" y="253"/>
                </a:lnTo>
                <a:lnTo>
                  <a:pt x="195" y="263"/>
                </a:lnTo>
                <a:lnTo>
                  <a:pt x="205" y="253"/>
                </a:lnTo>
                <a:lnTo>
                  <a:pt x="205" y="244"/>
                </a:lnTo>
                <a:lnTo>
                  <a:pt x="224" y="234"/>
                </a:lnTo>
                <a:lnTo>
                  <a:pt x="214" y="224"/>
                </a:lnTo>
                <a:lnTo>
                  <a:pt x="195" y="214"/>
                </a:lnTo>
                <a:lnTo>
                  <a:pt x="175" y="195"/>
                </a:lnTo>
                <a:lnTo>
                  <a:pt x="156" y="175"/>
                </a:lnTo>
                <a:lnTo>
                  <a:pt x="156" y="146"/>
                </a:lnTo>
                <a:lnTo>
                  <a:pt x="136" y="146"/>
                </a:lnTo>
                <a:lnTo>
                  <a:pt x="146" y="127"/>
                </a:lnTo>
                <a:lnTo>
                  <a:pt x="136" y="117"/>
                </a:lnTo>
                <a:lnTo>
                  <a:pt x="127" y="107"/>
                </a:lnTo>
                <a:lnTo>
                  <a:pt x="107" y="107"/>
                </a:lnTo>
                <a:lnTo>
                  <a:pt x="107" y="97"/>
                </a:lnTo>
                <a:lnTo>
                  <a:pt x="117" y="78"/>
                </a:lnTo>
                <a:lnTo>
                  <a:pt x="117" y="68"/>
                </a:lnTo>
                <a:lnTo>
                  <a:pt x="107" y="49"/>
                </a:lnTo>
                <a:lnTo>
                  <a:pt x="88" y="49"/>
                </a:lnTo>
                <a:lnTo>
                  <a:pt x="58" y="19"/>
                </a:lnTo>
                <a:lnTo>
                  <a:pt x="58" y="10"/>
                </a:lnTo>
                <a:lnTo>
                  <a:pt x="58" y="0"/>
                </a:lnTo>
                <a:lnTo>
                  <a:pt x="39" y="19"/>
                </a:lnTo>
                <a:lnTo>
                  <a:pt x="10" y="49"/>
                </a:lnTo>
                <a:lnTo>
                  <a:pt x="0" y="68"/>
                </a:lnTo>
                <a:lnTo>
                  <a:pt x="19" y="78"/>
                </a:lnTo>
                <a:lnTo>
                  <a:pt x="19" y="97"/>
                </a:lnTo>
                <a:lnTo>
                  <a:pt x="19" y="117"/>
                </a:lnTo>
                <a:lnTo>
                  <a:pt x="39" y="136"/>
                </a:lnTo>
                <a:lnTo>
                  <a:pt x="29" y="146"/>
                </a:lnTo>
                <a:lnTo>
                  <a:pt x="29" y="156"/>
                </a:lnTo>
                <a:lnTo>
                  <a:pt x="29" y="175"/>
                </a:lnTo>
                <a:lnTo>
                  <a:pt x="29" y="185"/>
                </a:lnTo>
                <a:lnTo>
                  <a:pt x="10" y="185"/>
                </a:lnTo>
                <a:lnTo>
                  <a:pt x="10" y="19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en-US" sz="1100">
              <a:latin typeface="Polo" pitchFamily="2" charset="0"/>
              <a:cs typeface="+mn-cs"/>
            </a:endParaRPr>
          </a:p>
        </p:txBody>
      </p:sp>
      <p:sp>
        <p:nvSpPr>
          <p:cNvPr id="186" name="Freeform 183"/>
          <p:cNvSpPr>
            <a:spLocks/>
          </p:cNvSpPr>
          <p:nvPr>
            <p:custDataLst>
              <p:tags r:id="rId134"/>
            </p:custDataLst>
          </p:nvPr>
        </p:nvSpPr>
        <p:spPr bwMode="auto">
          <a:xfrm>
            <a:off x="2917825" y="4111625"/>
            <a:ext cx="333375" cy="168275"/>
          </a:xfrm>
          <a:custGeom>
            <a:avLst/>
            <a:gdLst/>
            <a:ahLst/>
            <a:cxnLst>
              <a:cxn ang="0">
                <a:pos x="10" y="108"/>
              </a:cxn>
              <a:cxn ang="0">
                <a:pos x="0" y="78"/>
              </a:cxn>
              <a:cxn ang="0">
                <a:pos x="49" y="59"/>
              </a:cxn>
              <a:cxn ang="0">
                <a:pos x="88" y="59"/>
              </a:cxn>
              <a:cxn ang="0">
                <a:pos x="117" y="39"/>
              </a:cxn>
              <a:cxn ang="0">
                <a:pos x="147" y="39"/>
              </a:cxn>
              <a:cxn ang="0">
                <a:pos x="176" y="20"/>
              </a:cxn>
              <a:cxn ang="0">
                <a:pos x="186" y="0"/>
              </a:cxn>
              <a:cxn ang="0">
                <a:pos x="215" y="10"/>
              </a:cxn>
              <a:cxn ang="0">
                <a:pos x="254" y="20"/>
              </a:cxn>
              <a:cxn ang="0">
                <a:pos x="264" y="10"/>
              </a:cxn>
              <a:cxn ang="0">
                <a:pos x="293" y="0"/>
              </a:cxn>
              <a:cxn ang="0">
                <a:pos x="312" y="20"/>
              </a:cxn>
              <a:cxn ang="0">
                <a:pos x="381" y="0"/>
              </a:cxn>
              <a:cxn ang="0">
                <a:pos x="410" y="0"/>
              </a:cxn>
              <a:cxn ang="0">
                <a:pos x="429" y="30"/>
              </a:cxn>
              <a:cxn ang="0">
                <a:pos x="459" y="49"/>
              </a:cxn>
              <a:cxn ang="0">
                <a:pos x="488" y="88"/>
              </a:cxn>
              <a:cxn ang="0">
                <a:pos x="498" y="117"/>
              </a:cxn>
              <a:cxn ang="0">
                <a:pos x="459" y="137"/>
              </a:cxn>
              <a:cxn ang="0">
                <a:pos x="429" y="117"/>
              </a:cxn>
              <a:cxn ang="0">
                <a:pos x="410" y="127"/>
              </a:cxn>
              <a:cxn ang="0">
                <a:pos x="400" y="147"/>
              </a:cxn>
              <a:cxn ang="0">
                <a:pos x="351" y="137"/>
              </a:cxn>
              <a:cxn ang="0">
                <a:pos x="332" y="147"/>
              </a:cxn>
              <a:cxn ang="0">
                <a:pos x="312" y="157"/>
              </a:cxn>
              <a:cxn ang="0">
                <a:pos x="283" y="157"/>
              </a:cxn>
              <a:cxn ang="0">
                <a:pos x="293" y="176"/>
              </a:cxn>
              <a:cxn ang="0">
                <a:pos x="273" y="196"/>
              </a:cxn>
              <a:cxn ang="0">
                <a:pos x="264" y="205"/>
              </a:cxn>
              <a:cxn ang="0">
                <a:pos x="234" y="225"/>
              </a:cxn>
              <a:cxn ang="0">
                <a:pos x="234" y="264"/>
              </a:cxn>
              <a:cxn ang="0">
                <a:pos x="215" y="274"/>
              </a:cxn>
              <a:cxn ang="0">
                <a:pos x="195" y="274"/>
              </a:cxn>
              <a:cxn ang="0">
                <a:pos x="176" y="264"/>
              </a:cxn>
              <a:cxn ang="0">
                <a:pos x="166" y="244"/>
              </a:cxn>
              <a:cxn ang="0">
                <a:pos x="108" y="254"/>
              </a:cxn>
              <a:cxn ang="0">
                <a:pos x="98" y="274"/>
              </a:cxn>
              <a:cxn ang="0">
                <a:pos x="78" y="254"/>
              </a:cxn>
              <a:cxn ang="0">
                <a:pos x="59" y="244"/>
              </a:cxn>
              <a:cxn ang="0">
                <a:pos x="69" y="215"/>
              </a:cxn>
              <a:cxn ang="0">
                <a:pos x="59" y="186"/>
              </a:cxn>
              <a:cxn ang="0">
                <a:pos x="49" y="157"/>
              </a:cxn>
              <a:cxn ang="0">
                <a:pos x="20" y="137"/>
              </a:cxn>
            </a:cxnLst>
            <a:rect l="0" t="0" r="r" b="b"/>
            <a:pathLst>
              <a:path w="498" h="274">
                <a:moveTo>
                  <a:pt x="10" y="127"/>
                </a:moveTo>
                <a:lnTo>
                  <a:pt x="10" y="108"/>
                </a:lnTo>
                <a:lnTo>
                  <a:pt x="0" y="98"/>
                </a:lnTo>
                <a:lnTo>
                  <a:pt x="0" y="78"/>
                </a:lnTo>
                <a:lnTo>
                  <a:pt x="30" y="69"/>
                </a:lnTo>
                <a:lnTo>
                  <a:pt x="49" y="59"/>
                </a:lnTo>
                <a:lnTo>
                  <a:pt x="69" y="59"/>
                </a:lnTo>
                <a:lnTo>
                  <a:pt x="88" y="59"/>
                </a:lnTo>
                <a:lnTo>
                  <a:pt x="108" y="39"/>
                </a:lnTo>
                <a:lnTo>
                  <a:pt x="117" y="39"/>
                </a:lnTo>
                <a:lnTo>
                  <a:pt x="137" y="49"/>
                </a:lnTo>
                <a:lnTo>
                  <a:pt x="147" y="39"/>
                </a:lnTo>
                <a:lnTo>
                  <a:pt x="147" y="30"/>
                </a:lnTo>
                <a:lnTo>
                  <a:pt x="176" y="20"/>
                </a:lnTo>
                <a:lnTo>
                  <a:pt x="186" y="20"/>
                </a:lnTo>
                <a:lnTo>
                  <a:pt x="186" y="0"/>
                </a:lnTo>
                <a:lnTo>
                  <a:pt x="205" y="0"/>
                </a:lnTo>
                <a:lnTo>
                  <a:pt x="215" y="10"/>
                </a:lnTo>
                <a:lnTo>
                  <a:pt x="234" y="20"/>
                </a:lnTo>
                <a:lnTo>
                  <a:pt x="254" y="20"/>
                </a:lnTo>
                <a:lnTo>
                  <a:pt x="254" y="0"/>
                </a:lnTo>
                <a:lnTo>
                  <a:pt x="264" y="10"/>
                </a:lnTo>
                <a:lnTo>
                  <a:pt x="273" y="0"/>
                </a:lnTo>
                <a:lnTo>
                  <a:pt x="293" y="0"/>
                </a:lnTo>
                <a:lnTo>
                  <a:pt x="293" y="10"/>
                </a:lnTo>
                <a:lnTo>
                  <a:pt x="312" y="20"/>
                </a:lnTo>
                <a:lnTo>
                  <a:pt x="361" y="20"/>
                </a:lnTo>
                <a:lnTo>
                  <a:pt x="381" y="0"/>
                </a:lnTo>
                <a:lnTo>
                  <a:pt x="390" y="0"/>
                </a:lnTo>
                <a:lnTo>
                  <a:pt x="410" y="0"/>
                </a:lnTo>
                <a:lnTo>
                  <a:pt x="410" y="20"/>
                </a:lnTo>
                <a:lnTo>
                  <a:pt x="429" y="30"/>
                </a:lnTo>
                <a:lnTo>
                  <a:pt x="449" y="39"/>
                </a:lnTo>
                <a:lnTo>
                  <a:pt x="459" y="49"/>
                </a:lnTo>
                <a:lnTo>
                  <a:pt x="469" y="69"/>
                </a:lnTo>
                <a:lnTo>
                  <a:pt x="488" y="88"/>
                </a:lnTo>
                <a:lnTo>
                  <a:pt x="498" y="98"/>
                </a:lnTo>
                <a:lnTo>
                  <a:pt x="498" y="117"/>
                </a:lnTo>
                <a:lnTo>
                  <a:pt x="478" y="127"/>
                </a:lnTo>
                <a:lnTo>
                  <a:pt x="459" y="137"/>
                </a:lnTo>
                <a:lnTo>
                  <a:pt x="449" y="127"/>
                </a:lnTo>
                <a:lnTo>
                  <a:pt x="429" y="117"/>
                </a:lnTo>
                <a:lnTo>
                  <a:pt x="420" y="117"/>
                </a:lnTo>
                <a:lnTo>
                  <a:pt x="410" y="127"/>
                </a:lnTo>
                <a:lnTo>
                  <a:pt x="410" y="137"/>
                </a:lnTo>
                <a:lnTo>
                  <a:pt x="400" y="147"/>
                </a:lnTo>
                <a:lnTo>
                  <a:pt x="381" y="166"/>
                </a:lnTo>
                <a:lnTo>
                  <a:pt x="351" y="137"/>
                </a:lnTo>
                <a:lnTo>
                  <a:pt x="342" y="137"/>
                </a:lnTo>
                <a:lnTo>
                  <a:pt x="332" y="147"/>
                </a:lnTo>
                <a:lnTo>
                  <a:pt x="312" y="147"/>
                </a:lnTo>
                <a:lnTo>
                  <a:pt x="312" y="157"/>
                </a:lnTo>
                <a:lnTo>
                  <a:pt x="293" y="137"/>
                </a:lnTo>
                <a:lnTo>
                  <a:pt x="283" y="157"/>
                </a:lnTo>
                <a:lnTo>
                  <a:pt x="293" y="166"/>
                </a:lnTo>
                <a:lnTo>
                  <a:pt x="293" y="176"/>
                </a:lnTo>
                <a:lnTo>
                  <a:pt x="283" y="176"/>
                </a:lnTo>
                <a:lnTo>
                  <a:pt x="273" y="196"/>
                </a:lnTo>
                <a:lnTo>
                  <a:pt x="273" y="205"/>
                </a:lnTo>
                <a:lnTo>
                  <a:pt x="264" y="205"/>
                </a:lnTo>
                <a:lnTo>
                  <a:pt x="254" y="225"/>
                </a:lnTo>
                <a:lnTo>
                  <a:pt x="234" y="225"/>
                </a:lnTo>
                <a:lnTo>
                  <a:pt x="234" y="235"/>
                </a:lnTo>
                <a:lnTo>
                  <a:pt x="234" y="264"/>
                </a:lnTo>
                <a:lnTo>
                  <a:pt x="215" y="274"/>
                </a:lnTo>
                <a:lnTo>
                  <a:pt x="205" y="264"/>
                </a:lnTo>
                <a:lnTo>
                  <a:pt x="195" y="274"/>
                </a:lnTo>
                <a:lnTo>
                  <a:pt x="176" y="274"/>
                </a:lnTo>
                <a:lnTo>
                  <a:pt x="176" y="264"/>
                </a:lnTo>
                <a:lnTo>
                  <a:pt x="176" y="254"/>
                </a:lnTo>
                <a:lnTo>
                  <a:pt x="166" y="244"/>
                </a:lnTo>
                <a:lnTo>
                  <a:pt x="137" y="264"/>
                </a:lnTo>
                <a:lnTo>
                  <a:pt x="108" y="254"/>
                </a:lnTo>
                <a:lnTo>
                  <a:pt x="108" y="264"/>
                </a:lnTo>
                <a:lnTo>
                  <a:pt x="98" y="274"/>
                </a:lnTo>
                <a:lnTo>
                  <a:pt x="88" y="274"/>
                </a:lnTo>
                <a:lnTo>
                  <a:pt x="78" y="254"/>
                </a:lnTo>
                <a:lnTo>
                  <a:pt x="78" y="244"/>
                </a:lnTo>
                <a:lnTo>
                  <a:pt x="59" y="244"/>
                </a:lnTo>
                <a:lnTo>
                  <a:pt x="59" y="225"/>
                </a:lnTo>
                <a:lnTo>
                  <a:pt x="69" y="215"/>
                </a:lnTo>
                <a:lnTo>
                  <a:pt x="69" y="196"/>
                </a:lnTo>
                <a:lnTo>
                  <a:pt x="59" y="186"/>
                </a:lnTo>
                <a:lnTo>
                  <a:pt x="59" y="166"/>
                </a:lnTo>
                <a:lnTo>
                  <a:pt x="49" y="157"/>
                </a:lnTo>
                <a:lnTo>
                  <a:pt x="39" y="147"/>
                </a:lnTo>
                <a:lnTo>
                  <a:pt x="20" y="137"/>
                </a:lnTo>
                <a:lnTo>
                  <a:pt x="10" y="12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en-US" sz="1100">
              <a:latin typeface="Polo" pitchFamily="2" charset="0"/>
              <a:cs typeface="+mn-cs"/>
            </a:endParaRPr>
          </a:p>
        </p:txBody>
      </p:sp>
      <p:sp>
        <p:nvSpPr>
          <p:cNvPr id="187" name="Freeform 182"/>
          <p:cNvSpPr>
            <a:spLocks/>
          </p:cNvSpPr>
          <p:nvPr>
            <p:custDataLst>
              <p:tags r:id="rId135"/>
            </p:custDataLst>
          </p:nvPr>
        </p:nvSpPr>
        <p:spPr bwMode="auto">
          <a:xfrm>
            <a:off x="3101975" y="4195763"/>
            <a:ext cx="168275" cy="128587"/>
          </a:xfrm>
          <a:custGeom>
            <a:avLst/>
            <a:gdLst/>
            <a:ahLst/>
            <a:cxnLst>
              <a:cxn ang="0">
                <a:pos x="0" y="68"/>
              </a:cxn>
              <a:cxn ang="0">
                <a:pos x="0" y="59"/>
              </a:cxn>
              <a:cxn ang="0">
                <a:pos x="0" y="39"/>
              </a:cxn>
              <a:cxn ang="0">
                <a:pos x="10" y="39"/>
              </a:cxn>
              <a:cxn ang="0">
                <a:pos x="20" y="29"/>
              </a:cxn>
              <a:cxn ang="0">
                <a:pos x="10" y="20"/>
              </a:cxn>
              <a:cxn ang="0">
                <a:pos x="20" y="10"/>
              </a:cxn>
              <a:cxn ang="0">
                <a:pos x="39" y="20"/>
              </a:cxn>
              <a:cxn ang="0">
                <a:pos x="39" y="10"/>
              </a:cxn>
              <a:cxn ang="0">
                <a:pos x="49" y="10"/>
              </a:cxn>
              <a:cxn ang="0">
                <a:pos x="69" y="0"/>
              </a:cxn>
              <a:cxn ang="0">
                <a:pos x="78" y="10"/>
              </a:cxn>
              <a:cxn ang="0">
                <a:pos x="108" y="29"/>
              </a:cxn>
              <a:cxn ang="0">
                <a:pos x="117" y="29"/>
              </a:cxn>
              <a:cxn ang="0">
                <a:pos x="117" y="39"/>
              </a:cxn>
              <a:cxn ang="0">
                <a:pos x="117" y="49"/>
              </a:cxn>
              <a:cxn ang="0">
                <a:pos x="117" y="59"/>
              </a:cxn>
              <a:cxn ang="0">
                <a:pos x="137" y="59"/>
              </a:cxn>
              <a:cxn ang="0">
                <a:pos x="156" y="59"/>
              </a:cxn>
              <a:cxn ang="0">
                <a:pos x="166" y="68"/>
              </a:cxn>
              <a:cxn ang="0">
                <a:pos x="196" y="78"/>
              </a:cxn>
              <a:cxn ang="0">
                <a:pos x="215" y="78"/>
              </a:cxn>
              <a:cxn ang="0">
                <a:pos x="225" y="98"/>
              </a:cxn>
              <a:cxn ang="0">
                <a:pos x="235" y="88"/>
              </a:cxn>
              <a:cxn ang="0">
                <a:pos x="244" y="98"/>
              </a:cxn>
              <a:cxn ang="0">
                <a:pos x="235" y="117"/>
              </a:cxn>
              <a:cxn ang="0">
                <a:pos x="254" y="127"/>
              </a:cxn>
              <a:cxn ang="0">
                <a:pos x="244" y="137"/>
              </a:cxn>
              <a:cxn ang="0">
                <a:pos x="244" y="156"/>
              </a:cxn>
              <a:cxn ang="0">
                <a:pos x="244" y="166"/>
              </a:cxn>
              <a:cxn ang="0">
                <a:pos x="235" y="185"/>
              </a:cxn>
              <a:cxn ang="0">
                <a:pos x="244" y="195"/>
              </a:cxn>
              <a:cxn ang="0">
                <a:pos x="225" y="205"/>
              </a:cxn>
              <a:cxn ang="0">
                <a:pos x="215" y="185"/>
              </a:cxn>
              <a:cxn ang="0">
                <a:pos x="205" y="176"/>
              </a:cxn>
              <a:cxn ang="0">
                <a:pos x="186" y="176"/>
              </a:cxn>
              <a:cxn ang="0">
                <a:pos x="176" y="176"/>
              </a:cxn>
              <a:cxn ang="0">
                <a:pos x="147" y="176"/>
              </a:cxn>
              <a:cxn ang="0">
                <a:pos x="117" y="176"/>
              </a:cxn>
              <a:cxn ang="0">
                <a:pos x="108" y="176"/>
              </a:cxn>
              <a:cxn ang="0">
                <a:pos x="88" y="176"/>
              </a:cxn>
              <a:cxn ang="0">
                <a:pos x="78" y="156"/>
              </a:cxn>
              <a:cxn ang="0">
                <a:pos x="88" y="137"/>
              </a:cxn>
              <a:cxn ang="0">
                <a:pos x="69" y="127"/>
              </a:cxn>
              <a:cxn ang="0">
                <a:pos x="59" y="117"/>
              </a:cxn>
              <a:cxn ang="0">
                <a:pos x="69" y="107"/>
              </a:cxn>
              <a:cxn ang="0">
                <a:pos x="69" y="88"/>
              </a:cxn>
              <a:cxn ang="0">
                <a:pos x="59" y="88"/>
              </a:cxn>
              <a:cxn ang="0">
                <a:pos x="49" y="88"/>
              </a:cxn>
              <a:cxn ang="0">
                <a:pos x="20" y="78"/>
              </a:cxn>
              <a:cxn ang="0">
                <a:pos x="0" y="68"/>
              </a:cxn>
            </a:cxnLst>
            <a:rect l="0" t="0" r="r" b="b"/>
            <a:pathLst>
              <a:path w="254" h="205">
                <a:moveTo>
                  <a:pt x="0" y="68"/>
                </a:moveTo>
                <a:lnTo>
                  <a:pt x="0" y="59"/>
                </a:lnTo>
                <a:lnTo>
                  <a:pt x="0" y="39"/>
                </a:lnTo>
                <a:lnTo>
                  <a:pt x="10" y="39"/>
                </a:lnTo>
                <a:lnTo>
                  <a:pt x="20" y="29"/>
                </a:lnTo>
                <a:lnTo>
                  <a:pt x="10" y="20"/>
                </a:lnTo>
                <a:lnTo>
                  <a:pt x="20" y="10"/>
                </a:lnTo>
                <a:lnTo>
                  <a:pt x="39" y="20"/>
                </a:lnTo>
                <a:lnTo>
                  <a:pt x="39" y="10"/>
                </a:lnTo>
                <a:lnTo>
                  <a:pt x="49" y="10"/>
                </a:lnTo>
                <a:lnTo>
                  <a:pt x="69" y="0"/>
                </a:lnTo>
                <a:lnTo>
                  <a:pt x="78" y="10"/>
                </a:lnTo>
                <a:lnTo>
                  <a:pt x="108" y="29"/>
                </a:lnTo>
                <a:lnTo>
                  <a:pt x="117" y="29"/>
                </a:lnTo>
                <a:lnTo>
                  <a:pt x="117" y="39"/>
                </a:lnTo>
                <a:lnTo>
                  <a:pt x="117" y="49"/>
                </a:lnTo>
                <a:lnTo>
                  <a:pt x="117" y="59"/>
                </a:lnTo>
                <a:lnTo>
                  <a:pt x="137" y="59"/>
                </a:lnTo>
                <a:lnTo>
                  <a:pt x="156" y="59"/>
                </a:lnTo>
                <a:lnTo>
                  <a:pt x="166" y="68"/>
                </a:lnTo>
                <a:lnTo>
                  <a:pt x="196" y="78"/>
                </a:lnTo>
                <a:lnTo>
                  <a:pt x="215" y="78"/>
                </a:lnTo>
                <a:lnTo>
                  <a:pt x="225" y="98"/>
                </a:lnTo>
                <a:lnTo>
                  <a:pt x="235" y="88"/>
                </a:lnTo>
                <a:lnTo>
                  <a:pt x="244" y="98"/>
                </a:lnTo>
                <a:lnTo>
                  <a:pt x="235" y="117"/>
                </a:lnTo>
                <a:lnTo>
                  <a:pt x="254" y="127"/>
                </a:lnTo>
                <a:lnTo>
                  <a:pt x="244" y="137"/>
                </a:lnTo>
                <a:lnTo>
                  <a:pt x="244" y="156"/>
                </a:lnTo>
                <a:lnTo>
                  <a:pt x="244" y="166"/>
                </a:lnTo>
                <a:lnTo>
                  <a:pt x="235" y="185"/>
                </a:lnTo>
                <a:lnTo>
                  <a:pt x="244" y="195"/>
                </a:lnTo>
                <a:lnTo>
                  <a:pt x="225" y="205"/>
                </a:lnTo>
                <a:lnTo>
                  <a:pt x="215" y="185"/>
                </a:lnTo>
                <a:lnTo>
                  <a:pt x="205" y="176"/>
                </a:lnTo>
                <a:lnTo>
                  <a:pt x="186" y="176"/>
                </a:lnTo>
                <a:lnTo>
                  <a:pt x="176" y="176"/>
                </a:lnTo>
                <a:lnTo>
                  <a:pt x="147" y="176"/>
                </a:lnTo>
                <a:lnTo>
                  <a:pt x="117" y="176"/>
                </a:lnTo>
                <a:lnTo>
                  <a:pt x="108" y="176"/>
                </a:lnTo>
                <a:lnTo>
                  <a:pt x="88" y="176"/>
                </a:lnTo>
                <a:lnTo>
                  <a:pt x="78" y="156"/>
                </a:lnTo>
                <a:lnTo>
                  <a:pt x="88" y="137"/>
                </a:lnTo>
                <a:lnTo>
                  <a:pt x="69" y="127"/>
                </a:lnTo>
                <a:lnTo>
                  <a:pt x="59" y="117"/>
                </a:lnTo>
                <a:lnTo>
                  <a:pt x="69" y="107"/>
                </a:lnTo>
                <a:lnTo>
                  <a:pt x="69" y="88"/>
                </a:lnTo>
                <a:lnTo>
                  <a:pt x="59" y="88"/>
                </a:lnTo>
                <a:lnTo>
                  <a:pt x="49" y="88"/>
                </a:lnTo>
                <a:lnTo>
                  <a:pt x="20" y="78"/>
                </a:lnTo>
                <a:lnTo>
                  <a:pt x="0" y="6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en-US" sz="1100">
              <a:latin typeface="Polo" pitchFamily="2" charset="0"/>
              <a:cs typeface="+mn-cs"/>
            </a:endParaRPr>
          </a:p>
        </p:txBody>
      </p:sp>
      <p:sp>
        <p:nvSpPr>
          <p:cNvPr id="188" name="Freeform 181"/>
          <p:cNvSpPr>
            <a:spLocks/>
          </p:cNvSpPr>
          <p:nvPr>
            <p:custDataLst>
              <p:tags r:id="rId136"/>
            </p:custDataLst>
          </p:nvPr>
        </p:nvSpPr>
        <p:spPr bwMode="auto">
          <a:xfrm>
            <a:off x="3394075" y="3243263"/>
            <a:ext cx="279400" cy="371475"/>
          </a:xfrm>
          <a:custGeom>
            <a:avLst/>
            <a:gdLst/>
            <a:ahLst/>
            <a:cxnLst>
              <a:cxn ang="0">
                <a:pos x="30" y="137"/>
              </a:cxn>
              <a:cxn ang="0">
                <a:pos x="117" y="137"/>
              </a:cxn>
              <a:cxn ang="0">
                <a:pos x="147" y="98"/>
              </a:cxn>
              <a:cxn ang="0">
                <a:pos x="147" y="49"/>
              </a:cxn>
              <a:cxn ang="0">
                <a:pos x="215" y="20"/>
              </a:cxn>
              <a:cxn ang="0">
                <a:pos x="254" y="10"/>
              </a:cxn>
              <a:cxn ang="0">
                <a:pos x="313" y="29"/>
              </a:cxn>
              <a:cxn ang="0">
                <a:pos x="322" y="49"/>
              </a:cxn>
              <a:cxn ang="0">
                <a:pos x="361" y="49"/>
              </a:cxn>
              <a:cxn ang="0">
                <a:pos x="381" y="68"/>
              </a:cxn>
              <a:cxn ang="0">
                <a:pos x="400" y="78"/>
              </a:cxn>
              <a:cxn ang="0">
                <a:pos x="391" y="127"/>
              </a:cxn>
              <a:cxn ang="0">
                <a:pos x="381" y="98"/>
              </a:cxn>
              <a:cxn ang="0">
                <a:pos x="371" y="108"/>
              </a:cxn>
              <a:cxn ang="0">
                <a:pos x="371" y="137"/>
              </a:cxn>
              <a:cxn ang="0">
                <a:pos x="381" y="147"/>
              </a:cxn>
              <a:cxn ang="0">
                <a:pos x="361" y="156"/>
              </a:cxn>
              <a:cxn ang="0">
                <a:pos x="332" y="156"/>
              </a:cxn>
              <a:cxn ang="0">
                <a:pos x="371" y="166"/>
              </a:cxn>
              <a:cxn ang="0">
                <a:pos x="391" y="215"/>
              </a:cxn>
              <a:cxn ang="0">
                <a:pos x="420" y="234"/>
              </a:cxn>
              <a:cxn ang="0">
                <a:pos x="420" y="312"/>
              </a:cxn>
              <a:cxn ang="0">
                <a:pos x="400" y="381"/>
              </a:cxn>
              <a:cxn ang="0">
                <a:pos x="410" y="459"/>
              </a:cxn>
              <a:cxn ang="0">
                <a:pos x="410" y="478"/>
              </a:cxn>
              <a:cxn ang="0">
                <a:pos x="400" y="498"/>
              </a:cxn>
              <a:cxn ang="0">
                <a:pos x="391" y="537"/>
              </a:cxn>
              <a:cxn ang="0">
                <a:pos x="371" y="566"/>
              </a:cxn>
              <a:cxn ang="0">
                <a:pos x="352" y="576"/>
              </a:cxn>
              <a:cxn ang="0">
                <a:pos x="293" y="586"/>
              </a:cxn>
              <a:cxn ang="0">
                <a:pos x="244" y="586"/>
              </a:cxn>
              <a:cxn ang="0">
                <a:pos x="176" y="537"/>
              </a:cxn>
              <a:cxn ang="0">
                <a:pos x="147" y="439"/>
              </a:cxn>
              <a:cxn ang="0">
                <a:pos x="137" y="381"/>
              </a:cxn>
              <a:cxn ang="0">
                <a:pos x="127" y="351"/>
              </a:cxn>
              <a:cxn ang="0">
                <a:pos x="127" y="322"/>
              </a:cxn>
              <a:cxn ang="0">
                <a:pos x="117" y="293"/>
              </a:cxn>
              <a:cxn ang="0">
                <a:pos x="127" y="264"/>
              </a:cxn>
              <a:cxn ang="0">
                <a:pos x="117" y="244"/>
              </a:cxn>
              <a:cxn ang="0">
                <a:pos x="98" y="293"/>
              </a:cxn>
              <a:cxn ang="0">
                <a:pos x="78" y="293"/>
              </a:cxn>
              <a:cxn ang="0">
                <a:pos x="30" y="273"/>
              </a:cxn>
              <a:cxn ang="0">
                <a:pos x="0" y="156"/>
              </a:cxn>
            </a:cxnLst>
            <a:rect l="0" t="0" r="r" b="b"/>
            <a:pathLst>
              <a:path w="420" h="595">
                <a:moveTo>
                  <a:pt x="0" y="156"/>
                </a:moveTo>
                <a:lnTo>
                  <a:pt x="10" y="147"/>
                </a:lnTo>
                <a:lnTo>
                  <a:pt x="30" y="137"/>
                </a:lnTo>
                <a:lnTo>
                  <a:pt x="39" y="137"/>
                </a:lnTo>
                <a:lnTo>
                  <a:pt x="88" y="137"/>
                </a:lnTo>
                <a:lnTo>
                  <a:pt x="117" y="137"/>
                </a:lnTo>
                <a:lnTo>
                  <a:pt x="117" y="127"/>
                </a:lnTo>
                <a:lnTo>
                  <a:pt x="127" y="117"/>
                </a:lnTo>
                <a:lnTo>
                  <a:pt x="147" y="98"/>
                </a:lnTo>
                <a:lnTo>
                  <a:pt x="147" y="88"/>
                </a:lnTo>
                <a:lnTo>
                  <a:pt x="147" y="59"/>
                </a:lnTo>
                <a:lnTo>
                  <a:pt x="147" y="49"/>
                </a:lnTo>
                <a:lnTo>
                  <a:pt x="176" y="29"/>
                </a:lnTo>
                <a:lnTo>
                  <a:pt x="186" y="20"/>
                </a:lnTo>
                <a:lnTo>
                  <a:pt x="215" y="20"/>
                </a:lnTo>
                <a:lnTo>
                  <a:pt x="215" y="10"/>
                </a:lnTo>
                <a:lnTo>
                  <a:pt x="225" y="0"/>
                </a:lnTo>
                <a:lnTo>
                  <a:pt x="254" y="10"/>
                </a:lnTo>
                <a:lnTo>
                  <a:pt x="264" y="20"/>
                </a:lnTo>
                <a:lnTo>
                  <a:pt x="273" y="20"/>
                </a:lnTo>
                <a:lnTo>
                  <a:pt x="313" y="29"/>
                </a:lnTo>
                <a:lnTo>
                  <a:pt x="322" y="29"/>
                </a:lnTo>
                <a:lnTo>
                  <a:pt x="332" y="39"/>
                </a:lnTo>
                <a:lnTo>
                  <a:pt x="322" y="49"/>
                </a:lnTo>
                <a:lnTo>
                  <a:pt x="332" y="59"/>
                </a:lnTo>
                <a:lnTo>
                  <a:pt x="342" y="49"/>
                </a:lnTo>
                <a:lnTo>
                  <a:pt x="361" y="49"/>
                </a:lnTo>
                <a:lnTo>
                  <a:pt x="361" y="68"/>
                </a:lnTo>
                <a:lnTo>
                  <a:pt x="371" y="78"/>
                </a:lnTo>
                <a:lnTo>
                  <a:pt x="381" y="68"/>
                </a:lnTo>
                <a:lnTo>
                  <a:pt x="391" y="78"/>
                </a:lnTo>
                <a:lnTo>
                  <a:pt x="400" y="68"/>
                </a:lnTo>
                <a:lnTo>
                  <a:pt x="400" y="78"/>
                </a:lnTo>
                <a:lnTo>
                  <a:pt x="400" y="98"/>
                </a:lnTo>
                <a:lnTo>
                  <a:pt x="400" y="108"/>
                </a:lnTo>
                <a:lnTo>
                  <a:pt x="391" y="127"/>
                </a:lnTo>
                <a:lnTo>
                  <a:pt x="391" y="117"/>
                </a:lnTo>
                <a:lnTo>
                  <a:pt x="381" y="108"/>
                </a:lnTo>
                <a:lnTo>
                  <a:pt x="381" y="98"/>
                </a:lnTo>
                <a:lnTo>
                  <a:pt x="381" y="88"/>
                </a:lnTo>
                <a:lnTo>
                  <a:pt x="371" y="88"/>
                </a:lnTo>
                <a:lnTo>
                  <a:pt x="371" y="108"/>
                </a:lnTo>
                <a:lnTo>
                  <a:pt x="361" y="117"/>
                </a:lnTo>
                <a:lnTo>
                  <a:pt x="361" y="127"/>
                </a:lnTo>
                <a:lnTo>
                  <a:pt x="371" y="137"/>
                </a:lnTo>
                <a:lnTo>
                  <a:pt x="361" y="137"/>
                </a:lnTo>
                <a:lnTo>
                  <a:pt x="371" y="147"/>
                </a:lnTo>
                <a:lnTo>
                  <a:pt x="381" y="147"/>
                </a:lnTo>
                <a:lnTo>
                  <a:pt x="381" y="156"/>
                </a:lnTo>
                <a:lnTo>
                  <a:pt x="371" y="156"/>
                </a:lnTo>
                <a:lnTo>
                  <a:pt x="361" y="156"/>
                </a:lnTo>
                <a:lnTo>
                  <a:pt x="342" y="156"/>
                </a:lnTo>
                <a:lnTo>
                  <a:pt x="332" y="156"/>
                </a:lnTo>
                <a:lnTo>
                  <a:pt x="342" y="166"/>
                </a:lnTo>
                <a:lnTo>
                  <a:pt x="361" y="176"/>
                </a:lnTo>
                <a:lnTo>
                  <a:pt x="371" y="166"/>
                </a:lnTo>
                <a:lnTo>
                  <a:pt x="381" y="176"/>
                </a:lnTo>
                <a:lnTo>
                  <a:pt x="391" y="195"/>
                </a:lnTo>
                <a:lnTo>
                  <a:pt x="391" y="215"/>
                </a:lnTo>
                <a:lnTo>
                  <a:pt x="400" y="225"/>
                </a:lnTo>
                <a:lnTo>
                  <a:pt x="410" y="225"/>
                </a:lnTo>
                <a:lnTo>
                  <a:pt x="420" y="234"/>
                </a:lnTo>
                <a:lnTo>
                  <a:pt x="420" y="254"/>
                </a:lnTo>
                <a:lnTo>
                  <a:pt x="420" y="283"/>
                </a:lnTo>
                <a:lnTo>
                  <a:pt x="420" y="312"/>
                </a:lnTo>
                <a:lnTo>
                  <a:pt x="420" y="342"/>
                </a:lnTo>
                <a:lnTo>
                  <a:pt x="410" y="361"/>
                </a:lnTo>
                <a:lnTo>
                  <a:pt x="400" y="381"/>
                </a:lnTo>
                <a:lnTo>
                  <a:pt x="410" y="400"/>
                </a:lnTo>
                <a:lnTo>
                  <a:pt x="410" y="429"/>
                </a:lnTo>
                <a:lnTo>
                  <a:pt x="410" y="459"/>
                </a:lnTo>
                <a:lnTo>
                  <a:pt x="420" y="459"/>
                </a:lnTo>
                <a:lnTo>
                  <a:pt x="420" y="469"/>
                </a:lnTo>
                <a:lnTo>
                  <a:pt x="410" y="478"/>
                </a:lnTo>
                <a:lnTo>
                  <a:pt x="410" y="488"/>
                </a:lnTo>
                <a:lnTo>
                  <a:pt x="400" y="498"/>
                </a:lnTo>
                <a:lnTo>
                  <a:pt x="410" y="508"/>
                </a:lnTo>
                <a:lnTo>
                  <a:pt x="410" y="527"/>
                </a:lnTo>
                <a:lnTo>
                  <a:pt x="391" y="537"/>
                </a:lnTo>
                <a:lnTo>
                  <a:pt x="391" y="547"/>
                </a:lnTo>
                <a:lnTo>
                  <a:pt x="391" y="556"/>
                </a:lnTo>
                <a:lnTo>
                  <a:pt x="371" y="566"/>
                </a:lnTo>
                <a:lnTo>
                  <a:pt x="371" y="576"/>
                </a:lnTo>
                <a:lnTo>
                  <a:pt x="361" y="576"/>
                </a:lnTo>
                <a:lnTo>
                  <a:pt x="352" y="576"/>
                </a:lnTo>
                <a:lnTo>
                  <a:pt x="332" y="586"/>
                </a:lnTo>
                <a:lnTo>
                  <a:pt x="313" y="586"/>
                </a:lnTo>
                <a:lnTo>
                  <a:pt x="293" y="586"/>
                </a:lnTo>
                <a:lnTo>
                  <a:pt x="273" y="595"/>
                </a:lnTo>
                <a:lnTo>
                  <a:pt x="254" y="586"/>
                </a:lnTo>
                <a:lnTo>
                  <a:pt x="244" y="586"/>
                </a:lnTo>
                <a:lnTo>
                  <a:pt x="225" y="576"/>
                </a:lnTo>
                <a:lnTo>
                  <a:pt x="205" y="576"/>
                </a:lnTo>
                <a:lnTo>
                  <a:pt x="176" y="537"/>
                </a:lnTo>
                <a:lnTo>
                  <a:pt x="176" y="517"/>
                </a:lnTo>
                <a:lnTo>
                  <a:pt x="156" y="469"/>
                </a:lnTo>
                <a:lnTo>
                  <a:pt x="147" y="439"/>
                </a:lnTo>
                <a:lnTo>
                  <a:pt x="137" y="410"/>
                </a:lnTo>
                <a:lnTo>
                  <a:pt x="137" y="390"/>
                </a:lnTo>
                <a:lnTo>
                  <a:pt x="137" y="381"/>
                </a:lnTo>
                <a:lnTo>
                  <a:pt x="117" y="371"/>
                </a:lnTo>
                <a:lnTo>
                  <a:pt x="127" y="361"/>
                </a:lnTo>
                <a:lnTo>
                  <a:pt x="127" y="351"/>
                </a:lnTo>
                <a:lnTo>
                  <a:pt x="127" y="342"/>
                </a:lnTo>
                <a:lnTo>
                  <a:pt x="117" y="332"/>
                </a:lnTo>
                <a:lnTo>
                  <a:pt x="127" y="322"/>
                </a:lnTo>
                <a:lnTo>
                  <a:pt x="108" y="322"/>
                </a:lnTo>
                <a:lnTo>
                  <a:pt x="108" y="303"/>
                </a:lnTo>
                <a:lnTo>
                  <a:pt x="117" y="293"/>
                </a:lnTo>
                <a:lnTo>
                  <a:pt x="117" y="283"/>
                </a:lnTo>
                <a:lnTo>
                  <a:pt x="127" y="273"/>
                </a:lnTo>
                <a:lnTo>
                  <a:pt x="127" y="264"/>
                </a:lnTo>
                <a:lnTo>
                  <a:pt x="127" y="254"/>
                </a:lnTo>
                <a:lnTo>
                  <a:pt x="117" y="244"/>
                </a:lnTo>
                <a:lnTo>
                  <a:pt x="117" y="264"/>
                </a:lnTo>
                <a:lnTo>
                  <a:pt x="108" y="273"/>
                </a:lnTo>
                <a:lnTo>
                  <a:pt x="98" y="293"/>
                </a:lnTo>
                <a:lnTo>
                  <a:pt x="88" y="293"/>
                </a:lnTo>
                <a:lnTo>
                  <a:pt x="88" y="312"/>
                </a:lnTo>
                <a:lnTo>
                  <a:pt x="78" y="293"/>
                </a:lnTo>
                <a:lnTo>
                  <a:pt x="59" y="293"/>
                </a:lnTo>
                <a:lnTo>
                  <a:pt x="39" y="293"/>
                </a:lnTo>
                <a:lnTo>
                  <a:pt x="30" y="273"/>
                </a:lnTo>
                <a:lnTo>
                  <a:pt x="39" y="254"/>
                </a:lnTo>
                <a:lnTo>
                  <a:pt x="49" y="244"/>
                </a:lnTo>
                <a:lnTo>
                  <a:pt x="0" y="15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en-US" sz="1100">
              <a:latin typeface="Polo" pitchFamily="2" charset="0"/>
              <a:cs typeface="+mn-cs"/>
            </a:endParaRPr>
          </a:p>
        </p:txBody>
      </p:sp>
      <p:sp>
        <p:nvSpPr>
          <p:cNvPr id="189" name="Freeform 180"/>
          <p:cNvSpPr>
            <a:spLocks/>
          </p:cNvSpPr>
          <p:nvPr>
            <p:custDataLst>
              <p:tags r:id="rId137"/>
            </p:custDataLst>
          </p:nvPr>
        </p:nvSpPr>
        <p:spPr bwMode="auto">
          <a:xfrm>
            <a:off x="3036888" y="4240213"/>
            <a:ext cx="122237" cy="107950"/>
          </a:xfrm>
          <a:custGeom>
            <a:avLst/>
            <a:gdLst/>
            <a:ahLst/>
            <a:cxnLst>
              <a:cxn ang="0">
                <a:pos x="0" y="117"/>
              </a:cxn>
              <a:cxn ang="0">
                <a:pos x="0" y="98"/>
              </a:cxn>
              <a:cxn ang="0">
                <a:pos x="10" y="88"/>
              </a:cxn>
              <a:cxn ang="0">
                <a:pos x="10" y="69"/>
              </a:cxn>
              <a:cxn ang="0">
                <a:pos x="29" y="59"/>
              </a:cxn>
              <a:cxn ang="0">
                <a:pos x="39" y="69"/>
              </a:cxn>
              <a:cxn ang="0">
                <a:pos x="58" y="59"/>
              </a:cxn>
              <a:cxn ang="0">
                <a:pos x="58" y="59"/>
              </a:cxn>
              <a:cxn ang="0">
                <a:pos x="58" y="30"/>
              </a:cxn>
              <a:cxn ang="0">
                <a:pos x="58" y="20"/>
              </a:cxn>
              <a:cxn ang="0">
                <a:pos x="78" y="10"/>
              </a:cxn>
              <a:cxn ang="0">
                <a:pos x="88" y="0"/>
              </a:cxn>
              <a:cxn ang="0">
                <a:pos x="97" y="0"/>
              </a:cxn>
              <a:cxn ang="0">
                <a:pos x="117" y="10"/>
              </a:cxn>
              <a:cxn ang="0">
                <a:pos x="146" y="20"/>
              </a:cxn>
              <a:cxn ang="0">
                <a:pos x="166" y="20"/>
              </a:cxn>
              <a:cxn ang="0">
                <a:pos x="175" y="20"/>
              </a:cxn>
              <a:cxn ang="0">
                <a:pos x="175" y="39"/>
              </a:cxn>
              <a:cxn ang="0">
                <a:pos x="166" y="49"/>
              </a:cxn>
              <a:cxn ang="0">
                <a:pos x="175" y="59"/>
              </a:cxn>
              <a:cxn ang="0">
                <a:pos x="185" y="69"/>
              </a:cxn>
              <a:cxn ang="0">
                <a:pos x="175" y="88"/>
              </a:cxn>
              <a:cxn ang="0">
                <a:pos x="185" y="108"/>
              </a:cxn>
              <a:cxn ang="0">
                <a:pos x="156" y="117"/>
              </a:cxn>
              <a:cxn ang="0">
                <a:pos x="127" y="117"/>
              </a:cxn>
              <a:cxn ang="0">
                <a:pos x="117" y="108"/>
              </a:cxn>
              <a:cxn ang="0">
                <a:pos x="107" y="127"/>
              </a:cxn>
              <a:cxn ang="0">
                <a:pos x="117" y="127"/>
              </a:cxn>
              <a:cxn ang="0">
                <a:pos x="117" y="137"/>
              </a:cxn>
              <a:cxn ang="0">
                <a:pos x="107" y="147"/>
              </a:cxn>
              <a:cxn ang="0">
                <a:pos x="107" y="147"/>
              </a:cxn>
              <a:cxn ang="0">
                <a:pos x="97" y="156"/>
              </a:cxn>
              <a:cxn ang="0">
                <a:pos x="78" y="176"/>
              </a:cxn>
              <a:cxn ang="0">
                <a:pos x="58" y="176"/>
              </a:cxn>
              <a:cxn ang="0">
                <a:pos x="58" y="166"/>
              </a:cxn>
              <a:cxn ang="0">
                <a:pos x="49" y="156"/>
              </a:cxn>
              <a:cxn ang="0">
                <a:pos x="29" y="156"/>
              </a:cxn>
              <a:cxn ang="0">
                <a:pos x="29" y="147"/>
              </a:cxn>
              <a:cxn ang="0">
                <a:pos x="19" y="137"/>
              </a:cxn>
              <a:cxn ang="0">
                <a:pos x="10" y="127"/>
              </a:cxn>
              <a:cxn ang="0">
                <a:pos x="0" y="117"/>
              </a:cxn>
            </a:cxnLst>
            <a:rect l="0" t="0" r="r" b="b"/>
            <a:pathLst>
              <a:path w="185" h="176">
                <a:moveTo>
                  <a:pt x="0" y="117"/>
                </a:moveTo>
                <a:lnTo>
                  <a:pt x="0" y="98"/>
                </a:lnTo>
                <a:lnTo>
                  <a:pt x="10" y="88"/>
                </a:lnTo>
                <a:lnTo>
                  <a:pt x="10" y="69"/>
                </a:lnTo>
                <a:lnTo>
                  <a:pt x="29" y="59"/>
                </a:lnTo>
                <a:lnTo>
                  <a:pt x="39" y="69"/>
                </a:lnTo>
                <a:lnTo>
                  <a:pt x="58" y="59"/>
                </a:lnTo>
                <a:lnTo>
                  <a:pt x="58" y="30"/>
                </a:lnTo>
                <a:lnTo>
                  <a:pt x="58" y="20"/>
                </a:lnTo>
                <a:lnTo>
                  <a:pt x="78" y="10"/>
                </a:lnTo>
                <a:lnTo>
                  <a:pt x="88" y="0"/>
                </a:lnTo>
                <a:lnTo>
                  <a:pt x="97" y="0"/>
                </a:lnTo>
                <a:lnTo>
                  <a:pt x="117" y="10"/>
                </a:lnTo>
                <a:lnTo>
                  <a:pt x="146" y="20"/>
                </a:lnTo>
                <a:lnTo>
                  <a:pt x="166" y="20"/>
                </a:lnTo>
                <a:lnTo>
                  <a:pt x="175" y="20"/>
                </a:lnTo>
                <a:lnTo>
                  <a:pt x="175" y="39"/>
                </a:lnTo>
                <a:lnTo>
                  <a:pt x="166" y="49"/>
                </a:lnTo>
                <a:lnTo>
                  <a:pt x="175" y="59"/>
                </a:lnTo>
                <a:lnTo>
                  <a:pt x="185" y="69"/>
                </a:lnTo>
                <a:lnTo>
                  <a:pt x="175" y="88"/>
                </a:lnTo>
                <a:lnTo>
                  <a:pt x="185" y="108"/>
                </a:lnTo>
                <a:lnTo>
                  <a:pt x="156" y="117"/>
                </a:lnTo>
                <a:lnTo>
                  <a:pt x="127" y="117"/>
                </a:lnTo>
                <a:lnTo>
                  <a:pt x="117" y="108"/>
                </a:lnTo>
                <a:lnTo>
                  <a:pt x="107" y="127"/>
                </a:lnTo>
                <a:lnTo>
                  <a:pt x="117" y="127"/>
                </a:lnTo>
                <a:lnTo>
                  <a:pt x="117" y="137"/>
                </a:lnTo>
                <a:lnTo>
                  <a:pt x="107" y="147"/>
                </a:lnTo>
                <a:lnTo>
                  <a:pt x="97" y="156"/>
                </a:lnTo>
                <a:lnTo>
                  <a:pt x="78" y="176"/>
                </a:lnTo>
                <a:lnTo>
                  <a:pt x="58" y="176"/>
                </a:lnTo>
                <a:lnTo>
                  <a:pt x="58" y="166"/>
                </a:lnTo>
                <a:lnTo>
                  <a:pt x="49" y="156"/>
                </a:lnTo>
                <a:lnTo>
                  <a:pt x="29" y="156"/>
                </a:lnTo>
                <a:lnTo>
                  <a:pt x="29" y="147"/>
                </a:lnTo>
                <a:lnTo>
                  <a:pt x="19" y="137"/>
                </a:lnTo>
                <a:lnTo>
                  <a:pt x="10" y="127"/>
                </a:lnTo>
                <a:lnTo>
                  <a:pt x="0" y="11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en-US" sz="1100">
              <a:latin typeface="Polo" pitchFamily="2" charset="0"/>
              <a:cs typeface="+mn-cs"/>
            </a:endParaRPr>
          </a:p>
        </p:txBody>
      </p:sp>
      <p:sp>
        <p:nvSpPr>
          <p:cNvPr id="190" name="Freeform 179"/>
          <p:cNvSpPr>
            <a:spLocks/>
          </p:cNvSpPr>
          <p:nvPr>
            <p:custDataLst>
              <p:tags r:id="rId138"/>
            </p:custDataLst>
          </p:nvPr>
        </p:nvSpPr>
        <p:spPr bwMode="auto">
          <a:xfrm>
            <a:off x="2854325" y="4191000"/>
            <a:ext cx="188913" cy="150813"/>
          </a:xfrm>
          <a:custGeom>
            <a:avLst/>
            <a:gdLst/>
            <a:ahLst/>
            <a:cxnLst>
              <a:cxn ang="0">
                <a:pos x="0" y="69"/>
              </a:cxn>
              <a:cxn ang="0">
                <a:pos x="19" y="69"/>
              </a:cxn>
              <a:cxn ang="0">
                <a:pos x="19" y="59"/>
              </a:cxn>
              <a:cxn ang="0">
                <a:pos x="29" y="49"/>
              </a:cxn>
              <a:cxn ang="0">
                <a:pos x="29" y="49"/>
              </a:cxn>
              <a:cxn ang="0">
                <a:pos x="29" y="69"/>
              </a:cxn>
              <a:cxn ang="0">
                <a:pos x="49" y="49"/>
              </a:cxn>
              <a:cxn ang="0">
                <a:pos x="39" y="49"/>
              </a:cxn>
              <a:cxn ang="0">
                <a:pos x="39" y="39"/>
              </a:cxn>
              <a:cxn ang="0">
                <a:pos x="49" y="39"/>
              </a:cxn>
              <a:cxn ang="0">
                <a:pos x="68" y="49"/>
              </a:cxn>
              <a:cxn ang="0">
                <a:pos x="78" y="39"/>
              </a:cxn>
              <a:cxn ang="0">
                <a:pos x="78" y="30"/>
              </a:cxn>
              <a:cxn ang="0">
                <a:pos x="88" y="20"/>
              </a:cxn>
              <a:cxn ang="0">
                <a:pos x="88" y="10"/>
              </a:cxn>
              <a:cxn ang="0">
                <a:pos x="97" y="0"/>
              </a:cxn>
              <a:cxn ang="0">
                <a:pos x="107" y="0"/>
              </a:cxn>
              <a:cxn ang="0">
                <a:pos x="117" y="10"/>
              </a:cxn>
              <a:cxn ang="0">
                <a:pos x="136" y="20"/>
              </a:cxn>
              <a:cxn ang="0">
                <a:pos x="146" y="30"/>
              </a:cxn>
              <a:cxn ang="0">
                <a:pos x="156" y="39"/>
              </a:cxn>
              <a:cxn ang="0">
                <a:pos x="156" y="59"/>
              </a:cxn>
              <a:cxn ang="0">
                <a:pos x="166" y="69"/>
              </a:cxn>
              <a:cxn ang="0">
                <a:pos x="166" y="88"/>
              </a:cxn>
              <a:cxn ang="0">
                <a:pos x="156" y="98"/>
              </a:cxn>
              <a:cxn ang="0">
                <a:pos x="156" y="117"/>
              </a:cxn>
              <a:cxn ang="0">
                <a:pos x="175" y="117"/>
              </a:cxn>
              <a:cxn ang="0">
                <a:pos x="175" y="127"/>
              </a:cxn>
              <a:cxn ang="0">
                <a:pos x="185" y="147"/>
              </a:cxn>
              <a:cxn ang="0">
                <a:pos x="185" y="147"/>
              </a:cxn>
              <a:cxn ang="0">
                <a:pos x="195" y="137"/>
              </a:cxn>
              <a:cxn ang="0">
                <a:pos x="205" y="127"/>
              </a:cxn>
              <a:cxn ang="0">
                <a:pos x="234" y="137"/>
              </a:cxn>
              <a:cxn ang="0">
                <a:pos x="263" y="117"/>
              </a:cxn>
              <a:cxn ang="0">
                <a:pos x="273" y="127"/>
              </a:cxn>
              <a:cxn ang="0">
                <a:pos x="273" y="137"/>
              </a:cxn>
              <a:cxn ang="0">
                <a:pos x="273" y="147"/>
              </a:cxn>
              <a:cxn ang="0">
                <a:pos x="283" y="147"/>
              </a:cxn>
              <a:cxn ang="0">
                <a:pos x="283" y="166"/>
              </a:cxn>
              <a:cxn ang="0">
                <a:pos x="273" y="186"/>
              </a:cxn>
              <a:cxn ang="0">
                <a:pos x="273" y="195"/>
              </a:cxn>
              <a:cxn ang="0">
                <a:pos x="273" y="225"/>
              </a:cxn>
              <a:cxn ang="0">
                <a:pos x="253" y="244"/>
              </a:cxn>
              <a:cxn ang="0">
                <a:pos x="234" y="244"/>
              </a:cxn>
              <a:cxn ang="0">
                <a:pos x="214" y="234"/>
              </a:cxn>
              <a:cxn ang="0">
                <a:pos x="185" y="234"/>
              </a:cxn>
              <a:cxn ang="0">
                <a:pos x="166" y="234"/>
              </a:cxn>
              <a:cxn ang="0">
                <a:pos x="156" y="215"/>
              </a:cxn>
              <a:cxn ang="0">
                <a:pos x="146" y="195"/>
              </a:cxn>
              <a:cxn ang="0">
                <a:pos x="136" y="186"/>
              </a:cxn>
              <a:cxn ang="0">
                <a:pos x="127" y="176"/>
              </a:cxn>
              <a:cxn ang="0">
                <a:pos x="117" y="186"/>
              </a:cxn>
              <a:cxn ang="0">
                <a:pos x="107" y="186"/>
              </a:cxn>
              <a:cxn ang="0">
                <a:pos x="97" y="186"/>
              </a:cxn>
              <a:cxn ang="0">
                <a:pos x="78" y="156"/>
              </a:cxn>
              <a:cxn ang="0">
                <a:pos x="78" y="137"/>
              </a:cxn>
              <a:cxn ang="0">
                <a:pos x="78" y="127"/>
              </a:cxn>
              <a:cxn ang="0">
                <a:pos x="68" y="108"/>
              </a:cxn>
              <a:cxn ang="0">
                <a:pos x="49" y="98"/>
              </a:cxn>
              <a:cxn ang="0">
                <a:pos x="29" y="98"/>
              </a:cxn>
              <a:cxn ang="0">
                <a:pos x="0" y="69"/>
              </a:cxn>
            </a:cxnLst>
            <a:rect l="0" t="0" r="r" b="b"/>
            <a:pathLst>
              <a:path w="283" h="244">
                <a:moveTo>
                  <a:pt x="0" y="69"/>
                </a:moveTo>
                <a:lnTo>
                  <a:pt x="19" y="69"/>
                </a:lnTo>
                <a:lnTo>
                  <a:pt x="19" y="59"/>
                </a:lnTo>
                <a:lnTo>
                  <a:pt x="29" y="49"/>
                </a:lnTo>
                <a:lnTo>
                  <a:pt x="29" y="69"/>
                </a:lnTo>
                <a:lnTo>
                  <a:pt x="49" y="49"/>
                </a:lnTo>
                <a:lnTo>
                  <a:pt x="39" y="49"/>
                </a:lnTo>
                <a:lnTo>
                  <a:pt x="39" y="39"/>
                </a:lnTo>
                <a:lnTo>
                  <a:pt x="49" y="39"/>
                </a:lnTo>
                <a:lnTo>
                  <a:pt x="68" y="49"/>
                </a:lnTo>
                <a:lnTo>
                  <a:pt x="78" y="39"/>
                </a:lnTo>
                <a:lnTo>
                  <a:pt x="78" y="30"/>
                </a:lnTo>
                <a:lnTo>
                  <a:pt x="88" y="20"/>
                </a:lnTo>
                <a:lnTo>
                  <a:pt x="88" y="10"/>
                </a:lnTo>
                <a:lnTo>
                  <a:pt x="97" y="0"/>
                </a:lnTo>
                <a:lnTo>
                  <a:pt x="107" y="0"/>
                </a:lnTo>
                <a:lnTo>
                  <a:pt x="117" y="10"/>
                </a:lnTo>
                <a:lnTo>
                  <a:pt x="136" y="20"/>
                </a:lnTo>
                <a:lnTo>
                  <a:pt x="146" y="30"/>
                </a:lnTo>
                <a:lnTo>
                  <a:pt x="156" y="39"/>
                </a:lnTo>
                <a:lnTo>
                  <a:pt x="156" y="59"/>
                </a:lnTo>
                <a:lnTo>
                  <a:pt x="166" y="69"/>
                </a:lnTo>
                <a:lnTo>
                  <a:pt x="166" y="88"/>
                </a:lnTo>
                <a:lnTo>
                  <a:pt x="156" y="98"/>
                </a:lnTo>
                <a:lnTo>
                  <a:pt x="156" y="117"/>
                </a:lnTo>
                <a:lnTo>
                  <a:pt x="175" y="117"/>
                </a:lnTo>
                <a:lnTo>
                  <a:pt x="175" y="127"/>
                </a:lnTo>
                <a:lnTo>
                  <a:pt x="185" y="147"/>
                </a:lnTo>
                <a:lnTo>
                  <a:pt x="195" y="137"/>
                </a:lnTo>
                <a:lnTo>
                  <a:pt x="205" y="127"/>
                </a:lnTo>
                <a:lnTo>
                  <a:pt x="234" y="137"/>
                </a:lnTo>
                <a:lnTo>
                  <a:pt x="263" y="117"/>
                </a:lnTo>
                <a:lnTo>
                  <a:pt x="273" y="127"/>
                </a:lnTo>
                <a:lnTo>
                  <a:pt x="273" y="137"/>
                </a:lnTo>
                <a:lnTo>
                  <a:pt x="273" y="147"/>
                </a:lnTo>
                <a:lnTo>
                  <a:pt x="283" y="147"/>
                </a:lnTo>
                <a:lnTo>
                  <a:pt x="283" y="166"/>
                </a:lnTo>
                <a:lnTo>
                  <a:pt x="273" y="186"/>
                </a:lnTo>
                <a:lnTo>
                  <a:pt x="273" y="195"/>
                </a:lnTo>
                <a:lnTo>
                  <a:pt x="273" y="225"/>
                </a:lnTo>
                <a:lnTo>
                  <a:pt x="253" y="244"/>
                </a:lnTo>
                <a:lnTo>
                  <a:pt x="234" y="244"/>
                </a:lnTo>
                <a:lnTo>
                  <a:pt x="214" y="234"/>
                </a:lnTo>
                <a:lnTo>
                  <a:pt x="185" y="234"/>
                </a:lnTo>
                <a:lnTo>
                  <a:pt x="166" y="234"/>
                </a:lnTo>
                <a:lnTo>
                  <a:pt x="156" y="215"/>
                </a:lnTo>
                <a:lnTo>
                  <a:pt x="146" y="195"/>
                </a:lnTo>
                <a:lnTo>
                  <a:pt x="136" y="186"/>
                </a:lnTo>
                <a:lnTo>
                  <a:pt x="127" y="176"/>
                </a:lnTo>
                <a:lnTo>
                  <a:pt x="117" y="186"/>
                </a:lnTo>
                <a:lnTo>
                  <a:pt x="107" y="186"/>
                </a:lnTo>
                <a:lnTo>
                  <a:pt x="97" y="186"/>
                </a:lnTo>
                <a:lnTo>
                  <a:pt x="78" y="156"/>
                </a:lnTo>
                <a:lnTo>
                  <a:pt x="78" y="137"/>
                </a:lnTo>
                <a:lnTo>
                  <a:pt x="78" y="127"/>
                </a:lnTo>
                <a:lnTo>
                  <a:pt x="68" y="108"/>
                </a:lnTo>
                <a:lnTo>
                  <a:pt x="49" y="98"/>
                </a:lnTo>
                <a:lnTo>
                  <a:pt x="29" y="98"/>
                </a:lnTo>
                <a:lnTo>
                  <a:pt x="0" y="6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en-US" sz="1100">
              <a:latin typeface="Polo" pitchFamily="2" charset="0"/>
              <a:cs typeface="+mn-cs"/>
            </a:endParaRPr>
          </a:p>
        </p:txBody>
      </p:sp>
      <p:sp>
        <p:nvSpPr>
          <p:cNvPr id="191" name="Freeform 178"/>
          <p:cNvSpPr>
            <a:spLocks/>
          </p:cNvSpPr>
          <p:nvPr>
            <p:custDataLst>
              <p:tags r:id="rId139"/>
            </p:custDataLst>
          </p:nvPr>
        </p:nvSpPr>
        <p:spPr bwMode="auto">
          <a:xfrm>
            <a:off x="3049588" y="4300538"/>
            <a:ext cx="303212" cy="241300"/>
          </a:xfrm>
          <a:custGeom>
            <a:avLst/>
            <a:gdLst/>
            <a:ahLst/>
            <a:cxnLst>
              <a:cxn ang="0">
                <a:pos x="156" y="234"/>
              </a:cxn>
              <a:cxn ang="0">
                <a:pos x="176" y="254"/>
              </a:cxn>
              <a:cxn ang="0">
                <a:pos x="195" y="234"/>
              </a:cxn>
              <a:cxn ang="0">
                <a:pos x="225" y="254"/>
              </a:cxn>
              <a:cxn ang="0">
                <a:pos x="225" y="312"/>
              </a:cxn>
              <a:cxn ang="0">
                <a:pos x="254" y="312"/>
              </a:cxn>
              <a:cxn ang="0">
                <a:pos x="264" y="341"/>
              </a:cxn>
              <a:cxn ang="0">
                <a:pos x="293" y="351"/>
              </a:cxn>
              <a:cxn ang="0">
                <a:pos x="274" y="361"/>
              </a:cxn>
              <a:cxn ang="0">
                <a:pos x="293" y="380"/>
              </a:cxn>
              <a:cxn ang="0">
                <a:pos x="332" y="351"/>
              </a:cxn>
              <a:cxn ang="0">
                <a:pos x="361" y="322"/>
              </a:cxn>
              <a:cxn ang="0">
                <a:pos x="352" y="293"/>
              </a:cxn>
              <a:cxn ang="0">
                <a:pos x="371" y="302"/>
              </a:cxn>
              <a:cxn ang="0">
                <a:pos x="439" y="293"/>
              </a:cxn>
              <a:cxn ang="0">
                <a:pos x="439" y="254"/>
              </a:cxn>
              <a:cxn ang="0">
                <a:pos x="430" y="234"/>
              </a:cxn>
              <a:cxn ang="0">
                <a:pos x="449" y="205"/>
              </a:cxn>
              <a:cxn ang="0">
                <a:pos x="459" y="185"/>
              </a:cxn>
              <a:cxn ang="0">
                <a:pos x="430" y="185"/>
              </a:cxn>
              <a:cxn ang="0">
                <a:pos x="449" y="166"/>
              </a:cxn>
              <a:cxn ang="0">
                <a:pos x="459" y="146"/>
              </a:cxn>
              <a:cxn ang="0">
                <a:pos x="410" y="156"/>
              </a:cxn>
              <a:cxn ang="0">
                <a:pos x="400" y="175"/>
              </a:cxn>
              <a:cxn ang="0">
                <a:pos x="361" y="166"/>
              </a:cxn>
              <a:cxn ang="0">
                <a:pos x="322" y="136"/>
              </a:cxn>
              <a:cxn ang="0">
                <a:pos x="322" y="97"/>
              </a:cxn>
              <a:cxn ang="0">
                <a:pos x="322" y="68"/>
              </a:cxn>
              <a:cxn ang="0">
                <a:pos x="322" y="29"/>
              </a:cxn>
              <a:cxn ang="0">
                <a:pos x="293" y="19"/>
              </a:cxn>
              <a:cxn ang="0">
                <a:pos x="264" y="10"/>
              </a:cxn>
              <a:cxn ang="0">
                <a:pos x="225" y="10"/>
              </a:cxn>
              <a:cxn ang="0">
                <a:pos x="186" y="10"/>
              </a:cxn>
              <a:cxn ang="0">
                <a:pos x="137" y="10"/>
              </a:cxn>
              <a:cxn ang="0">
                <a:pos x="98" y="10"/>
              </a:cxn>
              <a:cxn ang="0">
                <a:pos x="98" y="29"/>
              </a:cxn>
              <a:cxn ang="0">
                <a:pos x="88" y="49"/>
              </a:cxn>
              <a:cxn ang="0">
                <a:pos x="78" y="58"/>
              </a:cxn>
              <a:cxn ang="0">
                <a:pos x="49" y="78"/>
              </a:cxn>
              <a:cxn ang="0">
                <a:pos x="30" y="58"/>
              </a:cxn>
              <a:cxn ang="0">
                <a:pos x="0" y="78"/>
              </a:cxn>
              <a:cxn ang="0">
                <a:pos x="39" y="88"/>
              </a:cxn>
              <a:cxn ang="0">
                <a:pos x="59" y="107"/>
              </a:cxn>
              <a:cxn ang="0">
                <a:pos x="78" y="136"/>
              </a:cxn>
              <a:cxn ang="0">
                <a:pos x="98" y="127"/>
              </a:cxn>
              <a:cxn ang="0">
                <a:pos x="137" y="136"/>
              </a:cxn>
              <a:cxn ang="0">
                <a:pos x="137" y="175"/>
              </a:cxn>
              <a:cxn ang="0">
                <a:pos x="147" y="215"/>
              </a:cxn>
            </a:cxnLst>
            <a:rect l="0" t="0" r="r" b="b"/>
            <a:pathLst>
              <a:path w="459" h="390">
                <a:moveTo>
                  <a:pt x="147" y="215"/>
                </a:moveTo>
                <a:lnTo>
                  <a:pt x="156" y="234"/>
                </a:lnTo>
                <a:lnTo>
                  <a:pt x="176" y="234"/>
                </a:lnTo>
                <a:lnTo>
                  <a:pt x="176" y="254"/>
                </a:lnTo>
                <a:lnTo>
                  <a:pt x="195" y="254"/>
                </a:lnTo>
                <a:lnTo>
                  <a:pt x="195" y="234"/>
                </a:lnTo>
                <a:lnTo>
                  <a:pt x="215" y="244"/>
                </a:lnTo>
                <a:lnTo>
                  <a:pt x="225" y="254"/>
                </a:lnTo>
                <a:lnTo>
                  <a:pt x="225" y="283"/>
                </a:lnTo>
                <a:lnTo>
                  <a:pt x="225" y="312"/>
                </a:lnTo>
                <a:lnTo>
                  <a:pt x="244" y="302"/>
                </a:lnTo>
                <a:lnTo>
                  <a:pt x="254" y="312"/>
                </a:lnTo>
                <a:lnTo>
                  <a:pt x="254" y="322"/>
                </a:lnTo>
                <a:lnTo>
                  <a:pt x="264" y="341"/>
                </a:lnTo>
                <a:lnTo>
                  <a:pt x="274" y="351"/>
                </a:lnTo>
                <a:lnTo>
                  <a:pt x="293" y="351"/>
                </a:lnTo>
                <a:lnTo>
                  <a:pt x="293" y="361"/>
                </a:lnTo>
                <a:lnTo>
                  <a:pt x="274" y="361"/>
                </a:lnTo>
                <a:lnTo>
                  <a:pt x="283" y="390"/>
                </a:lnTo>
                <a:lnTo>
                  <a:pt x="293" y="380"/>
                </a:lnTo>
                <a:lnTo>
                  <a:pt x="313" y="351"/>
                </a:lnTo>
                <a:lnTo>
                  <a:pt x="332" y="351"/>
                </a:lnTo>
                <a:lnTo>
                  <a:pt x="352" y="351"/>
                </a:lnTo>
                <a:lnTo>
                  <a:pt x="361" y="322"/>
                </a:lnTo>
                <a:lnTo>
                  <a:pt x="352" y="302"/>
                </a:lnTo>
                <a:lnTo>
                  <a:pt x="352" y="293"/>
                </a:lnTo>
                <a:lnTo>
                  <a:pt x="361" y="293"/>
                </a:lnTo>
                <a:lnTo>
                  <a:pt x="371" y="302"/>
                </a:lnTo>
                <a:lnTo>
                  <a:pt x="420" y="293"/>
                </a:lnTo>
                <a:lnTo>
                  <a:pt x="439" y="293"/>
                </a:lnTo>
                <a:lnTo>
                  <a:pt x="449" y="273"/>
                </a:lnTo>
                <a:lnTo>
                  <a:pt x="439" y="254"/>
                </a:lnTo>
                <a:lnTo>
                  <a:pt x="430" y="234"/>
                </a:lnTo>
                <a:lnTo>
                  <a:pt x="430" y="224"/>
                </a:lnTo>
                <a:lnTo>
                  <a:pt x="449" y="205"/>
                </a:lnTo>
                <a:lnTo>
                  <a:pt x="459" y="195"/>
                </a:lnTo>
                <a:lnTo>
                  <a:pt x="459" y="185"/>
                </a:lnTo>
                <a:lnTo>
                  <a:pt x="439" y="195"/>
                </a:lnTo>
                <a:lnTo>
                  <a:pt x="430" y="185"/>
                </a:lnTo>
                <a:lnTo>
                  <a:pt x="430" y="166"/>
                </a:lnTo>
                <a:lnTo>
                  <a:pt x="449" y="166"/>
                </a:lnTo>
                <a:lnTo>
                  <a:pt x="459" y="156"/>
                </a:lnTo>
                <a:lnTo>
                  <a:pt x="459" y="146"/>
                </a:lnTo>
                <a:lnTo>
                  <a:pt x="439" y="146"/>
                </a:lnTo>
                <a:lnTo>
                  <a:pt x="410" y="156"/>
                </a:lnTo>
                <a:lnTo>
                  <a:pt x="410" y="175"/>
                </a:lnTo>
                <a:lnTo>
                  <a:pt x="400" y="175"/>
                </a:lnTo>
                <a:lnTo>
                  <a:pt x="391" y="166"/>
                </a:lnTo>
                <a:lnTo>
                  <a:pt x="361" y="166"/>
                </a:lnTo>
                <a:lnTo>
                  <a:pt x="332" y="156"/>
                </a:lnTo>
                <a:lnTo>
                  <a:pt x="322" y="136"/>
                </a:lnTo>
                <a:lnTo>
                  <a:pt x="332" y="117"/>
                </a:lnTo>
                <a:lnTo>
                  <a:pt x="322" y="97"/>
                </a:lnTo>
                <a:lnTo>
                  <a:pt x="332" y="78"/>
                </a:lnTo>
                <a:lnTo>
                  <a:pt x="322" y="68"/>
                </a:lnTo>
                <a:lnTo>
                  <a:pt x="322" y="29"/>
                </a:lnTo>
                <a:lnTo>
                  <a:pt x="303" y="39"/>
                </a:lnTo>
                <a:lnTo>
                  <a:pt x="293" y="19"/>
                </a:lnTo>
                <a:lnTo>
                  <a:pt x="283" y="10"/>
                </a:lnTo>
                <a:lnTo>
                  <a:pt x="264" y="10"/>
                </a:lnTo>
                <a:lnTo>
                  <a:pt x="254" y="0"/>
                </a:lnTo>
                <a:lnTo>
                  <a:pt x="225" y="10"/>
                </a:lnTo>
                <a:lnTo>
                  <a:pt x="205" y="10"/>
                </a:lnTo>
                <a:lnTo>
                  <a:pt x="186" y="10"/>
                </a:lnTo>
                <a:lnTo>
                  <a:pt x="166" y="10"/>
                </a:lnTo>
                <a:lnTo>
                  <a:pt x="137" y="10"/>
                </a:lnTo>
                <a:lnTo>
                  <a:pt x="108" y="10"/>
                </a:lnTo>
                <a:lnTo>
                  <a:pt x="98" y="10"/>
                </a:lnTo>
                <a:lnTo>
                  <a:pt x="88" y="19"/>
                </a:lnTo>
                <a:lnTo>
                  <a:pt x="98" y="29"/>
                </a:lnTo>
                <a:lnTo>
                  <a:pt x="98" y="39"/>
                </a:lnTo>
                <a:lnTo>
                  <a:pt x="88" y="49"/>
                </a:lnTo>
                <a:lnTo>
                  <a:pt x="78" y="58"/>
                </a:lnTo>
                <a:lnTo>
                  <a:pt x="59" y="78"/>
                </a:lnTo>
                <a:lnTo>
                  <a:pt x="49" y="78"/>
                </a:lnTo>
                <a:lnTo>
                  <a:pt x="39" y="68"/>
                </a:lnTo>
                <a:lnTo>
                  <a:pt x="30" y="58"/>
                </a:lnTo>
                <a:lnTo>
                  <a:pt x="10" y="58"/>
                </a:lnTo>
                <a:lnTo>
                  <a:pt x="0" y="78"/>
                </a:lnTo>
                <a:lnTo>
                  <a:pt x="20" y="88"/>
                </a:lnTo>
                <a:lnTo>
                  <a:pt x="39" y="88"/>
                </a:lnTo>
                <a:lnTo>
                  <a:pt x="39" y="107"/>
                </a:lnTo>
                <a:lnTo>
                  <a:pt x="59" y="107"/>
                </a:lnTo>
                <a:lnTo>
                  <a:pt x="69" y="127"/>
                </a:lnTo>
                <a:lnTo>
                  <a:pt x="78" y="136"/>
                </a:lnTo>
                <a:lnTo>
                  <a:pt x="88" y="136"/>
                </a:lnTo>
                <a:lnTo>
                  <a:pt x="98" y="127"/>
                </a:lnTo>
                <a:lnTo>
                  <a:pt x="117" y="136"/>
                </a:lnTo>
                <a:lnTo>
                  <a:pt x="137" y="136"/>
                </a:lnTo>
                <a:lnTo>
                  <a:pt x="147" y="156"/>
                </a:lnTo>
                <a:lnTo>
                  <a:pt x="137" y="175"/>
                </a:lnTo>
                <a:lnTo>
                  <a:pt x="147" y="195"/>
                </a:lnTo>
                <a:lnTo>
                  <a:pt x="147" y="21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en-US" sz="1100">
              <a:latin typeface="Polo" pitchFamily="2" charset="0"/>
              <a:cs typeface="+mn-cs"/>
            </a:endParaRPr>
          </a:p>
        </p:txBody>
      </p:sp>
      <p:sp>
        <p:nvSpPr>
          <p:cNvPr id="192" name="Freeform 177"/>
          <p:cNvSpPr>
            <a:spLocks/>
          </p:cNvSpPr>
          <p:nvPr>
            <p:custDataLst>
              <p:tags r:id="rId140"/>
            </p:custDataLst>
          </p:nvPr>
        </p:nvSpPr>
        <p:spPr bwMode="auto">
          <a:xfrm>
            <a:off x="3224213" y="4446588"/>
            <a:ext cx="314325" cy="355600"/>
          </a:xfrm>
          <a:custGeom>
            <a:avLst/>
            <a:gdLst/>
            <a:ahLst/>
            <a:cxnLst>
              <a:cxn ang="0">
                <a:pos x="68" y="117"/>
              </a:cxn>
              <a:cxn ang="0">
                <a:pos x="88" y="88"/>
              </a:cxn>
              <a:cxn ang="0">
                <a:pos x="88" y="59"/>
              </a:cxn>
              <a:cxn ang="0">
                <a:pos x="107" y="68"/>
              </a:cxn>
              <a:cxn ang="0">
                <a:pos x="175" y="59"/>
              </a:cxn>
              <a:cxn ang="0">
                <a:pos x="175" y="20"/>
              </a:cxn>
              <a:cxn ang="0">
                <a:pos x="166" y="0"/>
              </a:cxn>
              <a:cxn ang="0">
                <a:pos x="205" y="0"/>
              </a:cxn>
              <a:cxn ang="0">
                <a:pos x="253" y="0"/>
              </a:cxn>
              <a:cxn ang="0">
                <a:pos x="283" y="29"/>
              </a:cxn>
              <a:cxn ang="0">
                <a:pos x="331" y="39"/>
              </a:cxn>
              <a:cxn ang="0">
                <a:pos x="331" y="49"/>
              </a:cxn>
              <a:cxn ang="0">
                <a:pos x="331" y="68"/>
              </a:cxn>
              <a:cxn ang="0">
                <a:pos x="361" y="117"/>
              </a:cxn>
              <a:cxn ang="0">
                <a:pos x="390" y="137"/>
              </a:cxn>
              <a:cxn ang="0">
                <a:pos x="419" y="156"/>
              </a:cxn>
              <a:cxn ang="0">
                <a:pos x="439" y="176"/>
              </a:cxn>
              <a:cxn ang="0">
                <a:pos x="458" y="195"/>
              </a:cxn>
              <a:cxn ang="0">
                <a:pos x="468" y="215"/>
              </a:cxn>
              <a:cxn ang="0">
                <a:pos x="448" y="234"/>
              </a:cxn>
              <a:cxn ang="0">
                <a:pos x="448" y="254"/>
              </a:cxn>
              <a:cxn ang="0">
                <a:pos x="419" y="254"/>
              </a:cxn>
              <a:cxn ang="0">
                <a:pos x="409" y="273"/>
              </a:cxn>
              <a:cxn ang="0">
                <a:pos x="380" y="263"/>
              </a:cxn>
              <a:cxn ang="0">
                <a:pos x="361" y="273"/>
              </a:cxn>
              <a:cxn ang="0">
                <a:pos x="341" y="254"/>
              </a:cxn>
              <a:cxn ang="0">
                <a:pos x="361" y="234"/>
              </a:cxn>
              <a:cxn ang="0">
                <a:pos x="331" y="205"/>
              </a:cxn>
              <a:cxn ang="0">
                <a:pos x="283" y="244"/>
              </a:cxn>
              <a:cxn ang="0">
                <a:pos x="273" y="273"/>
              </a:cxn>
              <a:cxn ang="0">
                <a:pos x="322" y="302"/>
              </a:cxn>
              <a:cxn ang="0">
                <a:pos x="351" y="322"/>
              </a:cxn>
              <a:cxn ang="0">
                <a:pos x="390" y="332"/>
              </a:cxn>
              <a:cxn ang="0">
                <a:pos x="429" y="332"/>
              </a:cxn>
              <a:cxn ang="0">
                <a:pos x="419" y="361"/>
              </a:cxn>
              <a:cxn ang="0">
                <a:pos x="390" y="381"/>
              </a:cxn>
              <a:cxn ang="0">
                <a:pos x="361" y="381"/>
              </a:cxn>
              <a:cxn ang="0">
                <a:pos x="322" y="381"/>
              </a:cxn>
              <a:cxn ang="0">
                <a:pos x="283" y="410"/>
              </a:cxn>
              <a:cxn ang="0">
                <a:pos x="263" y="439"/>
              </a:cxn>
              <a:cxn ang="0">
                <a:pos x="253" y="468"/>
              </a:cxn>
              <a:cxn ang="0">
                <a:pos x="234" y="478"/>
              </a:cxn>
              <a:cxn ang="0">
                <a:pos x="214" y="517"/>
              </a:cxn>
              <a:cxn ang="0">
                <a:pos x="185" y="537"/>
              </a:cxn>
              <a:cxn ang="0">
                <a:pos x="166" y="546"/>
              </a:cxn>
              <a:cxn ang="0">
                <a:pos x="127" y="576"/>
              </a:cxn>
              <a:cxn ang="0">
                <a:pos x="107" y="546"/>
              </a:cxn>
              <a:cxn ang="0">
                <a:pos x="68" y="537"/>
              </a:cxn>
              <a:cxn ang="0">
                <a:pos x="49" y="517"/>
              </a:cxn>
              <a:cxn ang="0">
                <a:pos x="29" y="517"/>
              </a:cxn>
              <a:cxn ang="0">
                <a:pos x="39" y="488"/>
              </a:cxn>
              <a:cxn ang="0">
                <a:pos x="29" y="449"/>
              </a:cxn>
              <a:cxn ang="0">
                <a:pos x="49" y="429"/>
              </a:cxn>
              <a:cxn ang="0">
                <a:pos x="58" y="400"/>
              </a:cxn>
              <a:cxn ang="0">
                <a:pos x="19" y="410"/>
              </a:cxn>
              <a:cxn ang="0">
                <a:pos x="10" y="371"/>
              </a:cxn>
              <a:cxn ang="0">
                <a:pos x="29" y="361"/>
              </a:cxn>
              <a:cxn ang="0">
                <a:pos x="10" y="342"/>
              </a:cxn>
              <a:cxn ang="0">
                <a:pos x="29" y="273"/>
              </a:cxn>
              <a:cxn ang="0">
                <a:pos x="29" y="254"/>
              </a:cxn>
              <a:cxn ang="0">
                <a:pos x="10" y="224"/>
              </a:cxn>
              <a:cxn ang="0">
                <a:pos x="19" y="176"/>
              </a:cxn>
              <a:cxn ang="0">
                <a:pos x="49" y="117"/>
              </a:cxn>
            </a:cxnLst>
            <a:rect l="0" t="0" r="r" b="b"/>
            <a:pathLst>
              <a:path w="468" h="576">
                <a:moveTo>
                  <a:pt x="49" y="117"/>
                </a:moveTo>
                <a:lnTo>
                  <a:pt x="68" y="117"/>
                </a:lnTo>
                <a:lnTo>
                  <a:pt x="88" y="117"/>
                </a:lnTo>
                <a:lnTo>
                  <a:pt x="88" y="88"/>
                </a:lnTo>
                <a:lnTo>
                  <a:pt x="88" y="68"/>
                </a:lnTo>
                <a:lnTo>
                  <a:pt x="88" y="59"/>
                </a:lnTo>
                <a:lnTo>
                  <a:pt x="107" y="68"/>
                </a:lnTo>
                <a:lnTo>
                  <a:pt x="156" y="59"/>
                </a:lnTo>
                <a:lnTo>
                  <a:pt x="175" y="59"/>
                </a:lnTo>
                <a:lnTo>
                  <a:pt x="185" y="49"/>
                </a:lnTo>
                <a:lnTo>
                  <a:pt x="175" y="20"/>
                </a:lnTo>
                <a:lnTo>
                  <a:pt x="166" y="0"/>
                </a:lnTo>
                <a:lnTo>
                  <a:pt x="175" y="0"/>
                </a:lnTo>
                <a:lnTo>
                  <a:pt x="205" y="0"/>
                </a:lnTo>
                <a:lnTo>
                  <a:pt x="234" y="0"/>
                </a:lnTo>
                <a:lnTo>
                  <a:pt x="253" y="0"/>
                </a:lnTo>
                <a:lnTo>
                  <a:pt x="263" y="20"/>
                </a:lnTo>
                <a:lnTo>
                  <a:pt x="283" y="29"/>
                </a:lnTo>
                <a:lnTo>
                  <a:pt x="302" y="39"/>
                </a:lnTo>
                <a:lnTo>
                  <a:pt x="331" y="39"/>
                </a:lnTo>
                <a:lnTo>
                  <a:pt x="341" y="49"/>
                </a:lnTo>
                <a:lnTo>
                  <a:pt x="331" y="49"/>
                </a:lnTo>
                <a:lnTo>
                  <a:pt x="331" y="59"/>
                </a:lnTo>
                <a:lnTo>
                  <a:pt x="331" y="68"/>
                </a:lnTo>
                <a:lnTo>
                  <a:pt x="351" y="78"/>
                </a:lnTo>
                <a:lnTo>
                  <a:pt x="361" y="117"/>
                </a:lnTo>
                <a:lnTo>
                  <a:pt x="380" y="117"/>
                </a:lnTo>
                <a:lnTo>
                  <a:pt x="390" y="137"/>
                </a:lnTo>
                <a:lnTo>
                  <a:pt x="400" y="137"/>
                </a:lnTo>
                <a:lnTo>
                  <a:pt x="419" y="156"/>
                </a:lnTo>
                <a:lnTo>
                  <a:pt x="419" y="166"/>
                </a:lnTo>
                <a:lnTo>
                  <a:pt x="439" y="176"/>
                </a:lnTo>
                <a:lnTo>
                  <a:pt x="458" y="185"/>
                </a:lnTo>
                <a:lnTo>
                  <a:pt x="458" y="195"/>
                </a:lnTo>
                <a:lnTo>
                  <a:pt x="468" y="195"/>
                </a:lnTo>
                <a:lnTo>
                  <a:pt x="468" y="215"/>
                </a:lnTo>
                <a:lnTo>
                  <a:pt x="448" y="224"/>
                </a:lnTo>
                <a:lnTo>
                  <a:pt x="448" y="234"/>
                </a:lnTo>
                <a:lnTo>
                  <a:pt x="439" y="244"/>
                </a:lnTo>
                <a:lnTo>
                  <a:pt x="448" y="254"/>
                </a:lnTo>
                <a:lnTo>
                  <a:pt x="448" y="263"/>
                </a:lnTo>
                <a:lnTo>
                  <a:pt x="419" y="254"/>
                </a:lnTo>
                <a:lnTo>
                  <a:pt x="419" y="273"/>
                </a:lnTo>
                <a:lnTo>
                  <a:pt x="409" y="273"/>
                </a:lnTo>
                <a:lnTo>
                  <a:pt x="400" y="263"/>
                </a:lnTo>
                <a:lnTo>
                  <a:pt x="380" y="263"/>
                </a:lnTo>
                <a:lnTo>
                  <a:pt x="380" y="273"/>
                </a:lnTo>
                <a:lnTo>
                  <a:pt x="361" y="273"/>
                </a:lnTo>
                <a:lnTo>
                  <a:pt x="361" y="254"/>
                </a:lnTo>
                <a:lnTo>
                  <a:pt x="341" y="254"/>
                </a:lnTo>
                <a:lnTo>
                  <a:pt x="331" y="244"/>
                </a:lnTo>
                <a:lnTo>
                  <a:pt x="361" y="234"/>
                </a:lnTo>
                <a:lnTo>
                  <a:pt x="351" y="215"/>
                </a:lnTo>
                <a:lnTo>
                  <a:pt x="331" y="205"/>
                </a:lnTo>
                <a:lnTo>
                  <a:pt x="292" y="215"/>
                </a:lnTo>
                <a:lnTo>
                  <a:pt x="283" y="244"/>
                </a:lnTo>
                <a:lnTo>
                  <a:pt x="273" y="254"/>
                </a:lnTo>
                <a:lnTo>
                  <a:pt x="273" y="273"/>
                </a:lnTo>
                <a:lnTo>
                  <a:pt x="292" y="302"/>
                </a:lnTo>
                <a:lnTo>
                  <a:pt x="322" y="302"/>
                </a:lnTo>
                <a:lnTo>
                  <a:pt x="341" y="332"/>
                </a:lnTo>
                <a:lnTo>
                  <a:pt x="351" y="322"/>
                </a:lnTo>
                <a:lnTo>
                  <a:pt x="370" y="332"/>
                </a:lnTo>
                <a:lnTo>
                  <a:pt x="390" y="332"/>
                </a:lnTo>
                <a:lnTo>
                  <a:pt x="419" y="332"/>
                </a:lnTo>
                <a:lnTo>
                  <a:pt x="429" y="332"/>
                </a:lnTo>
                <a:lnTo>
                  <a:pt x="429" y="342"/>
                </a:lnTo>
                <a:lnTo>
                  <a:pt x="419" y="361"/>
                </a:lnTo>
                <a:lnTo>
                  <a:pt x="400" y="361"/>
                </a:lnTo>
                <a:lnTo>
                  <a:pt x="390" y="381"/>
                </a:lnTo>
                <a:lnTo>
                  <a:pt x="370" y="390"/>
                </a:lnTo>
                <a:lnTo>
                  <a:pt x="361" y="381"/>
                </a:lnTo>
                <a:lnTo>
                  <a:pt x="341" y="381"/>
                </a:lnTo>
                <a:lnTo>
                  <a:pt x="322" y="381"/>
                </a:lnTo>
                <a:lnTo>
                  <a:pt x="302" y="400"/>
                </a:lnTo>
                <a:lnTo>
                  <a:pt x="283" y="410"/>
                </a:lnTo>
                <a:lnTo>
                  <a:pt x="273" y="420"/>
                </a:lnTo>
                <a:lnTo>
                  <a:pt x="263" y="439"/>
                </a:lnTo>
                <a:lnTo>
                  <a:pt x="253" y="459"/>
                </a:lnTo>
                <a:lnTo>
                  <a:pt x="253" y="468"/>
                </a:lnTo>
                <a:lnTo>
                  <a:pt x="244" y="478"/>
                </a:lnTo>
                <a:lnTo>
                  <a:pt x="234" y="478"/>
                </a:lnTo>
                <a:lnTo>
                  <a:pt x="224" y="498"/>
                </a:lnTo>
                <a:lnTo>
                  <a:pt x="214" y="517"/>
                </a:lnTo>
                <a:lnTo>
                  <a:pt x="205" y="537"/>
                </a:lnTo>
                <a:lnTo>
                  <a:pt x="185" y="537"/>
                </a:lnTo>
                <a:lnTo>
                  <a:pt x="175" y="537"/>
                </a:lnTo>
                <a:lnTo>
                  <a:pt x="166" y="546"/>
                </a:lnTo>
                <a:lnTo>
                  <a:pt x="146" y="566"/>
                </a:lnTo>
                <a:lnTo>
                  <a:pt x="127" y="576"/>
                </a:lnTo>
                <a:lnTo>
                  <a:pt x="107" y="566"/>
                </a:lnTo>
                <a:lnTo>
                  <a:pt x="107" y="546"/>
                </a:lnTo>
                <a:lnTo>
                  <a:pt x="88" y="537"/>
                </a:lnTo>
                <a:lnTo>
                  <a:pt x="68" y="537"/>
                </a:lnTo>
                <a:lnTo>
                  <a:pt x="49" y="537"/>
                </a:lnTo>
                <a:lnTo>
                  <a:pt x="49" y="517"/>
                </a:lnTo>
                <a:lnTo>
                  <a:pt x="39" y="517"/>
                </a:lnTo>
                <a:lnTo>
                  <a:pt x="29" y="517"/>
                </a:lnTo>
                <a:lnTo>
                  <a:pt x="29" y="488"/>
                </a:lnTo>
                <a:lnTo>
                  <a:pt x="39" y="488"/>
                </a:lnTo>
                <a:lnTo>
                  <a:pt x="39" y="459"/>
                </a:lnTo>
                <a:lnTo>
                  <a:pt x="29" y="449"/>
                </a:lnTo>
                <a:lnTo>
                  <a:pt x="39" y="439"/>
                </a:lnTo>
                <a:lnTo>
                  <a:pt x="49" y="429"/>
                </a:lnTo>
                <a:lnTo>
                  <a:pt x="68" y="420"/>
                </a:lnTo>
                <a:lnTo>
                  <a:pt x="58" y="400"/>
                </a:lnTo>
                <a:lnTo>
                  <a:pt x="39" y="400"/>
                </a:lnTo>
                <a:lnTo>
                  <a:pt x="19" y="410"/>
                </a:lnTo>
                <a:lnTo>
                  <a:pt x="10" y="390"/>
                </a:lnTo>
                <a:lnTo>
                  <a:pt x="10" y="371"/>
                </a:lnTo>
                <a:lnTo>
                  <a:pt x="0" y="361"/>
                </a:lnTo>
                <a:lnTo>
                  <a:pt x="29" y="361"/>
                </a:lnTo>
                <a:lnTo>
                  <a:pt x="29" y="351"/>
                </a:lnTo>
                <a:lnTo>
                  <a:pt x="10" y="342"/>
                </a:lnTo>
                <a:lnTo>
                  <a:pt x="29" y="293"/>
                </a:lnTo>
                <a:lnTo>
                  <a:pt x="29" y="273"/>
                </a:lnTo>
                <a:lnTo>
                  <a:pt x="39" y="263"/>
                </a:lnTo>
                <a:lnTo>
                  <a:pt x="29" y="254"/>
                </a:lnTo>
                <a:lnTo>
                  <a:pt x="10" y="244"/>
                </a:lnTo>
                <a:lnTo>
                  <a:pt x="10" y="224"/>
                </a:lnTo>
                <a:lnTo>
                  <a:pt x="10" y="205"/>
                </a:lnTo>
                <a:lnTo>
                  <a:pt x="19" y="176"/>
                </a:lnTo>
                <a:lnTo>
                  <a:pt x="29" y="146"/>
                </a:lnTo>
                <a:lnTo>
                  <a:pt x="49" y="11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en-US" sz="1100">
              <a:latin typeface="Polo" pitchFamily="2" charset="0"/>
              <a:cs typeface="+mn-cs"/>
            </a:endParaRPr>
          </a:p>
        </p:txBody>
      </p:sp>
      <p:sp>
        <p:nvSpPr>
          <p:cNvPr id="193" name="Freeform 176"/>
          <p:cNvSpPr>
            <a:spLocks/>
          </p:cNvSpPr>
          <p:nvPr>
            <p:custDataLst>
              <p:tags r:id="rId141"/>
            </p:custDataLst>
          </p:nvPr>
        </p:nvSpPr>
        <p:spPr bwMode="auto">
          <a:xfrm>
            <a:off x="3262313" y="4262438"/>
            <a:ext cx="217487" cy="184150"/>
          </a:xfrm>
          <a:custGeom>
            <a:avLst/>
            <a:gdLst/>
            <a:ahLst/>
            <a:cxnLst>
              <a:cxn ang="0">
                <a:pos x="10" y="215"/>
              </a:cxn>
              <a:cxn ang="0">
                <a:pos x="39" y="225"/>
              </a:cxn>
              <a:cxn ang="0">
                <a:pos x="69" y="225"/>
              </a:cxn>
              <a:cxn ang="0">
                <a:pos x="78" y="234"/>
              </a:cxn>
              <a:cxn ang="0">
                <a:pos x="88" y="234"/>
              </a:cxn>
              <a:cxn ang="0">
                <a:pos x="88" y="215"/>
              </a:cxn>
              <a:cxn ang="0">
                <a:pos x="117" y="205"/>
              </a:cxn>
              <a:cxn ang="0">
                <a:pos x="137" y="205"/>
              </a:cxn>
              <a:cxn ang="0">
                <a:pos x="137" y="215"/>
              </a:cxn>
              <a:cxn ang="0">
                <a:pos x="127" y="225"/>
              </a:cxn>
              <a:cxn ang="0">
                <a:pos x="108" y="225"/>
              </a:cxn>
              <a:cxn ang="0">
                <a:pos x="108" y="244"/>
              </a:cxn>
              <a:cxn ang="0">
                <a:pos x="117" y="254"/>
              </a:cxn>
              <a:cxn ang="0">
                <a:pos x="137" y="244"/>
              </a:cxn>
              <a:cxn ang="0">
                <a:pos x="137" y="264"/>
              </a:cxn>
              <a:cxn ang="0">
                <a:pos x="127" y="264"/>
              </a:cxn>
              <a:cxn ang="0">
                <a:pos x="108" y="283"/>
              </a:cxn>
              <a:cxn ang="0">
                <a:pos x="108" y="293"/>
              </a:cxn>
              <a:cxn ang="0">
                <a:pos x="127" y="293"/>
              </a:cxn>
              <a:cxn ang="0">
                <a:pos x="147" y="293"/>
              </a:cxn>
              <a:cxn ang="0">
                <a:pos x="195" y="293"/>
              </a:cxn>
              <a:cxn ang="0">
                <a:pos x="195" y="283"/>
              </a:cxn>
              <a:cxn ang="0">
                <a:pos x="186" y="254"/>
              </a:cxn>
              <a:cxn ang="0">
                <a:pos x="195" y="234"/>
              </a:cxn>
              <a:cxn ang="0">
                <a:pos x="205" y="234"/>
              </a:cxn>
              <a:cxn ang="0">
                <a:pos x="225" y="234"/>
              </a:cxn>
              <a:cxn ang="0">
                <a:pos x="244" y="215"/>
              </a:cxn>
              <a:cxn ang="0">
                <a:pos x="234" y="205"/>
              </a:cxn>
              <a:cxn ang="0">
                <a:pos x="244" y="176"/>
              </a:cxn>
              <a:cxn ang="0">
                <a:pos x="283" y="147"/>
              </a:cxn>
              <a:cxn ang="0">
                <a:pos x="303" y="117"/>
              </a:cxn>
              <a:cxn ang="0">
                <a:pos x="312" y="88"/>
              </a:cxn>
              <a:cxn ang="0">
                <a:pos x="322" y="69"/>
              </a:cxn>
              <a:cxn ang="0">
                <a:pos x="303" y="69"/>
              </a:cxn>
              <a:cxn ang="0">
                <a:pos x="293" y="39"/>
              </a:cxn>
              <a:cxn ang="0">
                <a:pos x="264" y="30"/>
              </a:cxn>
              <a:cxn ang="0">
                <a:pos x="244" y="10"/>
              </a:cxn>
              <a:cxn ang="0">
                <a:pos x="234" y="0"/>
              </a:cxn>
              <a:cxn ang="0">
                <a:pos x="205" y="10"/>
              </a:cxn>
              <a:cxn ang="0">
                <a:pos x="186" y="20"/>
              </a:cxn>
              <a:cxn ang="0">
                <a:pos x="195" y="39"/>
              </a:cxn>
              <a:cxn ang="0">
                <a:pos x="176" y="49"/>
              </a:cxn>
              <a:cxn ang="0">
                <a:pos x="166" y="78"/>
              </a:cxn>
              <a:cxn ang="0">
                <a:pos x="137" y="88"/>
              </a:cxn>
              <a:cxn ang="0">
                <a:pos x="108" y="69"/>
              </a:cxn>
              <a:cxn ang="0">
                <a:pos x="88" y="88"/>
              </a:cxn>
              <a:cxn ang="0">
                <a:pos x="88" y="108"/>
              </a:cxn>
              <a:cxn ang="0">
                <a:pos x="88" y="137"/>
              </a:cxn>
              <a:cxn ang="0">
                <a:pos x="59" y="147"/>
              </a:cxn>
              <a:cxn ang="0">
                <a:pos x="49" y="137"/>
              </a:cxn>
              <a:cxn ang="0">
                <a:pos x="39" y="147"/>
              </a:cxn>
              <a:cxn ang="0">
                <a:pos x="49" y="156"/>
              </a:cxn>
              <a:cxn ang="0">
                <a:pos x="30" y="176"/>
              </a:cxn>
              <a:cxn ang="0">
                <a:pos x="30" y="186"/>
              </a:cxn>
              <a:cxn ang="0">
                <a:pos x="10" y="195"/>
              </a:cxn>
              <a:cxn ang="0">
                <a:pos x="10" y="176"/>
              </a:cxn>
              <a:cxn ang="0">
                <a:pos x="0" y="205"/>
              </a:cxn>
              <a:cxn ang="0">
                <a:pos x="10" y="215"/>
              </a:cxn>
            </a:cxnLst>
            <a:rect l="0" t="0" r="r" b="b"/>
            <a:pathLst>
              <a:path w="322" h="293">
                <a:moveTo>
                  <a:pt x="10" y="215"/>
                </a:moveTo>
                <a:lnTo>
                  <a:pt x="39" y="225"/>
                </a:lnTo>
                <a:lnTo>
                  <a:pt x="69" y="225"/>
                </a:lnTo>
                <a:lnTo>
                  <a:pt x="78" y="234"/>
                </a:lnTo>
                <a:lnTo>
                  <a:pt x="88" y="234"/>
                </a:lnTo>
                <a:lnTo>
                  <a:pt x="88" y="215"/>
                </a:lnTo>
                <a:lnTo>
                  <a:pt x="117" y="205"/>
                </a:lnTo>
                <a:lnTo>
                  <a:pt x="137" y="205"/>
                </a:lnTo>
                <a:lnTo>
                  <a:pt x="137" y="215"/>
                </a:lnTo>
                <a:lnTo>
                  <a:pt x="127" y="225"/>
                </a:lnTo>
                <a:lnTo>
                  <a:pt x="108" y="225"/>
                </a:lnTo>
                <a:lnTo>
                  <a:pt x="108" y="244"/>
                </a:lnTo>
                <a:lnTo>
                  <a:pt x="117" y="254"/>
                </a:lnTo>
                <a:lnTo>
                  <a:pt x="137" y="244"/>
                </a:lnTo>
                <a:lnTo>
                  <a:pt x="137" y="264"/>
                </a:lnTo>
                <a:lnTo>
                  <a:pt x="127" y="264"/>
                </a:lnTo>
                <a:lnTo>
                  <a:pt x="108" y="283"/>
                </a:lnTo>
                <a:lnTo>
                  <a:pt x="108" y="293"/>
                </a:lnTo>
                <a:lnTo>
                  <a:pt x="127" y="293"/>
                </a:lnTo>
                <a:lnTo>
                  <a:pt x="147" y="293"/>
                </a:lnTo>
                <a:lnTo>
                  <a:pt x="195" y="293"/>
                </a:lnTo>
                <a:lnTo>
                  <a:pt x="195" y="283"/>
                </a:lnTo>
                <a:lnTo>
                  <a:pt x="186" y="254"/>
                </a:lnTo>
                <a:lnTo>
                  <a:pt x="195" y="234"/>
                </a:lnTo>
                <a:lnTo>
                  <a:pt x="205" y="234"/>
                </a:lnTo>
                <a:lnTo>
                  <a:pt x="225" y="234"/>
                </a:lnTo>
                <a:lnTo>
                  <a:pt x="244" y="215"/>
                </a:lnTo>
                <a:lnTo>
                  <a:pt x="234" y="205"/>
                </a:lnTo>
                <a:lnTo>
                  <a:pt x="244" y="176"/>
                </a:lnTo>
                <a:lnTo>
                  <a:pt x="283" y="147"/>
                </a:lnTo>
                <a:lnTo>
                  <a:pt x="303" y="117"/>
                </a:lnTo>
                <a:lnTo>
                  <a:pt x="312" y="88"/>
                </a:lnTo>
                <a:lnTo>
                  <a:pt x="322" y="69"/>
                </a:lnTo>
                <a:lnTo>
                  <a:pt x="303" y="69"/>
                </a:lnTo>
                <a:lnTo>
                  <a:pt x="293" y="39"/>
                </a:lnTo>
                <a:lnTo>
                  <a:pt x="264" y="30"/>
                </a:lnTo>
                <a:lnTo>
                  <a:pt x="244" y="10"/>
                </a:lnTo>
                <a:lnTo>
                  <a:pt x="234" y="0"/>
                </a:lnTo>
                <a:lnTo>
                  <a:pt x="205" y="10"/>
                </a:lnTo>
                <a:lnTo>
                  <a:pt x="186" y="20"/>
                </a:lnTo>
                <a:lnTo>
                  <a:pt x="195" y="39"/>
                </a:lnTo>
                <a:lnTo>
                  <a:pt x="176" y="49"/>
                </a:lnTo>
                <a:lnTo>
                  <a:pt x="166" y="78"/>
                </a:lnTo>
                <a:lnTo>
                  <a:pt x="137" y="88"/>
                </a:lnTo>
                <a:lnTo>
                  <a:pt x="108" y="69"/>
                </a:lnTo>
                <a:lnTo>
                  <a:pt x="88" y="88"/>
                </a:lnTo>
                <a:lnTo>
                  <a:pt x="88" y="108"/>
                </a:lnTo>
                <a:lnTo>
                  <a:pt x="88" y="137"/>
                </a:lnTo>
                <a:lnTo>
                  <a:pt x="59" y="147"/>
                </a:lnTo>
                <a:lnTo>
                  <a:pt x="49" y="137"/>
                </a:lnTo>
                <a:lnTo>
                  <a:pt x="39" y="147"/>
                </a:lnTo>
                <a:lnTo>
                  <a:pt x="49" y="156"/>
                </a:lnTo>
                <a:lnTo>
                  <a:pt x="30" y="176"/>
                </a:lnTo>
                <a:lnTo>
                  <a:pt x="30" y="186"/>
                </a:lnTo>
                <a:lnTo>
                  <a:pt x="10" y="195"/>
                </a:lnTo>
                <a:lnTo>
                  <a:pt x="10" y="176"/>
                </a:lnTo>
                <a:lnTo>
                  <a:pt x="0" y="205"/>
                </a:lnTo>
                <a:lnTo>
                  <a:pt x="10" y="21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en-US" sz="1100">
              <a:latin typeface="Polo" pitchFamily="2" charset="0"/>
              <a:cs typeface="+mn-cs"/>
            </a:endParaRPr>
          </a:p>
        </p:txBody>
      </p:sp>
      <p:sp>
        <p:nvSpPr>
          <p:cNvPr id="194" name="Freeform 175"/>
          <p:cNvSpPr>
            <a:spLocks/>
          </p:cNvSpPr>
          <p:nvPr>
            <p:custDataLst>
              <p:tags r:id="rId142"/>
            </p:custDataLst>
          </p:nvPr>
        </p:nvSpPr>
        <p:spPr bwMode="auto">
          <a:xfrm>
            <a:off x="3022600" y="4500563"/>
            <a:ext cx="398463" cy="430212"/>
          </a:xfrm>
          <a:custGeom>
            <a:avLst/>
            <a:gdLst/>
            <a:ahLst/>
            <a:cxnLst>
              <a:cxn ang="0">
                <a:pos x="215" y="58"/>
              </a:cxn>
              <a:cxn ang="0">
                <a:pos x="273" y="19"/>
              </a:cxn>
              <a:cxn ang="0">
                <a:pos x="303" y="19"/>
              </a:cxn>
              <a:cxn ang="0">
                <a:pos x="332" y="39"/>
              </a:cxn>
              <a:cxn ang="0">
                <a:pos x="332" y="58"/>
              </a:cxn>
              <a:cxn ang="0">
                <a:pos x="313" y="136"/>
              </a:cxn>
              <a:cxn ang="0">
                <a:pos x="342" y="175"/>
              </a:cxn>
              <a:cxn ang="0">
                <a:pos x="313" y="254"/>
              </a:cxn>
              <a:cxn ang="0">
                <a:pos x="303" y="273"/>
              </a:cxn>
              <a:cxn ang="0">
                <a:pos x="322" y="322"/>
              </a:cxn>
              <a:cxn ang="0">
                <a:pos x="371" y="341"/>
              </a:cxn>
              <a:cxn ang="0">
                <a:pos x="332" y="361"/>
              </a:cxn>
              <a:cxn ang="0">
                <a:pos x="332" y="400"/>
              </a:cxn>
              <a:cxn ang="0">
                <a:pos x="352" y="439"/>
              </a:cxn>
              <a:cxn ang="0">
                <a:pos x="391" y="449"/>
              </a:cxn>
              <a:cxn ang="0">
                <a:pos x="430" y="488"/>
              </a:cxn>
              <a:cxn ang="0">
                <a:pos x="478" y="449"/>
              </a:cxn>
              <a:cxn ang="0">
                <a:pos x="517" y="439"/>
              </a:cxn>
              <a:cxn ang="0">
                <a:pos x="527" y="458"/>
              </a:cxn>
              <a:cxn ang="0">
                <a:pos x="586" y="488"/>
              </a:cxn>
              <a:cxn ang="0">
                <a:pos x="547" y="517"/>
              </a:cxn>
              <a:cxn ang="0">
                <a:pos x="556" y="556"/>
              </a:cxn>
              <a:cxn ang="0">
                <a:pos x="566" y="595"/>
              </a:cxn>
              <a:cxn ang="0">
                <a:pos x="595" y="654"/>
              </a:cxn>
              <a:cxn ang="0">
                <a:pos x="566" y="683"/>
              </a:cxn>
              <a:cxn ang="0">
                <a:pos x="498" y="683"/>
              </a:cxn>
              <a:cxn ang="0">
                <a:pos x="469" y="644"/>
              </a:cxn>
              <a:cxn ang="0">
                <a:pos x="430" y="634"/>
              </a:cxn>
              <a:cxn ang="0">
                <a:pos x="391" y="585"/>
              </a:cxn>
              <a:cxn ang="0">
                <a:pos x="391" y="536"/>
              </a:cxn>
              <a:cxn ang="0">
                <a:pos x="332" y="527"/>
              </a:cxn>
              <a:cxn ang="0">
                <a:pos x="293" y="488"/>
              </a:cxn>
              <a:cxn ang="0">
                <a:pos x="254" y="478"/>
              </a:cxn>
              <a:cxn ang="0">
                <a:pos x="205" y="488"/>
              </a:cxn>
              <a:cxn ang="0">
                <a:pos x="176" y="449"/>
              </a:cxn>
              <a:cxn ang="0">
                <a:pos x="147" y="410"/>
              </a:cxn>
              <a:cxn ang="0">
                <a:pos x="117" y="419"/>
              </a:cxn>
              <a:cxn ang="0">
                <a:pos x="127" y="351"/>
              </a:cxn>
              <a:cxn ang="0">
                <a:pos x="127" y="293"/>
              </a:cxn>
              <a:cxn ang="0">
                <a:pos x="78" y="263"/>
              </a:cxn>
              <a:cxn ang="0">
                <a:pos x="30" y="214"/>
              </a:cxn>
              <a:cxn ang="0">
                <a:pos x="20" y="185"/>
              </a:cxn>
              <a:cxn ang="0">
                <a:pos x="20" y="156"/>
              </a:cxn>
              <a:cxn ang="0">
                <a:pos x="98" y="136"/>
              </a:cxn>
              <a:cxn ang="0">
                <a:pos x="117" y="127"/>
              </a:cxn>
              <a:cxn ang="0">
                <a:pos x="195" y="107"/>
              </a:cxn>
            </a:cxnLst>
            <a:rect l="0" t="0" r="r" b="b"/>
            <a:pathLst>
              <a:path w="595" h="693">
                <a:moveTo>
                  <a:pt x="205" y="97"/>
                </a:moveTo>
                <a:lnTo>
                  <a:pt x="215" y="68"/>
                </a:lnTo>
                <a:lnTo>
                  <a:pt x="215" y="58"/>
                </a:lnTo>
                <a:lnTo>
                  <a:pt x="234" y="49"/>
                </a:lnTo>
                <a:lnTo>
                  <a:pt x="264" y="39"/>
                </a:lnTo>
                <a:lnTo>
                  <a:pt x="273" y="19"/>
                </a:lnTo>
                <a:lnTo>
                  <a:pt x="273" y="0"/>
                </a:lnTo>
                <a:lnTo>
                  <a:pt x="293" y="0"/>
                </a:lnTo>
                <a:lnTo>
                  <a:pt x="303" y="19"/>
                </a:lnTo>
                <a:lnTo>
                  <a:pt x="313" y="29"/>
                </a:lnTo>
                <a:lnTo>
                  <a:pt x="332" y="29"/>
                </a:lnTo>
                <a:lnTo>
                  <a:pt x="332" y="39"/>
                </a:lnTo>
                <a:lnTo>
                  <a:pt x="313" y="39"/>
                </a:lnTo>
                <a:lnTo>
                  <a:pt x="322" y="68"/>
                </a:lnTo>
                <a:lnTo>
                  <a:pt x="332" y="58"/>
                </a:lnTo>
                <a:lnTo>
                  <a:pt x="322" y="88"/>
                </a:lnTo>
                <a:lnTo>
                  <a:pt x="313" y="117"/>
                </a:lnTo>
                <a:lnTo>
                  <a:pt x="313" y="136"/>
                </a:lnTo>
                <a:lnTo>
                  <a:pt x="313" y="156"/>
                </a:lnTo>
                <a:lnTo>
                  <a:pt x="332" y="166"/>
                </a:lnTo>
                <a:lnTo>
                  <a:pt x="342" y="175"/>
                </a:lnTo>
                <a:lnTo>
                  <a:pt x="332" y="185"/>
                </a:lnTo>
                <a:lnTo>
                  <a:pt x="332" y="214"/>
                </a:lnTo>
                <a:lnTo>
                  <a:pt x="313" y="254"/>
                </a:lnTo>
                <a:lnTo>
                  <a:pt x="332" y="263"/>
                </a:lnTo>
                <a:lnTo>
                  <a:pt x="332" y="273"/>
                </a:lnTo>
                <a:lnTo>
                  <a:pt x="303" y="273"/>
                </a:lnTo>
                <a:lnTo>
                  <a:pt x="313" y="293"/>
                </a:lnTo>
                <a:lnTo>
                  <a:pt x="313" y="302"/>
                </a:lnTo>
                <a:lnTo>
                  <a:pt x="322" y="322"/>
                </a:lnTo>
                <a:lnTo>
                  <a:pt x="342" y="312"/>
                </a:lnTo>
                <a:lnTo>
                  <a:pt x="361" y="312"/>
                </a:lnTo>
                <a:lnTo>
                  <a:pt x="371" y="341"/>
                </a:lnTo>
                <a:lnTo>
                  <a:pt x="352" y="341"/>
                </a:lnTo>
                <a:lnTo>
                  <a:pt x="342" y="361"/>
                </a:lnTo>
                <a:lnTo>
                  <a:pt x="332" y="361"/>
                </a:lnTo>
                <a:lnTo>
                  <a:pt x="342" y="371"/>
                </a:lnTo>
                <a:lnTo>
                  <a:pt x="342" y="400"/>
                </a:lnTo>
                <a:lnTo>
                  <a:pt x="332" y="400"/>
                </a:lnTo>
                <a:lnTo>
                  <a:pt x="332" y="429"/>
                </a:lnTo>
                <a:lnTo>
                  <a:pt x="342" y="429"/>
                </a:lnTo>
                <a:lnTo>
                  <a:pt x="352" y="439"/>
                </a:lnTo>
                <a:lnTo>
                  <a:pt x="352" y="449"/>
                </a:lnTo>
                <a:lnTo>
                  <a:pt x="371" y="449"/>
                </a:lnTo>
                <a:lnTo>
                  <a:pt x="391" y="449"/>
                </a:lnTo>
                <a:lnTo>
                  <a:pt x="410" y="458"/>
                </a:lnTo>
                <a:lnTo>
                  <a:pt x="410" y="478"/>
                </a:lnTo>
                <a:lnTo>
                  <a:pt x="430" y="488"/>
                </a:lnTo>
                <a:lnTo>
                  <a:pt x="449" y="478"/>
                </a:lnTo>
                <a:lnTo>
                  <a:pt x="469" y="458"/>
                </a:lnTo>
                <a:lnTo>
                  <a:pt x="478" y="449"/>
                </a:lnTo>
                <a:lnTo>
                  <a:pt x="488" y="449"/>
                </a:lnTo>
                <a:lnTo>
                  <a:pt x="508" y="449"/>
                </a:lnTo>
                <a:lnTo>
                  <a:pt x="517" y="439"/>
                </a:lnTo>
                <a:lnTo>
                  <a:pt x="517" y="449"/>
                </a:lnTo>
                <a:lnTo>
                  <a:pt x="517" y="458"/>
                </a:lnTo>
                <a:lnTo>
                  <a:pt x="527" y="458"/>
                </a:lnTo>
                <a:lnTo>
                  <a:pt x="547" y="458"/>
                </a:lnTo>
                <a:lnTo>
                  <a:pt x="566" y="468"/>
                </a:lnTo>
                <a:lnTo>
                  <a:pt x="586" y="488"/>
                </a:lnTo>
                <a:lnTo>
                  <a:pt x="586" y="497"/>
                </a:lnTo>
                <a:lnTo>
                  <a:pt x="556" y="507"/>
                </a:lnTo>
                <a:lnTo>
                  <a:pt x="547" y="517"/>
                </a:lnTo>
                <a:lnTo>
                  <a:pt x="556" y="527"/>
                </a:lnTo>
                <a:lnTo>
                  <a:pt x="547" y="546"/>
                </a:lnTo>
                <a:lnTo>
                  <a:pt x="556" y="556"/>
                </a:lnTo>
                <a:lnTo>
                  <a:pt x="566" y="575"/>
                </a:lnTo>
                <a:lnTo>
                  <a:pt x="556" y="585"/>
                </a:lnTo>
                <a:lnTo>
                  <a:pt x="566" y="595"/>
                </a:lnTo>
                <a:lnTo>
                  <a:pt x="566" y="605"/>
                </a:lnTo>
                <a:lnTo>
                  <a:pt x="586" y="634"/>
                </a:lnTo>
                <a:lnTo>
                  <a:pt x="595" y="654"/>
                </a:lnTo>
                <a:lnTo>
                  <a:pt x="595" y="663"/>
                </a:lnTo>
                <a:lnTo>
                  <a:pt x="586" y="673"/>
                </a:lnTo>
                <a:lnTo>
                  <a:pt x="566" y="683"/>
                </a:lnTo>
                <a:lnTo>
                  <a:pt x="547" y="693"/>
                </a:lnTo>
                <a:lnTo>
                  <a:pt x="527" y="693"/>
                </a:lnTo>
                <a:lnTo>
                  <a:pt x="498" y="683"/>
                </a:lnTo>
                <a:lnTo>
                  <a:pt x="488" y="663"/>
                </a:lnTo>
                <a:lnTo>
                  <a:pt x="478" y="634"/>
                </a:lnTo>
                <a:lnTo>
                  <a:pt x="469" y="644"/>
                </a:lnTo>
                <a:lnTo>
                  <a:pt x="449" y="654"/>
                </a:lnTo>
                <a:lnTo>
                  <a:pt x="420" y="654"/>
                </a:lnTo>
                <a:lnTo>
                  <a:pt x="430" y="634"/>
                </a:lnTo>
                <a:lnTo>
                  <a:pt x="400" y="615"/>
                </a:lnTo>
                <a:lnTo>
                  <a:pt x="391" y="595"/>
                </a:lnTo>
                <a:lnTo>
                  <a:pt x="391" y="585"/>
                </a:lnTo>
                <a:lnTo>
                  <a:pt x="391" y="575"/>
                </a:lnTo>
                <a:lnTo>
                  <a:pt x="400" y="556"/>
                </a:lnTo>
                <a:lnTo>
                  <a:pt x="391" y="536"/>
                </a:lnTo>
                <a:lnTo>
                  <a:pt x="361" y="517"/>
                </a:lnTo>
                <a:lnTo>
                  <a:pt x="342" y="527"/>
                </a:lnTo>
                <a:lnTo>
                  <a:pt x="332" y="527"/>
                </a:lnTo>
                <a:lnTo>
                  <a:pt x="313" y="517"/>
                </a:lnTo>
                <a:lnTo>
                  <a:pt x="322" y="497"/>
                </a:lnTo>
                <a:lnTo>
                  <a:pt x="293" y="488"/>
                </a:lnTo>
                <a:lnTo>
                  <a:pt x="273" y="488"/>
                </a:lnTo>
                <a:lnTo>
                  <a:pt x="273" y="468"/>
                </a:lnTo>
                <a:lnTo>
                  <a:pt x="254" y="478"/>
                </a:lnTo>
                <a:lnTo>
                  <a:pt x="244" y="468"/>
                </a:lnTo>
                <a:lnTo>
                  <a:pt x="234" y="478"/>
                </a:lnTo>
                <a:lnTo>
                  <a:pt x="205" y="488"/>
                </a:lnTo>
                <a:lnTo>
                  <a:pt x="186" y="468"/>
                </a:lnTo>
                <a:lnTo>
                  <a:pt x="186" y="458"/>
                </a:lnTo>
                <a:lnTo>
                  <a:pt x="176" y="449"/>
                </a:lnTo>
                <a:lnTo>
                  <a:pt x="176" y="390"/>
                </a:lnTo>
                <a:lnTo>
                  <a:pt x="166" y="390"/>
                </a:lnTo>
                <a:lnTo>
                  <a:pt x="147" y="410"/>
                </a:lnTo>
                <a:lnTo>
                  <a:pt x="137" y="419"/>
                </a:lnTo>
                <a:lnTo>
                  <a:pt x="117" y="429"/>
                </a:lnTo>
                <a:lnTo>
                  <a:pt x="117" y="419"/>
                </a:lnTo>
                <a:lnTo>
                  <a:pt x="127" y="410"/>
                </a:lnTo>
                <a:lnTo>
                  <a:pt x="127" y="390"/>
                </a:lnTo>
                <a:lnTo>
                  <a:pt x="127" y="351"/>
                </a:lnTo>
                <a:lnTo>
                  <a:pt x="117" y="341"/>
                </a:lnTo>
                <a:lnTo>
                  <a:pt x="127" y="312"/>
                </a:lnTo>
                <a:lnTo>
                  <a:pt x="127" y="293"/>
                </a:lnTo>
                <a:lnTo>
                  <a:pt x="108" y="283"/>
                </a:lnTo>
                <a:lnTo>
                  <a:pt x="88" y="263"/>
                </a:lnTo>
                <a:lnTo>
                  <a:pt x="78" y="263"/>
                </a:lnTo>
                <a:lnTo>
                  <a:pt x="78" y="224"/>
                </a:lnTo>
                <a:lnTo>
                  <a:pt x="49" y="214"/>
                </a:lnTo>
                <a:lnTo>
                  <a:pt x="30" y="214"/>
                </a:lnTo>
                <a:lnTo>
                  <a:pt x="20" y="214"/>
                </a:lnTo>
                <a:lnTo>
                  <a:pt x="0" y="205"/>
                </a:lnTo>
                <a:lnTo>
                  <a:pt x="20" y="185"/>
                </a:lnTo>
                <a:lnTo>
                  <a:pt x="0" y="166"/>
                </a:lnTo>
                <a:lnTo>
                  <a:pt x="0" y="156"/>
                </a:lnTo>
                <a:lnTo>
                  <a:pt x="20" y="156"/>
                </a:lnTo>
                <a:lnTo>
                  <a:pt x="49" y="156"/>
                </a:lnTo>
                <a:lnTo>
                  <a:pt x="78" y="156"/>
                </a:lnTo>
                <a:lnTo>
                  <a:pt x="98" y="136"/>
                </a:lnTo>
                <a:lnTo>
                  <a:pt x="98" y="127"/>
                </a:lnTo>
                <a:lnTo>
                  <a:pt x="108" y="117"/>
                </a:lnTo>
                <a:lnTo>
                  <a:pt x="117" y="127"/>
                </a:lnTo>
                <a:lnTo>
                  <a:pt x="137" y="107"/>
                </a:lnTo>
                <a:lnTo>
                  <a:pt x="166" y="107"/>
                </a:lnTo>
                <a:lnTo>
                  <a:pt x="195" y="107"/>
                </a:lnTo>
                <a:lnTo>
                  <a:pt x="205" y="9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en-US" sz="1100">
              <a:latin typeface="Polo" pitchFamily="2" charset="0"/>
              <a:cs typeface="+mn-cs"/>
            </a:endParaRPr>
          </a:p>
        </p:txBody>
      </p:sp>
      <p:sp>
        <p:nvSpPr>
          <p:cNvPr id="195" name="Freeform 174"/>
          <p:cNvSpPr>
            <a:spLocks/>
          </p:cNvSpPr>
          <p:nvPr>
            <p:custDataLst>
              <p:tags r:id="rId143"/>
            </p:custDataLst>
          </p:nvPr>
        </p:nvSpPr>
        <p:spPr bwMode="auto">
          <a:xfrm>
            <a:off x="3597275" y="4625975"/>
            <a:ext cx="285750" cy="201613"/>
          </a:xfrm>
          <a:custGeom>
            <a:avLst/>
            <a:gdLst/>
            <a:ahLst/>
            <a:cxnLst>
              <a:cxn ang="0">
                <a:pos x="78" y="88"/>
              </a:cxn>
              <a:cxn ang="0">
                <a:pos x="39" y="97"/>
              </a:cxn>
              <a:cxn ang="0">
                <a:pos x="10" y="107"/>
              </a:cxn>
              <a:cxn ang="0">
                <a:pos x="0" y="136"/>
              </a:cxn>
              <a:cxn ang="0">
                <a:pos x="19" y="156"/>
              </a:cxn>
              <a:cxn ang="0">
                <a:pos x="49" y="175"/>
              </a:cxn>
              <a:cxn ang="0">
                <a:pos x="49" y="205"/>
              </a:cxn>
              <a:cxn ang="0">
                <a:pos x="39" y="214"/>
              </a:cxn>
              <a:cxn ang="0">
                <a:pos x="58" y="253"/>
              </a:cxn>
              <a:cxn ang="0">
                <a:pos x="78" y="263"/>
              </a:cxn>
              <a:cxn ang="0">
                <a:pos x="107" y="263"/>
              </a:cxn>
              <a:cxn ang="0">
                <a:pos x="146" y="273"/>
              </a:cxn>
              <a:cxn ang="0">
                <a:pos x="156" y="292"/>
              </a:cxn>
              <a:cxn ang="0">
                <a:pos x="185" y="273"/>
              </a:cxn>
              <a:cxn ang="0">
                <a:pos x="214" y="273"/>
              </a:cxn>
              <a:cxn ang="0">
                <a:pos x="234" y="292"/>
              </a:cxn>
              <a:cxn ang="0">
                <a:pos x="263" y="292"/>
              </a:cxn>
              <a:cxn ang="0">
                <a:pos x="312" y="302"/>
              </a:cxn>
              <a:cxn ang="0">
                <a:pos x="341" y="312"/>
              </a:cxn>
              <a:cxn ang="0">
                <a:pos x="370" y="322"/>
              </a:cxn>
              <a:cxn ang="0">
                <a:pos x="380" y="292"/>
              </a:cxn>
              <a:cxn ang="0">
                <a:pos x="409" y="312"/>
              </a:cxn>
              <a:cxn ang="0">
                <a:pos x="419" y="273"/>
              </a:cxn>
              <a:cxn ang="0">
                <a:pos x="409" y="234"/>
              </a:cxn>
              <a:cxn ang="0">
                <a:pos x="370" y="224"/>
              </a:cxn>
              <a:cxn ang="0">
                <a:pos x="351" y="205"/>
              </a:cxn>
              <a:cxn ang="0">
                <a:pos x="322" y="166"/>
              </a:cxn>
              <a:cxn ang="0">
                <a:pos x="292" y="117"/>
              </a:cxn>
              <a:cxn ang="0">
                <a:pos x="263" y="78"/>
              </a:cxn>
              <a:cxn ang="0">
                <a:pos x="283" y="39"/>
              </a:cxn>
              <a:cxn ang="0">
                <a:pos x="263" y="29"/>
              </a:cxn>
              <a:cxn ang="0">
                <a:pos x="214" y="49"/>
              </a:cxn>
              <a:cxn ang="0">
                <a:pos x="195" y="39"/>
              </a:cxn>
              <a:cxn ang="0">
                <a:pos x="175" y="19"/>
              </a:cxn>
              <a:cxn ang="0">
                <a:pos x="127" y="0"/>
              </a:cxn>
              <a:cxn ang="0">
                <a:pos x="88" y="9"/>
              </a:cxn>
              <a:cxn ang="0">
                <a:pos x="88" y="39"/>
              </a:cxn>
              <a:cxn ang="0">
                <a:pos x="78" y="68"/>
              </a:cxn>
            </a:cxnLst>
            <a:rect l="0" t="0" r="r" b="b"/>
            <a:pathLst>
              <a:path w="429" h="322">
                <a:moveTo>
                  <a:pt x="78" y="68"/>
                </a:moveTo>
                <a:lnTo>
                  <a:pt x="78" y="88"/>
                </a:lnTo>
                <a:lnTo>
                  <a:pt x="49" y="88"/>
                </a:lnTo>
                <a:lnTo>
                  <a:pt x="39" y="97"/>
                </a:lnTo>
                <a:lnTo>
                  <a:pt x="29" y="117"/>
                </a:lnTo>
                <a:lnTo>
                  <a:pt x="10" y="107"/>
                </a:lnTo>
                <a:lnTo>
                  <a:pt x="10" y="127"/>
                </a:lnTo>
                <a:lnTo>
                  <a:pt x="0" y="136"/>
                </a:lnTo>
                <a:lnTo>
                  <a:pt x="0" y="156"/>
                </a:lnTo>
                <a:lnTo>
                  <a:pt x="19" y="156"/>
                </a:lnTo>
                <a:lnTo>
                  <a:pt x="29" y="175"/>
                </a:lnTo>
                <a:lnTo>
                  <a:pt x="49" y="175"/>
                </a:lnTo>
                <a:lnTo>
                  <a:pt x="58" y="185"/>
                </a:lnTo>
                <a:lnTo>
                  <a:pt x="49" y="205"/>
                </a:lnTo>
                <a:lnTo>
                  <a:pt x="39" y="205"/>
                </a:lnTo>
                <a:lnTo>
                  <a:pt x="39" y="214"/>
                </a:lnTo>
                <a:lnTo>
                  <a:pt x="49" y="244"/>
                </a:lnTo>
                <a:lnTo>
                  <a:pt x="58" y="253"/>
                </a:lnTo>
                <a:lnTo>
                  <a:pt x="68" y="273"/>
                </a:lnTo>
                <a:lnTo>
                  <a:pt x="78" y="263"/>
                </a:lnTo>
                <a:lnTo>
                  <a:pt x="97" y="253"/>
                </a:lnTo>
                <a:lnTo>
                  <a:pt x="107" y="263"/>
                </a:lnTo>
                <a:lnTo>
                  <a:pt x="127" y="273"/>
                </a:lnTo>
                <a:lnTo>
                  <a:pt x="146" y="273"/>
                </a:lnTo>
                <a:lnTo>
                  <a:pt x="156" y="283"/>
                </a:lnTo>
                <a:lnTo>
                  <a:pt x="156" y="292"/>
                </a:lnTo>
                <a:lnTo>
                  <a:pt x="166" y="273"/>
                </a:lnTo>
                <a:lnTo>
                  <a:pt x="185" y="273"/>
                </a:lnTo>
                <a:lnTo>
                  <a:pt x="205" y="283"/>
                </a:lnTo>
                <a:lnTo>
                  <a:pt x="214" y="273"/>
                </a:lnTo>
                <a:lnTo>
                  <a:pt x="224" y="283"/>
                </a:lnTo>
                <a:lnTo>
                  <a:pt x="234" y="292"/>
                </a:lnTo>
                <a:lnTo>
                  <a:pt x="253" y="292"/>
                </a:lnTo>
                <a:lnTo>
                  <a:pt x="263" y="292"/>
                </a:lnTo>
                <a:lnTo>
                  <a:pt x="292" y="302"/>
                </a:lnTo>
                <a:lnTo>
                  <a:pt x="312" y="302"/>
                </a:lnTo>
                <a:lnTo>
                  <a:pt x="331" y="312"/>
                </a:lnTo>
                <a:lnTo>
                  <a:pt x="341" y="312"/>
                </a:lnTo>
                <a:lnTo>
                  <a:pt x="351" y="312"/>
                </a:lnTo>
                <a:lnTo>
                  <a:pt x="370" y="322"/>
                </a:lnTo>
                <a:lnTo>
                  <a:pt x="380" y="312"/>
                </a:lnTo>
                <a:lnTo>
                  <a:pt x="380" y="292"/>
                </a:lnTo>
                <a:lnTo>
                  <a:pt x="390" y="292"/>
                </a:lnTo>
                <a:lnTo>
                  <a:pt x="409" y="312"/>
                </a:lnTo>
                <a:lnTo>
                  <a:pt x="429" y="302"/>
                </a:lnTo>
                <a:lnTo>
                  <a:pt x="419" y="273"/>
                </a:lnTo>
                <a:lnTo>
                  <a:pt x="409" y="253"/>
                </a:lnTo>
                <a:lnTo>
                  <a:pt x="409" y="234"/>
                </a:lnTo>
                <a:lnTo>
                  <a:pt x="390" y="244"/>
                </a:lnTo>
                <a:lnTo>
                  <a:pt x="370" y="224"/>
                </a:lnTo>
                <a:lnTo>
                  <a:pt x="351" y="214"/>
                </a:lnTo>
                <a:lnTo>
                  <a:pt x="351" y="205"/>
                </a:lnTo>
                <a:lnTo>
                  <a:pt x="341" y="175"/>
                </a:lnTo>
                <a:lnTo>
                  <a:pt x="322" y="166"/>
                </a:lnTo>
                <a:lnTo>
                  <a:pt x="292" y="146"/>
                </a:lnTo>
                <a:lnTo>
                  <a:pt x="292" y="117"/>
                </a:lnTo>
                <a:lnTo>
                  <a:pt x="273" y="97"/>
                </a:lnTo>
                <a:lnTo>
                  <a:pt x="263" y="78"/>
                </a:lnTo>
                <a:lnTo>
                  <a:pt x="263" y="58"/>
                </a:lnTo>
                <a:lnTo>
                  <a:pt x="283" y="39"/>
                </a:lnTo>
                <a:lnTo>
                  <a:pt x="283" y="19"/>
                </a:lnTo>
                <a:lnTo>
                  <a:pt x="263" y="29"/>
                </a:lnTo>
                <a:lnTo>
                  <a:pt x="224" y="39"/>
                </a:lnTo>
                <a:lnTo>
                  <a:pt x="214" y="49"/>
                </a:lnTo>
                <a:lnTo>
                  <a:pt x="205" y="49"/>
                </a:lnTo>
                <a:lnTo>
                  <a:pt x="195" y="39"/>
                </a:lnTo>
                <a:lnTo>
                  <a:pt x="195" y="19"/>
                </a:lnTo>
                <a:lnTo>
                  <a:pt x="175" y="19"/>
                </a:lnTo>
                <a:lnTo>
                  <a:pt x="156" y="0"/>
                </a:lnTo>
                <a:lnTo>
                  <a:pt x="127" y="0"/>
                </a:lnTo>
                <a:lnTo>
                  <a:pt x="107" y="9"/>
                </a:lnTo>
                <a:lnTo>
                  <a:pt x="88" y="9"/>
                </a:lnTo>
                <a:lnTo>
                  <a:pt x="78" y="29"/>
                </a:lnTo>
                <a:lnTo>
                  <a:pt x="88" y="39"/>
                </a:lnTo>
                <a:lnTo>
                  <a:pt x="78" y="49"/>
                </a:lnTo>
                <a:lnTo>
                  <a:pt x="78" y="6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en-US" sz="1100">
              <a:latin typeface="Polo" pitchFamily="2" charset="0"/>
              <a:cs typeface="+mn-cs"/>
            </a:endParaRPr>
          </a:p>
        </p:txBody>
      </p:sp>
      <p:sp>
        <p:nvSpPr>
          <p:cNvPr id="196" name="Freeform 173"/>
          <p:cNvSpPr>
            <a:spLocks/>
          </p:cNvSpPr>
          <p:nvPr>
            <p:custDataLst>
              <p:tags r:id="rId144"/>
            </p:custDataLst>
          </p:nvPr>
        </p:nvSpPr>
        <p:spPr bwMode="auto">
          <a:xfrm>
            <a:off x="3479800" y="4240213"/>
            <a:ext cx="409575" cy="415925"/>
          </a:xfrm>
          <a:custGeom>
            <a:avLst/>
            <a:gdLst/>
            <a:ahLst/>
            <a:cxnLst>
              <a:cxn ang="0">
                <a:pos x="615" y="517"/>
              </a:cxn>
              <a:cxn ang="0">
                <a:pos x="605" y="576"/>
              </a:cxn>
              <a:cxn ang="0">
                <a:pos x="546" y="576"/>
              </a:cxn>
              <a:cxn ang="0">
                <a:pos x="488" y="605"/>
              </a:cxn>
              <a:cxn ang="0">
                <a:pos x="488" y="644"/>
              </a:cxn>
              <a:cxn ang="0">
                <a:pos x="439" y="654"/>
              </a:cxn>
              <a:cxn ang="0">
                <a:pos x="390" y="674"/>
              </a:cxn>
              <a:cxn ang="0">
                <a:pos x="371" y="664"/>
              </a:cxn>
              <a:cxn ang="0">
                <a:pos x="351" y="634"/>
              </a:cxn>
              <a:cxn ang="0">
                <a:pos x="303" y="615"/>
              </a:cxn>
              <a:cxn ang="0">
                <a:pos x="264" y="634"/>
              </a:cxn>
              <a:cxn ang="0">
                <a:pos x="244" y="595"/>
              </a:cxn>
              <a:cxn ang="0">
                <a:pos x="205" y="586"/>
              </a:cxn>
              <a:cxn ang="0">
                <a:pos x="156" y="556"/>
              </a:cxn>
              <a:cxn ang="0">
                <a:pos x="107" y="517"/>
              </a:cxn>
              <a:cxn ang="0">
                <a:pos x="78" y="527"/>
              </a:cxn>
              <a:cxn ang="0">
                <a:pos x="59" y="508"/>
              </a:cxn>
              <a:cxn ang="0">
                <a:pos x="39" y="488"/>
              </a:cxn>
              <a:cxn ang="0">
                <a:pos x="10" y="469"/>
              </a:cxn>
              <a:cxn ang="0">
                <a:pos x="10" y="430"/>
              </a:cxn>
              <a:cxn ang="0">
                <a:pos x="39" y="400"/>
              </a:cxn>
              <a:cxn ang="0">
                <a:pos x="68" y="391"/>
              </a:cxn>
              <a:cxn ang="0">
                <a:pos x="98" y="400"/>
              </a:cxn>
              <a:cxn ang="0">
                <a:pos x="127" y="361"/>
              </a:cxn>
              <a:cxn ang="0">
                <a:pos x="156" y="342"/>
              </a:cxn>
              <a:cxn ang="0">
                <a:pos x="166" y="361"/>
              </a:cxn>
              <a:cxn ang="0">
                <a:pos x="195" y="361"/>
              </a:cxn>
              <a:cxn ang="0">
                <a:pos x="215" y="322"/>
              </a:cxn>
              <a:cxn ang="0">
                <a:pos x="254" y="332"/>
              </a:cxn>
              <a:cxn ang="0">
                <a:pos x="293" y="293"/>
              </a:cxn>
              <a:cxn ang="0">
                <a:pos x="273" y="273"/>
              </a:cxn>
              <a:cxn ang="0">
                <a:pos x="303" y="215"/>
              </a:cxn>
              <a:cxn ang="0">
                <a:pos x="322" y="176"/>
              </a:cxn>
              <a:cxn ang="0">
                <a:pos x="381" y="137"/>
              </a:cxn>
              <a:cxn ang="0">
                <a:pos x="439" y="88"/>
              </a:cxn>
              <a:cxn ang="0">
                <a:pos x="459" y="49"/>
              </a:cxn>
              <a:cxn ang="0">
                <a:pos x="478" y="20"/>
              </a:cxn>
              <a:cxn ang="0">
                <a:pos x="507" y="0"/>
              </a:cxn>
              <a:cxn ang="0">
                <a:pos x="517" y="20"/>
              </a:cxn>
              <a:cxn ang="0">
                <a:pos x="546" y="49"/>
              </a:cxn>
              <a:cxn ang="0">
                <a:pos x="605" y="137"/>
              </a:cxn>
              <a:cxn ang="0">
                <a:pos x="605" y="186"/>
              </a:cxn>
              <a:cxn ang="0">
                <a:pos x="595" y="225"/>
              </a:cxn>
              <a:cxn ang="0">
                <a:pos x="595" y="293"/>
              </a:cxn>
              <a:cxn ang="0">
                <a:pos x="566" y="361"/>
              </a:cxn>
              <a:cxn ang="0">
                <a:pos x="615" y="410"/>
              </a:cxn>
              <a:cxn ang="0">
                <a:pos x="605" y="459"/>
              </a:cxn>
            </a:cxnLst>
            <a:rect l="0" t="0" r="r" b="b"/>
            <a:pathLst>
              <a:path w="615" h="674">
                <a:moveTo>
                  <a:pt x="615" y="498"/>
                </a:moveTo>
                <a:lnTo>
                  <a:pt x="615" y="517"/>
                </a:lnTo>
                <a:lnTo>
                  <a:pt x="605" y="547"/>
                </a:lnTo>
                <a:lnTo>
                  <a:pt x="605" y="576"/>
                </a:lnTo>
                <a:lnTo>
                  <a:pt x="566" y="586"/>
                </a:lnTo>
                <a:lnTo>
                  <a:pt x="546" y="576"/>
                </a:lnTo>
                <a:lnTo>
                  <a:pt x="498" y="576"/>
                </a:lnTo>
                <a:lnTo>
                  <a:pt x="488" y="605"/>
                </a:lnTo>
                <a:lnTo>
                  <a:pt x="488" y="625"/>
                </a:lnTo>
                <a:lnTo>
                  <a:pt x="488" y="644"/>
                </a:lnTo>
                <a:lnTo>
                  <a:pt x="449" y="644"/>
                </a:lnTo>
                <a:lnTo>
                  <a:pt x="439" y="654"/>
                </a:lnTo>
                <a:lnTo>
                  <a:pt x="400" y="664"/>
                </a:lnTo>
                <a:lnTo>
                  <a:pt x="390" y="674"/>
                </a:lnTo>
                <a:lnTo>
                  <a:pt x="381" y="674"/>
                </a:lnTo>
                <a:lnTo>
                  <a:pt x="371" y="664"/>
                </a:lnTo>
                <a:lnTo>
                  <a:pt x="371" y="644"/>
                </a:lnTo>
                <a:lnTo>
                  <a:pt x="351" y="634"/>
                </a:lnTo>
                <a:lnTo>
                  <a:pt x="322" y="625"/>
                </a:lnTo>
                <a:lnTo>
                  <a:pt x="303" y="615"/>
                </a:lnTo>
                <a:lnTo>
                  <a:pt x="283" y="625"/>
                </a:lnTo>
                <a:lnTo>
                  <a:pt x="264" y="634"/>
                </a:lnTo>
                <a:lnTo>
                  <a:pt x="254" y="615"/>
                </a:lnTo>
                <a:lnTo>
                  <a:pt x="244" y="595"/>
                </a:lnTo>
                <a:lnTo>
                  <a:pt x="225" y="576"/>
                </a:lnTo>
                <a:lnTo>
                  <a:pt x="205" y="586"/>
                </a:lnTo>
                <a:lnTo>
                  <a:pt x="195" y="586"/>
                </a:lnTo>
                <a:lnTo>
                  <a:pt x="156" y="556"/>
                </a:lnTo>
                <a:lnTo>
                  <a:pt x="127" y="537"/>
                </a:lnTo>
                <a:lnTo>
                  <a:pt x="107" y="517"/>
                </a:lnTo>
                <a:lnTo>
                  <a:pt x="88" y="527"/>
                </a:lnTo>
                <a:lnTo>
                  <a:pt x="78" y="527"/>
                </a:lnTo>
                <a:lnTo>
                  <a:pt x="78" y="517"/>
                </a:lnTo>
                <a:lnTo>
                  <a:pt x="59" y="508"/>
                </a:lnTo>
                <a:lnTo>
                  <a:pt x="39" y="498"/>
                </a:lnTo>
                <a:lnTo>
                  <a:pt x="39" y="488"/>
                </a:lnTo>
                <a:lnTo>
                  <a:pt x="20" y="469"/>
                </a:lnTo>
                <a:lnTo>
                  <a:pt x="10" y="469"/>
                </a:lnTo>
                <a:lnTo>
                  <a:pt x="0" y="449"/>
                </a:lnTo>
                <a:lnTo>
                  <a:pt x="10" y="430"/>
                </a:lnTo>
                <a:lnTo>
                  <a:pt x="29" y="420"/>
                </a:lnTo>
                <a:lnTo>
                  <a:pt x="39" y="400"/>
                </a:lnTo>
                <a:lnTo>
                  <a:pt x="49" y="391"/>
                </a:lnTo>
                <a:lnTo>
                  <a:pt x="68" y="391"/>
                </a:lnTo>
                <a:lnTo>
                  <a:pt x="68" y="400"/>
                </a:lnTo>
                <a:lnTo>
                  <a:pt x="98" y="400"/>
                </a:lnTo>
                <a:lnTo>
                  <a:pt x="107" y="391"/>
                </a:lnTo>
                <a:lnTo>
                  <a:pt x="127" y="361"/>
                </a:lnTo>
                <a:lnTo>
                  <a:pt x="146" y="352"/>
                </a:lnTo>
                <a:lnTo>
                  <a:pt x="156" y="342"/>
                </a:lnTo>
                <a:lnTo>
                  <a:pt x="166" y="352"/>
                </a:lnTo>
                <a:lnTo>
                  <a:pt x="166" y="361"/>
                </a:lnTo>
                <a:lnTo>
                  <a:pt x="186" y="371"/>
                </a:lnTo>
                <a:lnTo>
                  <a:pt x="195" y="361"/>
                </a:lnTo>
                <a:lnTo>
                  <a:pt x="205" y="342"/>
                </a:lnTo>
                <a:lnTo>
                  <a:pt x="215" y="322"/>
                </a:lnTo>
                <a:lnTo>
                  <a:pt x="244" y="322"/>
                </a:lnTo>
                <a:lnTo>
                  <a:pt x="254" y="332"/>
                </a:lnTo>
                <a:lnTo>
                  <a:pt x="273" y="313"/>
                </a:lnTo>
                <a:lnTo>
                  <a:pt x="293" y="293"/>
                </a:lnTo>
                <a:lnTo>
                  <a:pt x="283" y="293"/>
                </a:lnTo>
                <a:lnTo>
                  <a:pt x="273" y="273"/>
                </a:lnTo>
                <a:lnTo>
                  <a:pt x="303" y="234"/>
                </a:lnTo>
                <a:lnTo>
                  <a:pt x="303" y="215"/>
                </a:lnTo>
                <a:lnTo>
                  <a:pt x="303" y="195"/>
                </a:lnTo>
                <a:lnTo>
                  <a:pt x="322" y="176"/>
                </a:lnTo>
                <a:lnTo>
                  <a:pt x="351" y="156"/>
                </a:lnTo>
                <a:lnTo>
                  <a:pt x="381" y="137"/>
                </a:lnTo>
                <a:lnTo>
                  <a:pt x="420" y="127"/>
                </a:lnTo>
                <a:lnTo>
                  <a:pt x="439" y="88"/>
                </a:lnTo>
                <a:lnTo>
                  <a:pt x="449" y="59"/>
                </a:lnTo>
                <a:lnTo>
                  <a:pt x="459" y="49"/>
                </a:lnTo>
                <a:lnTo>
                  <a:pt x="478" y="30"/>
                </a:lnTo>
                <a:lnTo>
                  <a:pt x="478" y="20"/>
                </a:lnTo>
                <a:lnTo>
                  <a:pt x="507" y="0"/>
                </a:lnTo>
                <a:lnTo>
                  <a:pt x="517" y="0"/>
                </a:lnTo>
                <a:lnTo>
                  <a:pt x="517" y="20"/>
                </a:lnTo>
                <a:lnTo>
                  <a:pt x="517" y="39"/>
                </a:lnTo>
                <a:lnTo>
                  <a:pt x="546" y="49"/>
                </a:lnTo>
                <a:lnTo>
                  <a:pt x="585" y="88"/>
                </a:lnTo>
                <a:lnTo>
                  <a:pt x="605" y="137"/>
                </a:lnTo>
                <a:lnTo>
                  <a:pt x="605" y="156"/>
                </a:lnTo>
                <a:lnTo>
                  <a:pt x="605" y="186"/>
                </a:lnTo>
                <a:lnTo>
                  <a:pt x="595" y="215"/>
                </a:lnTo>
                <a:lnTo>
                  <a:pt x="595" y="225"/>
                </a:lnTo>
                <a:lnTo>
                  <a:pt x="585" y="264"/>
                </a:lnTo>
                <a:lnTo>
                  <a:pt x="595" y="293"/>
                </a:lnTo>
                <a:lnTo>
                  <a:pt x="576" y="332"/>
                </a:lnTo>
                <a:lnTo>
                  <a:pt x="566" y="361"/>
                </a:lnTo>
                <a:lnTo>
                  <a:pt x="585" y="391"/>
                </a:lnTo>
                <a:lnTo>
                  <a:pt x="615" y="410"/>
                </a:lnTo>
                <a:lnTo>
                  <a:pt x="615" y="420"/>
                </a:lnTo>
                <a:lnTo>
                  <a:pt x="605" y="459"/>
                </a:lnTo>
                <a:lnTo>
                  <a:pt x="615" y="49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en-US" sz="1100">
              <a:latin typeface="Polo" pitchFamily="2" charset="0"/>
              <a:cs typeface="+mn-cs"/>
            </a:endParaRPr>
          </a:p>
        </p:txBody>
      </p:sp>
      <p:sp>
        <p:nvSpPr>
          <p:cNvPr id="18579" name="Freeform 172"/>
          <p:cNvSpPr>
            <a:spLocks noChangeAspect="1"/>
          </p:cNvSpPr>
          <p:nvPr>
            <p:custDataLst>
              <p:tags r:id="rId145"/>
            </p:custDataLst>
          </p:nvPr>
        </p:nvSpPr>
        <p:spPr bwMode="auto">
          <a:xfrm>
            <a:off x="3387725" y="4195763"/>
            <a:ext cx="411163" cy="322262"/>
          </a:xfrm>
          <a:custGeom>
            <a:avLst/>
            <a:gdLst>
              <a:gd name="T0" fmla="*/ 0 w 614"/>
              <a:gd name="T1" fmla="*/ 225023 h 517"/>
              <a:gd name="T2" fmla="*/ 12723 w 614"/>
              <a:gd name="T3" fmla="*/ 218790 h 517"/>
              <a:gd name="T4" fmla="*/ 38839 w 614"/>
              <a:gd name="T5" fmla="*/ 206946 h 517"/>
              <a:gd name="T6" fmla="*/ 38839 w 614"/>
              <a:gd name="T7" fmla="*/ 182636 h 517"/>
              <a:gd name="T8" fmla="*/ 78349 w 614"/>
              <a:gd name="T9" fmla="*/ 139626 h 517"/>
              <a:gd name="T10" fmla="*/ 91072 w 614"/>
              <a:gd name="T11" fmla="*/ 115317 h 517"/>
              <a:gd name="T12" fmla="*/ 104465 w 614"/>
              <a:gd name="T13" fmla="*/ 121550 h 517"/>
              <a:gd name="T14" fmla="*/ 130581 w 614"/>
              <a:gd name="T15" fmla="*/ 127783 h 517"/>
              <a:gd name="T16" fmla="*/ 136608 w 614"/>
              <a:gd name="T17" fmla="*/ 121550 h 517"/>
              <a:gd name="T18" fmla="*/ 169421 w 614"/>
              <a:gd name="T19" fmla="*/ 134017 h 517"/>
              <a:gd name="T20" fmla="*/ 188840 w 614"/>
              <a:gd name="T21" fmla="*/ 139626 h 517"/>
              <a:gd name="T22" fmla="*/ 202233 w 614"/>
              <a:gd name="T23" fmla="*/ 127783 h 517"/>
              <a:gd name="T24" fmla="*/ 182814 w 614"/>
              <a:gd name="T25" fmla="*/ 115317 h 517"/>
              <a:gd name="T26" fmla="*/ 188840 w 614"/>
              <a:gd name="T27" fmla="*/ 97240 h 517"/>
              <a:gd name="T28" fmla="*/ 195537 w 614"/>
              <a:gd name="T29" fmla="*/ 91007 h 517"/>
              <a:gd name="T30" fmla="*/ 202233 w 614"/>
              <a:gd name="T31" fmla="*/ 85397 h 517"/>
              <a:gd name="T32" fmla="*/ 208260 w 614"/>
              <a:gd name="T33" fmla="*/ 66697 h 517"/>
              <a:gd name="T34" fmla="*/ 214957 w 614"/>
              <a:gd name="T35" fmla="*/ 66697 h 517"/>
              <a:gd name="T36" fmla="*/ 227680 w 614"/>
              <a:gd name="T37" fmla="*/ 54853 h 517"/>
              <a:gd name="T38" fmla="*/ 227680 w 614"/>
              <a:gd name="T39" fmla="*/ 42387 h 517"/>
              <a:gd name="T40" fmla="*/ 227680 w 614"/>
              <a:gd name="T41" fmla="*/ 30543 h 517"/>
              <a:gd name="T42" fmla="*/ 241073 w 614"/>
              <a:gd name="T43" fmla="*/ 18077 h 517"/>
              <a:gd name="T44" fmla="*/ 267189 w 614"/>
              <a:gd name="T45" fmla="*/ 0 h 517"/>
              <a:gd name="T46" fmla="*/ 286609 w 614"/>
              <a:gd name="T47" fmla="*/ 6233 h 517"/>
              <a:gd name="T48" fmla="*/ 312725 w 614"/>
              <a:gd name="T49" fmla="*/ 18077 h 517"/>
              <a:gd name="T50" fmla="*/ 332145 w 614"/>
              <a:gd name="T51" fmla="*/ 18077 h 517"/>
              <a:gd name="T52" fmla="*/ 384377 w 614"/>
              <a:gd name="T53" fmla="*/ 42387 h 517"/>
              <a:gd name="T54" fmla="*/ 410493 w 614"/>
              <a:gd name="T55" fmla="*/ 61087 h 517"/>
              <a:gd name="T56" fmla="*/ 397770 w 614"/>
              <a:gd name="T57" fmla="*/ 85397 h 517"/>
              <a:gd name="T58" fmla="*/ 371654 w 614"/>
              <a:gd name="T59" fmla="*/ 121550 h 517"/>
              <a:gd name="T60" fmla="*/ 325448 w 614"/>
              <a:gd name="T61" fmla="*/ 145860 h 517"/>
              <a:gd name="T62" fmla="*/ 293305 w 614"/>
              <a:gd name="T63" fmla="*/ 163936 h 517"/>
              <a:gd name="T64" fmla="*/ 293305 w 614"/>
              <a:gd name="T65" fmla="*/ 188246 h 517"/>
              <a:gd name="T66" fmla="*/ 279912 w 614"/>
              <a:gd name="T67" fmla="*/ 225023 h 517"/>
              <a:gd name="T68" fmla="*/ 273216 w 614"/>
              <a:gd name="T69" fmla="*/ 237490 h 517"/>
              <a:gd name="T70" fmla="*/ 253796 w 614"/>
              <a:gd name="T71" fmla="*/ 243100 h 517"/>
              <a:gd name="T72" fmla="*/ 227680 w 614"/>
              <a:gd name="T73" fmla="*/ 255566 h 517"/>
              <a:gd name="T74" fmla="*/ 214957 w 614"/>
              <a:gd name="T75" fmla="*/ 273643 h 517"/>
              <a:gd name="T76" fmla="*/ 202233 w 614"/>
              <a:gd name="T77" fmla="*/ 261800 h 517"/>
              <a:gd name="T78" fmla="*/ 188840 w 614"/>
              <a:gd name="T79" fmla="*/ 261800 h 517"/>
              <a:gd name="T80" fmla="*/ 162724 w 614"/>
              <a:gd name="T81" fmla="*/ 286110 h 517"/>
              <a:gd name="T82" fmla="*/ 136608 w 614"/>
              <a:gd name="T83" fmla="*/ 291720 h 517"/>
              <a:gd name="T84" fmla="*/ 123885 w 614"/>
              <a:gd name="T85" fmla="*/ 286110 h 517"/>
              <a:gd name="T86" fmla="*/ 110492 w 614"/>
              <a:gd name="T87" fmla="*/ 304186 h 517"/>
              <a:gd name="T88" fmla="*/ 97768 w 614"/>
              <a:gd name="T89" fmla="*/ 322263 h 517"/>
              <a:gd name="T90" fmla="*/ 71652 w 614"/>
              <a:gd name="T91" fmla="*/ 297953 h 517"/>
              <a:gd name="T92" fmla="*/ 58259 w 614"/>
              <a:gd name="T93" fmla="*/ 286110 h 517"/>
              <a:gd name="T94" fmla="*/ 64956 w 614"/>
              <a:gd name="T95" fmla="*/ 279876 h 517"/>
              <a:gd name="T96" fmla="*/ 38839 w 614"/>
              <a:gd name="T97" fmla="*/ 273643 h 517"/>
              <a:gd name="T98" fmla="*/ 12723 w 614"/>
              <a:gd name="T99" fmla="*/ 261800 h 517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614"/>
              <a:gd name="T151" fmla="*/ 0 h 517"/>
              <a:gd name="T152" fmla="*/ 614 w 614"/>
              <a:gd name="T153" fmla="*/ 517 h 517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614" h="517">
                <a:moveTo>
                  <a:pt x="0" y="390"/>
                </a:moveTo>
                <a:lnTo>
                  <a:pt x="0" y="361"/>
                </a:lnTo>
                <a:lnTo>
                  <a:pt x="9" y="341"/>
                </a:lnTo>
                <a:lnTo>
                  <a:pt x="19" y="351"/>
                </a:lnTo>
                <a:lnTo>
                  <a:pt x="29" y="341"/>
                </a:lnTo>
                <a:lnTo>
                  <a:pt x="58" y="332"/>
                </a:lnTo>
                <a:lnTo>
                  <a:pt x="39" y="312"/>
                </a:lnTo>
                <a:lnTo>
                  <a:pt x="58" y="293"/>
                </a:lnTo>
                <a:lnTo>
                  <a:pt x="97" y="254"/>
                </a:lnTo>
                <a:lnTo>
                  <a:pt x="117" y="224"/>
                </a:lnTo>
                <a:lnTo>
                  <a:pt x="126" y="205"/>
                </a:lnTo>
                <a:lnTo>
                  <a:pt x="136" y="185"/>
                </a:lnTo>
                <a:lnTo>
                  <a:pt x="146" y="176"/>
                </a:lnTo>
                <a:lnTo>
                  <a:pt x="156" y="195"/>
                </a:lnTo>
                <a:lnTo>
                  <a:pt x="175" y="215"/>
                </a:lnTo>
                <a:lnTo>
                  <a:pt x="195" y="205"/>
                </a:lnTo>
                <a:lnTo>
                  <a:pt x="204" y="195"/>
                </a:lnTo>
                <a:lnTo>
                  <a:pt x="234" y="215"/>
                </a:lnTo>
                <a:lnTo>
                  <a:pt x="253" y="215"/>
                </a:lnTo>
                <a:lnTo>
                  <a:pt x="273" y="224"/>
                </a:lnTo>
                <a:lnTo>
                  <a:pt x="282" y="224"/>
                </a:lnTo>
                <a:lnTo>
                  <a:pt x="292" y="215"/>
                </a:lnTo>
                <a:lnTo>
                  <a:pt x="302" y="205"/>
                </a:lnTo>
                <a:lnTo>
                  <a:pt x="292" y="195"/>
                </a:lnTo>
                <a:lnTo>
                  <a:pt x="273" y="185"/>
                </a:lnTo>
                <a:lnTo>
                  <a:pt x="273" y="176"/>
                </a:lnTo>
                <a:lnTo>
                  <a:pt x="282" y="156"/>
                </a:lnTo>
                <a:lnTo>
                  <a:pt x="282" y="146"/>
                </a:lnTo>
                <a:lnTo>
                  <a:pt x="292" y="146"/>
                </a:lnTo>
                <a:lnTo>
                  <a:pt x="302" y="137"/>
                </a:lnTo>
                <a:lnTo>
                  <a:pt x="302" y="127"/>
                </a:lnTo>
                <a:lnTo>
                  <a:pt x="312" y="107"/>
                </a:lnTo>
                <a:lnTo>
                  <a:pt x="322" y="107"/>
                </a:lnTo>
                <a:lnTo>
                  <a:pt x="341" y="107"/>
                </a:lnTo>
                <a:lnTo>
                  <a:pt x="341" y="88"/>
                </a:lnTo>
                <a:lnTo>
                  <a:pt x="331" y="78"/>
                </a:lnTo>
                <a:lnTo>
                  <a:pt x="341" y="68"/>
                </a:lnTo>
                <a:lnTo>
                  <a:pt x="341" y="59"/>
                </a:lnTo>
                <a:lnTo>
                  <a:pt x="341" y="49"/>
                </a:lnTo>
                <a:lnTo>
                  <a:pt x="351" y="39"/>
                </a:lnTo>
                <a:lnTo>
                  <a:pt x="361" y="29"/>
                </a:lnTo>
                <a:lnTo>
                  <a:pt x="361" y="10"/>
                </a:lnTo>
                <a:lnTo>
                  <a:pt x="400" y="0"/>
                </a:lnTo>
                <a:lnTo>
                  <a:pt x="409" y="20"/>
                </a:lnTo>
                <a:lnTo>
                  <a:pt x="429" y="10"/>
                </a:lnTo>
                <a:lnTo>
                  <a:pt x="439" y="29"/>
                </a:lnTo>
                <a:lnTo>
                  <a:pt x="468" y="29"/>
                </a:lnTo>
                <a:lnTo>
                  <a:pt x="487" y="20"/>
                </a:lnTo>
                <a:lnTo>
                  <a:pt x="497" y="29"/>
                </a:lnTo>
                <a:lnTo>
                  <a:pt x="536" y="49"/>
                </a:lnTo>
                <a:lnTo>
                  <a:pt x="575" y="68"/>
                </a:lnTo>
                <a:lnTo>
                  <a:pt x="614" y="88"/>
                </a:lnTo>
                <a:lnTo>
                  <a:pt x="614" y="98"/>
                </a:lnTo>
                <a:lnTo>
                  <a:pt x="604" y="117"/>
                </a:lnTo>
                <a:lnTo>
                  <a:pt x="595" y="137"/>
                </a:lnTo>
                <a:lnTo>
                  <a:pt x="575" y="156"/>
                </a:lnTo>
                <a:lnTo>
                  <a:pt x="556" y="195"/>
                </a:lnTo>
                <a:lnTo>
                  <a:pt x="517" y="205"/>
                </a:lnTo>
                <a:lnTo>
                  <a:pt x="487" y="234"/>
                </a:lnTo>
                <a:lnTo>
                  <a:pt x="458" y="244"/>
                </a:lnTo>
                <a:lnTo>
                  <a:pt x="439" y="263"/>
                </a:lnTo>
                <a:lnTo>
                  <a:pt x="439" y="283"/>
                </a:lnTo>
                <a:lnTo>
                  <a:pt x="439" y="302"/>
                </a:lnTo>
                <a:lnTo>
                  <a:pt x="409" y="341"/>
                </a:lnTo>
                <a:lnTo>
                  <a:pt x="419" y="361"/>
                </a:lnTo>
                <a:lnTo>
                  <a:pt x="429" y="371"/>
                </a:lnTo>
                <a:lnTo>
                  <a:pt x="409" y="381"/>
                </a:lnTo>
                <a:lnTo>
                  <a:pt x="390" y="400"/>
                </a:lnTo>
                <a:lnTo>
                  <a:pt x="380" y="390"/>
                </a:lnTo>
                <a:lnTo>
                  <a:pt x="351" y="390"/>
                </a:lnTo>
                <a:lnTo>
                  <a:pt x="341" y="410"/>
                </a:lnTo>
                <a:lnTo>
                  <a:pt x="341" y="429"/>
                </a:lnTo>
                <a:lnTo>
                  <a:pt x="322" y="439"/>
                </a:lnTo>
                <a:lnTo>
                  <a:pt x="302" y="429"/>
                </a:lnTo>
                <a:lnTo>
                  <a:pt x="302" y="420"/>
                </a:lnTo>
                <a:lnTo>
                  <a:pt x="302" y="410"/>
                </a:lnTo>
                <a:lnTo>
                  <a:pt x="282" y="420"/>
                </a:lnTo>
                <a:lnTo>
                  <a:pt x="263" y="429"/>
                </a:lnTo>
                <a:lnTo>
                  <a:pt x="243" y="459"/>
                </a:lnTo>
                <a:lnTo>
                  <a:pt x="243" y="468"/>
                </a:lnTo>
                <a:lnTo>
                  <a:pt x="204" y="468"/>
                </a:lnTo>
                <a:lnTo>
                  <a:pt x="204" y="459"/>
                </a:lnTo>
                <a:lnTo>
                  <a:pt x="185" y="459"/>
                </a:lnTo>
                <a:lnTo>
                  <a:pt x="175" y="468"/>
                </a:lnTo>
                <a:lnTo>
                  <a:pt x="165" y="488"/>
                </a:lnTo>
                <a:lnTo>
                  <a:pt x="146" y="498"/>
                </a:lnTo>
                <a:lnTo>
                  <a:pt x="146" y="517"/>
                </a:lnTo>
                <a:lnTo>
                  <a:pt x="117" y="517"/>
                </a:lnTo>
                <a:lnTo>
                  <a:pt x="107" y="478"/>
                </a:lnTo>
                <a:lnTo>
                  <a:pt x="87" y="468"/>
                </a:lnTo>
                <a:lnTo>
                  <a:pt x="87" y="459"/>
                </a:lnTo>
                <a:lnTo>
                  <a:pt x="87" y="449"/>
                </a:lnTo>
                <a:lnTo>
                  <a:pt x="97" y="449"/>
                </a:lnTo>
                <a:lnTo>
                  <a:pt x="87" y="439"/>
                </a:lnTo>
                <a:lnTo>
                  <a:pt x="58" y="439"/>
                </a:lnTo>
                <a:lnTo>
                  <a:pt x="39" y="429"/>
                </a:lnTo>
                <a:lnTo>
                  <a:pt x="19" y="420"/>
                </a:lnTo>
                <a:lnTo>
                  <a:pt x="0" y="390"/>
                </a:lnTo>
                <a:close/>
              </a:path>
            </a:pathLst>
          </a:custGeom>
          <a:solidFill>
            <a:srgbClr val="F21C0A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8" name="Freeform 171"/>
          <p:cNvSpPr>
            <a:spLocks/>
          </p:cNvSpPr>
          <p:nvPr>
            <p:custDataLst>
              <p:tags r:id="rId146"/>
            </p:custDataLst>
          </p:nvPr>
        </p:nvSpPr>
        <p:spPr bwMode="auto">
          <a:xfrm>
            <a:off x="3009900" y="3340100"/>
            <a:ext cx="442913" cy="419100"/>
          </a:xfrm>
          <a:custGeom>
            <a:avLst/>
            <a:gdLst/>
            <a:ahLst/>
            <a:cxnLst>
              <a:cxn ang="0">
                <a:pos x="488" y="469"/>
              </a:cxn>
              <a:cxn ang="0">
                <a:pos x="449" y="449"/>
              </a:cxn>
              <a:cxn ang="0">
                <a:pos x="439" y="478"/>
              </a:cxn>
              <a:cxn ang="0">
                <a:pos x="410" y="508"/>
              </a:cxn>
              <a:cxn ang="0">
                <a:pos x="400" y="547"/>
              </a:cxn>
              <a:cxn ang="0">
                <a:pos x="419" y="576"/>
              </a:cxn>
              <a:cxn ang="0">
                <a:pos x="361" y="634"/>
              </a:cxn>
              <a:cxn ang="0">
                <a:pos x="351" y="654"/>
              </a:cxn>
              <a:cxn ang="0">
                <a:pos x="302" y="674"/>
              </a:cxn>
              <a:cxn ang="0">
                <a:pos x="283" y="654"/>
              </a:cxn>
              <a:cxn ang="0">
                <a:pos x="283" y="634"/>
              </a:cxn>
              <a:cxn ang="0">
                <a:pos x="263" y="615"/>
              </a:cxn>
              <a:cxn ang="0">
                <a:pos x="195" y="605"/>
              </a:cxn>
              <a:cxn ang="0">
                <a:pos x="195" y="576"/>
              </a:cxn>
              <a:cxn ang="0">
                <a:pos x="156" y="537"/>
              </a:cxn>
              <a:cxn ang="0">
                <a:pos x="136" y="498"/>
              </a:cxn>
              <a:cxn ang="0">
                <a:pos x="127" y="527"/>
              </a:cxn>
              <a:cxn ang="0">
                <a:pos x="68" y="517"/>
              </a:cxn>
              <a:cxn ang="0">
                <a:pos x="19" y="371"/>
              </a:cxn>
              <a:cxn ang="0">
                <a:pos x="19" y="332"/>
              </a:cxn>
              <a:cxn ang="0">
                <a:pos x="19" y="303"/>
              </a:cxn>
              <a:cxn ang="0">
                <a:pos x="117" y="322"/>
              </a:cxn>
              <a:cxn ang="0">
                <a:pos x="214" y="332"/>
              </a:cxn>
              <a:cxn ang="0">
                <a:pos x="253" y="322"/>
              </a:cxn>
              <a:cxn ang="0">
                <a:pos x="283" y="254"/>
              </a:cxn>
              <a:cxn ang="0">
                <a:pos x="283" y="215"/>
              </a:cxn>
              <a:cxn ang="0">
                <a:pos x="312" y="205"/>
              </a:cxn>
              <a:cxn ang="0">
                <a:pos x="351" y="195"/>
              </a:cxn>
              <a:cxn ang="0">
                <a:pos x="361" y="166"/>
              </a:cxn>
              <a:cxn ang="0">
                <a:pos x="400" y="137"/>
              </a:cxn>
              <a:cxn ang="0">
                <a:pos x="419" y="127"/>
              </a:cxn>
              <a:cxn ang="0">
                <a:pos x="449" y="98"/>
              </a:cxn>
              <a:cxn ang="0">
                <a:pos x="478" y="88"/>
              </a:cxn>
              <a:cxn ang="0">
                <a:pos x="517" y="78"/>
              </a:cxn>
              <a:cxn ang="0">
                <a:pos x="556" y="39"/>
              </a:cxn>
              <a:cxn ang="0">
                <a:pos x="566" y="10"/>
              </a:cxn>
              <a:cxn ang="0">
                <a:pos x="624" y="88"/>
              </a:cxn>
              <a:cxn ang="0">
                <a:pos x="605" y="127"/>
              </a:cxn>
              <a:cxn ang="0">
                <a:pos x="653" y="137"/>
              </a:cxn>
              <a:cxn ang="0">
                <a:pos x="663" y="176"/>
              </a:cxn>
              <a:cxn ang="0">
                <a:pos x="653" y="166"/>
              </a:cxn>
              <a:cxn ang="0">
                <a:pos x="653" y="186"/>
              </a:cxn>
              <a:cxn ang="0">
                <a:pos x="644" y="195"/>
              </a:cxn>
              <a:cxn ang="0">
                <a:pos x="653" y="254"/>
              </a:cxn>
              <a:cxn ang="0">
                <a:pos x="644" y="273"/>
              </a:cxn>
              <a:cxn ang="0">
                <a:pos x="614" y="273"/>
              </a:cxn>
              <a:cxn ang="0">
                <a:pos x="595" y="293"/>
              </a:cxn>
              <a:cxn ang="0">
                <a:pos x="566" y="293"/>
              </a:cxn>
              <a:cxn ang="0">
                <a:pos x="556" y="322"/>
              </a:cxn>
              <a:cxn ang="0">
                <a:pos x="517" y="342"/>
              </a:cxn>
              <a:cxn ang="0">
                <a:pos x="507" y="352"/>
              </a:cxn>
              <a:cxn ang="0">
                <a:pos x="507" y="371"/>
              </a:cxn>
              <a:cxn ang="0">
                <a:pos x="497" y="391"/>
              </a:cxn>
              <a:cxn ang="0">
                <a:pos x="517" y="400"/>
              </a:cxn>
              <a:cxn ang="0">
                <a:pos x="507" y="439"/>
              </a:cxn>
              <a:cxn ang="0">
                <a:pos x="497" y="469"/>
              </a:cxn>
            </a:cxnLst>
            <a:rect l="0" t="0" r="r" b="b"/>
            <a:pathLst>
              <a:path w="663" h="674">
                <a:moveTo>
                  <a:pt x="497" y="469"/>
                </a:moveTo>
                <a:lnTo>
                  <a:pt x="488" y="469"/>
                </a:lnTo>
                <a:lnTo>
                  <a:pt x="458" y="478"/>
                </a:lnTo>
                <a:lnTo>
                  <a:pt x="449" y="449"/>
                </a:lnTo>
                <a:lnTo>
                  <a:pt x="429" y="469"/>
                </a:lnTo>
                <a:lnTo>
                  <a:pt x="439" y="478"/>
                </a:lnTo>
                <a:lnTo>
                  <a:pt x="419" y="498"/>
                </a:lnTo>
                <a:lnTo>
                  <a:pt x="410" y="508"/>
                </a:lnTo>
                <a:lnTo>
                  <a:pt x="400" y="527"/>
                </a:lnTo>
                <a:lnTo>
                  <a:pt x="400" y="547"/>
                </a:lnTo>
                <a:lnTo>
                  <a:pt x="410" y="566"/>
                </a:lnTo>
                <a:lnTo>
                  <a:pt x="419" y="576"/>
                </a:lnTo>
                <a:lnTo>
                  <a:pt x="419" y="595"/>
                </a:lnTo>
                <a:lnTo>
                  <a:pt x="361" y="634"/>
                </a:lnTo>
                <a:lnTo>
                  <a:pt x="351" y="634"/>
                </a:lnTo>
                <a:lnTo>
                  <a:pt x="351" y="654"/>
                </a:lnTo>
                <a:lnTo>
                  <a:pt x="312" y="664"/>
                </a:lnTo>
                <a:lnTo>
                  <a:pt x="302" y="674"/>
                </a:lnTo>
                <a:lnTo>
                  <a:pt x="292" y="664"/>
                </a:lnTo>
                <a:lnTo>
                  <a:pt x="283" y="654"/>
                </a:lnTo>
                <a:lnTo>
                  <a:pt x="283" y="644"/>
                </a:lnTo>
                <a:lnTo>
                  <a:pt x="283" y="634"/>
                </a:lnTo>
                <a:lnTo>
                  <a:pt x="263" y="634"/>
                </a:lnTo>
                <a:lnTo>
                  <a:pt x="263" y="615"/>
                </a:lnTo>
                <a:lnTo>
                  <a:pt x="253" y="615"/>
                </a:lnTo>
                <a:lnTo>
                  <a:pt x="195" y="605"/>
                </a:lnTo>
                <a:lnTo>
                  <a:pt x="185" y="595"/>
                </a:lnTo>
                <a:lnTo>
                  <a:pt x="195" y="576"/>
                </a:lnTo>
                <a:lnTo>
                  <a:pt x="185" y="566"/>
                </a:lnTo>
                <a:lnTo>
                  <a:pt x="156" y="537"/>
                </a:lnTo>
                <a:lnTo>
                  <a:pt x="156" y="527"/>
                </a:lnTo>
                <a:lnTo>
                  <a:pt x="136" y="498"/>
                </a:lnTo>
                <a:lnTo>
                  <a:pt x="117" y="498"/>
                </a:lnTo>
                <a:lnTo>
                  <a:pt x="127" y="527"/>
                </a:lnTo>
                <a:lnTo>
                  <a:pt x="107" y="527"/>
                </a:lnTo>
                <a:lnTo>
                  <a:pt x="68" y="517"/>
                </a:lnTo>
                <a:lnTo>
                  <a:pt x="0" y="391"/>
                </a:lnTo>
                <a:lnTo>
                  <a:pt x="19" y="371"/>
                </a:lnTo>
                <a:lnTo>
                  <a:pt x="19" y="352"/>
                </a:lnTo>
                <a:lnTo>
                  <a:pt x="19" y="332"/>
                </a:lnTo>
                <a:lnTo>
                  <a:pt x="10" y="322"/>
                </a:lnTo>
                <a:lnTo>
                  <a:pt x="19" y="303"/>
                </a:lnTo>
                <a:lnTo>
                  <a:pt x="78" y="322"/>
                </a:lnTo>
                <a:lnTo>
                  <a:pt x="117" y="322"/>
                </a:lnTo>
                <a:lnTo>
                  <a:pt x="166" y="322"/>
                </a:lnTo>
                <a:lnTo>
                  <a:pt x="214" y="332"/>
                </a:lnTo>
                <a:lnTo>
                  <a:pt x="244" y="322"/>
                </a:lnTo>
                <a:lnTo>
                  <a:pt x="253" y="322"/>
                </a:lnTo>
                <a:lnTo>
                  <a:pt x="263" y="293"/>
                </a:lnTo>
                <a:lnTo>
                  <a:pt x="283" y="254"/>
                </a:lnTo>
                <a:lnTo>
                  <a:pt x="283" y="225"/>
                </a:lnTo>
                <a:lnTo>
                  <a:pt x="283" y="215"/>
                </a:lnTo>
                <a:lnTo>
                  <a:pt x="292" y="205"/>
                </a:lnTo>
                <a:lnTo>
                  <a:pt x="312" y="205"/>
                </a:lnTo>
                <a:lnTo>
                  <a:pt x="341" y="205"/>
                </a:lnTo>
                <a:lnTo>
                  <a:pt x="351" y="195"/>
                </a:lnTo>
                <a:lnTo>
                  <a:pt x="361" y="186"/>
                </a:lnTo>
                <a:lnTo>
                  <a:pt x="361" y="166"/>
                </a:lnTo>
                <a:lnTo>
                  <a:pt x="400" y="147"/>
                </a:lnTo>
                <a:lnTo>
                  <a:pt x="400" y="137"/>
                </a:lnTo>
                <a:lnTo>
                  <a:pt x="410" y="127"/>
                </a:lnTo>
                <a:lnTo>
                  <a:pt x="419" y="127"/>
                </a:lnTo>
                <a:lnTo>
                  <a:pt x="439" y="108"/>
                </a:lnTo>
                <a:lnTo>
                  <a:pt x="449" y="98"/>
                </a:lnTo>
                <a:lnTo>
                  <a:pt x="468" y="88"/>
                </a:lnTo>
                <a:lnTo>
                  <a:pt x="478" y="88"/>
                </a:lnTo>
                <a:lnTo>
                  <a:pt x="497" y="88"/>
                </a:lnTo>
                <a:lnTo>
                  <a:pt x="517" y="78"/>
                </a:lnTo>
                <a:lnTo>
                  <a:pt x="536" y="59"/>
                </a:lnTo>
                <a:lnTo>
                  <a:pt x="556" y="39"/>
                </a:lnTo>
                <a:lnTo>
                  <a:pt x="566" y="20"/>
                </a:lnTo>
                <a:lnTo>
                  <a:pt x="566" y="10"/>
                </a:lnTo>
                <a:lnTo>
                  <a:pt x="575" y="0"/>
                </a:lnTo>
                <a:lnTo>
                  <a:pt x="624" y="88"/>
                </a:lnTo>
                <a:lnTo>
                  <a:pt x="614" y="108"/>
                </a:lnTo>
                <a:lnTo>
                  <a:pt x="605" y="127"/>
                </a:lnTo>
                <a:lnTo>
                  <a:pt x="614" y="137"/>
                </a:lnTo>
                <a:lnTo>
                  <a:pt x="653" y="137"/>
                </a:lnTo>
                <a:lnTo>
                  <a:pt x="663" y="156"/>
                </a:lnTo>
                <a:lnTo>
                  <a:pt x="663" y="176"/>
                </a:lnTo>
                <a:lnTo>
                  <a:pt x="653" y="166"/>
                </a:lnTo>
                <a:lnTo>
                  <a:pt x="653" y="176"/>
                </a:lnTo>
                <a:lnTo>
                  <a:pt x="653" y="186"/>
                </a:lnTo>
                <a:lnTo>
                  <a:pt x="644" y="186"/>
                </a:lnTo>
                <a:lnTo>
                  <a:pt x="644" y="195"/>
                </a:lnTo>
                <a:lnTo>
                  <a:pt x="653" y="225"/>
                </a:lnTo>
                <a:lnTo>
                  <a:pt x="653" y="254"/>
                </a:lnTo>
                <a:lnTo>
                  <a:pt x="634" y="264"/>
                </a:lnTo>
                <a:lnTo>
                  <a:pt x="644" y="273"/>
                </a:lnTo>
                <a:lnTo>
                  <a:pt x="624" y="283"/>
                </a:lnTo>
                <a:lnTo>
                  <a:pt x="614" y="273"/>
                </a:lnTo>
                <a:lnTo>
                  <a:pt x="595" y="293"/>
                </a:lnTo>
                <a:lnTo>
                  <a:pt x="575" y="293"/>
                </a:lnTo>
                <a:lnTo>
                  <a:pt x="566" y="293"/>
                </a:lnTo>
                <a:lnTo>
                  <a:pt x="556" y="322"/>
                </a:lnTo>
                <a:lnTo>
                  <a:pt x="536" y="342"/>
                </a:lnTo>
                <a:lnTo>
                  <a:pt x="517" y="342"/>
                </a:lnTo>
                <a:lnTo>
                  <a:pt x="527" y="352"/>
                </a:lnTo>
                <a:lnTo>
                  <a:pt x="507" y="352"/>
                </a:lnTo>
                <a:lnTo>
                  <a:pt x="497" y="352"/>
                </a:lnTo>
                <a:lnTo>
                  <a:pt x="507" y="371"/>
                </a:lnTo>
                <a:lnTo>
                  <a:pt x="497" y="391"/>
                </a:lnTo>
                <a:lnTo>
                  <a:pt x="507" y="400"/>
                </a:lnTo>
                <a:lnTo>
                  <a:pt x="517" y="400"/>
                </a:lnTo>
                <a:lnTo>
                  <a:pt x="507" y="420"/>
                </a:lnTo>
                <a:lnTo>
                  <a:pt x="507" y="439"/>
                </a:lnTo>
                <a:lnTo>
                  <a:pt x="488" y="459"/>
                </a:lnTo>
                <a:lnTo>
                  <a:pt x="497" y="46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en-US" sz="1100">
              <a:latin typeface="Polo" pitchFamily="2" charset="0"/>
              <a:cs typeface="+mn-cs"/>
            </a:endParaRPr>
          </a:p>
        </p:txBody>
      </p:sp>
      <p:sp>
        <p:nvSpPr>
          <p:cNvPr id="199" name="Freeform 170"/>
          <p:cNvSpPr>
            <a:spLocks/>
          </p:cNvSpPr>
          <p:nvPr>
            <p:custDataLst>
              <p:tags r:id="rId147"/>
            </p:custDataLst>
          </p:nvPr>
        </p:nvSpPr>
        <p:spPr bwMode="auto">
          <a:xfrm>
            <a:off x="3379788" y="3803650"/>
            <a:ext cx="879475" cy="447675"/>
          </a:xfrm>
          <a:custGeom>
            <a:avLst/>
            <a:gdLst/>
            <a:ahLst/>
            <a:cxnLst>
              <a:cxn ang="0">
                <a:pos x="371" y="644"/>
              </a:cxn>
              <a:cxn ang="0">
                <a:pos x="439" y="644"/>
              </a:cxn>
              <a:cxn ang="0">
                <a:pos x="488" y="654"/>
              </a:cxn>
              <a:cxn ang="0">
                <a:pos x="585" y="702"/>
              </a:cxn>
              <a:cxn ang="0">
                <a:pos x="673" y="673"/>
              </a:cxn>
              <a:cxn ang="0">
                <a:pos x="702" y="644"/>
              </a:cxn>
              <a:cxn ang="0">
                <a:pos x="741" y="566"/>
              </a:cxn>
              <a:cxn ang="0">
                <a:pos x="819" y="507"/>
              </a:cxn>
              <a:cxn ang="0">
                <a:pos x="839" y="458"/>
              </a:cxn>
              <a:cxn ang="0">
                <a:pos x="868" y="419"/>
              </a:cxn>
              <a:cxn ang="0">
                <a:pos x="897" y="439"/>
              </a:cxn>
              <a:cxn ang="0">
                <a:pos x="966" y="419"/>
              </a:cxn>
              <a:cxn ang="0">
                <a:pos x="1044" y="410"/>
              </a:cxn>
              <a:cxn ang="0">
                <a:pos x="1092" y="380"/>
              </a:cxn>
              <a:cxn ang="0">
                <a:pos x="1122" y="361"/>
              </a:cxn>
              <a:cxn ang="0">
                <a:pos x="1190" y="361"/>
              </a:cxn>
              <a:cxn ang="0">
                <a:pos x="1239" y="341"/>
              </a:cxn>
              <a:cxn ang="0">
                <a:pos x="1307" y="322"/>
              </a:cxn>
              <a:cxn ang="0">
                <a:pos x="1307" y="312"/>
              </a:cxn>
              <a:cxn ang="0">
                <a:pos x="1307" y="273"/>
              </a:cxn>
              <a:cxn ang="0">
                <a:pos x="1307" y="224"/>
              </a:cxn>
              <a:cxn ang="0">
                <a:pos x="1258" y="214"/>
              </a:cxn>
              <a:cxn ang="0">
                <a:pos x="1229" y="244"/>
              </a:cxn>
              <a:cxn ang="0">
                <a:pos x="1190" y="234"/>
              </a:cxn>
              <a:cxn ang="0">
                <a:pos x="1151" y="253"/>
              </a:cxn>
              <a:cxn ang="0">
                <a:pos x="1092" y="273"/>
              </a:cxn>
              <a:cxn ang="0">
                <a:pos x="1005" y="234"/>
              </a:cxn>
              <a:cxn ang="0">
                <a:pos x="848" y="127"/>
              </a:cxn>
              <a:cxn ang="0">
                <a:pos x="780" y="68"/>
              </a:cxn>
              <a:cxn ang="0">
                <a:pos x="712" y="19"/>
              </a:cxn>
              <a:cxn ang="0">
                <a:pos x="595" y="10"/>
              </a:cxn>
              <a:cxn ang="0">
                <a:pos x="478" y="58"/>
              </a:cxn>
              <a:cxn ang="0">
                <a:pos x="497" y="107"/>
              </a:cxn>
              <a:cxn ang="0">
                <a:pos x="449" y="175"/>
              </a:cxn>
              <a:cxn ang="0">
                <a:pos x="410" y="136"/>
              </a:cxn>
              <a:cxn ang="0">
                <a:pos x="371" y="136"/>
              </a:cxn>
              <a:cxn ang="0">
                <a:pos x="341" y="97"/>
              </a:cxn>
              <a:cxn ang="0">
                <a:pos x="283" y="49"/>
              </a:cxn>
              <a:cxn ang="0">
                <a:pos x="253" y="49"/>
              </a:cxn>
              <a:cxn ang="0">
                <a:pos x="263" y="136"/>
              </a:cxn>
              <a:cxn ang="0">
                <a:pos x="224" y="166"/>
              </a:cxn>
              <a:cxn ang="0">
                <a:pos x="214" y="195"/>
              </a:cxn>
              <a:cxn ang="0">
                <a:pos x="166" y="224"/>
              </a:cxn>
              <a:cxn ang="0">
                <a:pos x="156" y="263"/>
              </a:cxn>
              <a:cxn ang="0">
                <a:pos x="205" y="283"/>
              </a:cxn>
              <a:cxn ang="0">
                <a:pos x="253" y="253"/>
              </a:cxn>
              <a:cxn ang="0">
                <a:pos x="234" y="341"/>
              </a:cxn>
              <a:cxn ang="0">
                <a:pos x="195" y="390"/>
              </a:cxn>
              <a:cxn ang="0">
                <a:pos x="146" y="410"/>
              </a:cxn>
              <a:cxn ang="0">
                <a:pos x="88" y="400"/>
              </a:cxn>
              <a:cxn ang="0">
                <a:pos x="58" y="468"/>
              </a:cxn>
              <a:cxn ang="0">
                <a:pos x="10" y="488"/>
              </a:cxn>
              <a:cxn ang="0">
                <a:pos x="19" y="527"/>
              </a:cxn>
              <a:cxn ang="0">
                <a:pos x="19" y="566"/>
              </a:cxn>
              <a:cxn ang="0">
                <a:pos x="10" y="595"/>
              </a:cxn>
              <a:cxn ang="0">
                <a:pos x="88" y="566"/>
              </a:cxn>
              <a:cxn ang="0">
                <a:pos x="146" y="585"/>
              </a:cxn>
              <a:cxn ang="0">
                <a:pos x="195" y="595"/>
              </a:cxn>
              <a:cxn ang="0">
                <a:pos x="224" y="556"/>
              </a:cxn>
              <a:cxn ang="0">
                <a:pos x="263" y="546"/>
              </a:cxn>
              <a:cxn ang="0">
                <a:pos x="322" y="575"/>
              </a:cxn>
            </a:cxnLst>
            <a:rect l="0" t="0" r="r" b="b"/>
            <a:pathLst>
              <a:path w="1317" h="722">
                <a:moveTo>
                  <a:pt x="322" y="605"/>
                </a:moveTo>
                <a:lnTo>
                  <a:pt x="341" y="595"/>
                </a:lnTo>
                <a:lnTo>
                  <a:pt x="371" y="644"/>
                </a:lnTo>
                <a:lnTo>
                  <a:pt x="410" y="634"/>
                </a:lnTo>
                <a:lnTo>
                  <a:pt x="419" y="654"/>
                </a:lnTo>
                <a:lnTo>
                  <a:pt x="439" y="644"/>
                </a:lnTo>
                <a:lnTo>
                  <a:pt x="449" y="663"/>
                </a:lnTo>
                <a:lnTo>
                  <a:pt x="478" y="663"/>
                </a:lnTo>
                <a:lnTo>
                  <a:pt x="488" y="654"/>
                </a:lnTo>
                <a:lnTo>
                  <a:pt x="507" y="663"/>
                </a:lnTo>
                <a:lnTo>
                  <a:pt x="546" y="683"/>
                </a:lnTo>
                <a:lnTo>
                  <a:pt x="585" y="702"/>
                </a:lnTo>
                <a:lnTo>
                  <a:pt x="624" y="722"/>
                </a:lnTo>
                <a:lnTo>
                  <a:pt x="653" y="702"/>
                </a:lnTo>
                <a:lnTo>
                  <a:pt x="673" y="673"/>
                </a:lnTo>
                <a:lnTo>
                  <a:pt x="692" y="663"/>
                </a:lnTo>
                <a:lnTo>
                  <a:pt x="712" y="654"/>
                </a:lnTo>
                <a:lnTo>
                  <a:pt x="702" y="644"/>
                </a:lnTo>
                <a:lnTo>
                  <a:pt x="722" y="614"/>
                </a:lnTo>
                <a:lnTo>
                  <a:pt x="722" y="585"/>
                </a:lnTo>
                <a:lnTo>
                  <a:pt x="741" y="566"/>
                </a:lnTo>
                <a:lnTo>
                  <a:pt x="780" y="536"/>
                </a:lnTo>
                <a:lnTo>
                  <a:pt x="800" y="527"/>
                </a:lnTo>
                <a:lnTo>
                  <a:pt x="819" y="507"/>
                </a:lnTo>
                <a:lnTo>
                  <a:pt x="819" y="488"/>
                </a:lnTo>
                <a:lnTo>
                  <a:pt x="839" y="468"/>
                </a:lnTo>
                <a:lnTo>
                  <a:pt x="839" y="458"/>
                </a:lnTo>
                <a:lnTo>
                  <a:pt x="848" y="449"/>
                </a:lnTo>
                <a:lnTo>
                  <a:pt x="848" y="429"/>
                </a:lnTo>
                <a:lnTo>
                  <a:pt x="868" y="419"/>
                </a:lnTo>
                <a:lnTo>
                  <a:pt x="888" y="419"/>
                </a:lnTo>
                <a:lnTo>
                  <a:pt x="897" y="429"/>
                </a:lnTo>
                <a:lnTo>
                  <a:pt x="897" y="439"/>
                </a:lnTo>
                <a:lnTo>
                  <a:pt x="936" y="439"/>
                </a:lnTo>
                <a:lnTo>
                  <a:pt x="946" y="439"/>
                </a:lnTo>
                <a:lnTo>
                  <a:pt x="966" y="419"/>
                </a:lnTo>
                <a:lnTo>
                  <a:pt x="995" y="410"/>
                </a:lnTo>
                <a:lnTo>
                  <a:pt x="1024" y="410"/>
                </a:lnTo>
                <a:lnTo>
                  <a:pt x="1044" y="410"/>
                </a:lnTo>
                <a:lnTo>
                  <a:pt x="1063" y="400"/>
                </a:lnTo>
                <a:lnTo>
                  <a:pt x="1073" y="400"/>
                </a:lnTo>
                <a:lnTo>
                  <a:pt x="1092" y="380"/>
                </a:lnTo>
                <a:lnTo>
                  <a:pt x="1102" y="380"/>
                </a:lnTo>
                <a:lnTo>
                  <a:pt x="1122" y="371"/>
                </a:lnTo>
                <a:lnTo>
                  <a:pt x="1122" y="361"/>
                </a:lnTo>
                <a:lnTo>
                  <a:pt x="1141" y="361"/>
                </a:lnTo>
                <a:lnTo>
                  <a:pt x="1161" y="361"/>
                </a:lnTo>
                <a:lnTo>
                  <a:pt x="1190" y="361"/>
                </a:lnTo>
                <a:lnTo>
                  <a:pt x="1209" y="361"/>
                </a:lnTo>
                <a:lnTo>
                  <a:pt x="1229" y="351"/>
                </a:lnTo>
                <a:lnTo>
                  <a:pt x="1239" y="341"/>
                </a:lnTo>
                <a:lnTo>
                  <a:pt x="1258" y="341"/>
                </a:lnTo>
                <a:lnTo>
                  <a:pt x="1287" y="332"/>
                </a:lnTo>
                <a:lnTo>
                  <a:pt x="1307" y="322"/>
                </a:lnTo>
                <a:lnTo>
                  <a:pt x="1287" y="312"/>
                </a:lnTo>
                <a:lnTo>
                  <a:pt x="1307" y="312"/>
                </a:lnTo>
                <a:lnTo>
                  <a:pt x="1317" y="302"/>
                </a:lnTo>
                <a:lnTo>
                  <a:pt x="1317" y="293"/>
                </a:lnTo>
                <a:lnTo>
                  <a:pt x="1307" y="273"/>
                </a:lnTo>
                <a:lnTo>
                  <a:pt x="1297" y="253"/>
                </a:lnTo>
                <a:lnTo>
                  <a:pt x="1297" y="244"/>
                </a:lnTo>
                <a:lnTo>
                  <a:pt x="1307" y="224"/>
                </a:lnTo>
                <a:lnTo>
                  <a:pt x="1297" y="214"/>
                </a:lnTo>
                <a:lnTo>
                  <a:pt x="1268" y="205"/>
                </a:lnTo>
                <a:lnTo>
                  <a:pt x="1258" y="214"/>
                </a:lnTo>
                <a:lnTo>
                  <a:pt x="1248" y="224"/>
                </a:lnTo>
                <a:lnTo>
                  <a:pt x="1239" y="224"/>
                </a:lnTo>
                <a:lnTo>
                  <a:pt x="1229" y="244"/>
                </a:lnTo>
                <a:lnTo>
                  <a:pt x="1209" y="244"/>
                </a:lnTo>
                <a:lnTo>
                  <a:pt x="1200" y="234"/>
                </a:lnTo>
                <a:lnTo>
                  <a:pt x="1190" y="234"/>
                </a:lnTo>
                <a:lnTo>
                  <a:pt x="1170" y="234"/>
                </a:lnTo>
                <a:lnTo>
                  <a:pt x="1161" y="253"/>
                </a:lnTo>
                <a:lnTo>
                  <a:pt x="1151" y="253"/>
                </a:lnTo>
                <a:lnTo>
                  <a:pt x="1131" y="263"/>
                </a:lnTo>
                <a:lnTo>
                  <a:pt x="1112" y="263"/>
                </a:lnTo>
                <a:lnTo>
                  <a:pt x="1092" y="273"/>
                </a:lnTo>
                <a:lnTo>
                  <a:pt x="1083" y="273"/>
                </a:lnTo>
                <a:lnTo>
                  <a:pt x="1053" y="263"/>
                </a:lnTo>
                <a:lnTo>
                  <a:pt x="1005" y="234"/>
                </a:lnTo>
                <a:lnTo>
                  <a:pt x="956" y="195"/>
                </a:lnTo>
                <a:lnTo>
                  <a:pt x="907" y="166"/>
                </a:lnTo>
                <a:lnTo>
                  <a:pt x="848" y="127"/>
                </a:lnTo>
                <a:lnTo>
                  <a:pt x="839" y="107"/>
                </a:lnTo>
                <a:lnTo>
                  <a:pt x="819" y="97"/>
                </a:lnTo>
                <a:lnTo>
                  <a:pt x="780" y="68"/>
                </a:lnTo>
                <a:lnTo>
                  <a:pt x="761" y="49"/>
                </a:lnTo>
                <a:lnTo>
                  <a:pt x="741" y="19"/>
                </a:lnTo>
                <a:lnTo>
                  <a:pt x="712" y="19"/>
                </a:lnTo>
                <a:lnTo>
                  <a:pt x="692" y="19"/>
                </a:lnTo>
                <a:lnTo>
                  <a:pt x="663" y="19"/>
                </a:lnTo>
                <a:lnTo>
                  <a:pt x="595" y="10"/>
                </a:lnTo>
                <a:lnTo>
                  <a:pt x="546" y="0"/>
                </a:lnTo>
                <a:lnTo>
                  <a:pt x="497" y="49"/>
                </a:lnTo>
                <a:lnTo>
                  <a:pt x="478" y="58"/>
                </a:lnTo>
                <a:lnTo>
                  <a:pt x="468" y="78"/>
                </a:lnTo>
                <a:lnTo>
                  <a:pt x="497" y="88"/>
                </a:lnTo>
                <a:lnTo>
                  <a:pt x="497" y="107"/>
                </a:lnTo>
                <a:lnTo>
                  <a:pt x="478" y="136"/>
                </a:lnTo>
                <a:lnTo>
                  <a:pt x="478" y="156"/>
                </a:lnTo>
                <a:lnTo>
                  <a:pt x="449" y="175"/>
                </a:lnTo>
                <a:lnTo>
                  <a:pt x="439" y="146"/>
                </a:lnTo>
                <a:lnTo>
                  <a:pt x="429" y="156"/>
                </a:lnTo>
                <a:lnTo>
                  <a:pt x="410" y="136"/>
                </a:lnTo>
                <a:lnTo>
                  <a:pt x="390" y="136"/>
                </a:lnTo>
                <a:lnTo>
                  <a:pt x="380" y="136"/>
                </a:lnTo>
                <a:lnTo>
                  <a:pt x="371" y="136"/>
                </a:lnTo>
                <a:lnTo>
                  <a:pt x="361" y="127"/>
                </a:lnTo>
                <a:lnTo>
                  <a:pt x="361" y="117"/>
                </a:lnTo>
                <a:lnTo>
                  <a:pt x="341" y="97"/>
                </a:lnTo>
                <a:lnTo>
                  <a:pt x="322" y="78"/>
                </a:lnTo>
                <a:lnTo>
                  <a:pt x="292" y="58"/>
                </a:lnTo>
                <a:lnTo>
                  <a:pt x="283" y="49"/>
                </a:lnTo>
                <a:lnTo>
                  <a:pt x="273" y="39"/>
                </a:lnTo>
                <a:lnTo>
                  <a:pt x="253" y="39"/>
                </a:lnTo>
                <a:lnTo>
                  <a:pt x="253" y="49"/>
                </a:lnTo>
                <a:lnTo>
                  <a:pt x="253" y="68"/>
                </a:lnTo>
                <a:lnTo>
                  <a:pt x="263" y="107"/>
                </a:lnTo>
                <a:lnTo>
                  <a:pt x="263" y="136"/>
                </a:lnTo>
                <a:lnTo>
                  <a:pt x="253" y="146"/>
                </a:lnTo>
                <a:lnTo>
                  <a:pt x="234" y="156"/>
                </a:lnTo>
                <a:lnTo>
                  <a:pt x="224" y="166"/>
                </a:lnTo>
                <a:lnTo>
                  <a:pt x="244" y="185"/>
                </a:lnTo>
                <a:lnTo>
                  <a:pt x="244" y="195"/>
                </a:lnTo>
                <a:lnTo>
                  <a:pt x="214" y="195"/>
                </a:lnTo>
                <a:lnTo>
                  <a:pt x="195" y="205"/>
                </a:lnTo>
                <a:lnTo>
                  <a:pt x="185" y="224"/>
                </a:lnTo>
                <a:lnTo>
                  <a:pt x="166" y="224"/>
                </a:lnTo>
                <a:lnTo>
                  <a:pt x="166" y="244"/>
                </a:lnTo>
                <a:lnTo>
                  <a:pt x="166" y="253"/>
                </a:lnTo>
                <a:lnTo>
                  <a:pt x="156" y="263"/>
                </a:lnTo>
                <a:lnTo>
                  <a:pt x="166" y="273"/>
                </a:lnTo>
                <a:lnTo>
                  <a:pt x="175" y="263"/>
                </a:lnTo>
                <a:lnTo>
                  <a:pt x="205" y="283"/>
                </a:lnTo>
                <a:lnTo>
                  <a:pt x="234" y="263"/>
                </a:lnTo>
                <a:lnTo>
                  <a:pt x="234" y="273"/>
                </a:lnTo>
                <a:lnTo>
                  <a:pt x="253" y="253"/>
                </a:lnTo>
                <a:lnTo>
                  <a:pt x="292" y="293"/>
                </a:lnTo>
                <a:lnTo>
                  <a:pt x="283" y="312"/>
                </a:lnTo>
                <a:lnTo>
                  <a:pt x="234" y="341"/>
                </a:lnTo>
                <a:lnTo>
                  <a:pt x="195" y="351"/>
                </a:lnTo>
                <a:lnTo>
                  <a:pt x="175" y="371"/>
                </a:lnTo>
                <a:lnTo>
                  <a:pt x="195" y="390"/>
                </a:lnTo>
                <a:lnTo>
                  <a:pt x="166" y="419"/>
                </a:lnTo>
                <a:lnTo>
                  <a:pt x="146" y="419"/>
                </a:lnTo>
                <a:lnTo>
                  <a:pt x="146" y="410"/>
                </a:lnTo>
                <a:lnTo>
                  <a:pt x="127" y="400"/>
                </a:lnTo>
                <a:lnTo>
                  <a:pt x="97" y="400"/>
                </a:lnTo>
                <a:lnTo>
                  <a:pt x="88" y="400"/>
                </a:lnTo>
                <a:lnTo>
                  <a:pt x="68" y="429"/>
                </a:lnTo>
                <a:lnTo>
                  <a:pt x="58" y="449"/>
                </a:lnTo>
                <a:lnTo>
                  <a:pt x="58" y="468"/>
                </a:lnTo>
                <a:lnTo>
                  <a:pt x="49" y="468"/>
                </a:lnTo>
                <a:lnTo>
                  <a:pt x="39" y="468"/>
                </a:lnTo>
                <a:lnTo>
                  <a:pt x="10" y="488"/>
                </a:lnTo>
                <a:lnTo>
                  <a:pt x="10" y="497"/>
                </a:lnTo>
                <a:lnTo>
                  <a:pt x="10" y="507"/>
                </a:lnTo>
                <a:lnTo>
                  <a:pt x="19" y="527"/>
                </a:lnTo>
                <a:lnTo>
                  <a:pt x="10" y="546"/>
                </a:lnTo>
                <a:lnTo>
                  <a:pt x="19" y="566"/>
                </a:lnTo>
                <a:lnTo>
                  <a:pt x="0" y="575"/>
                </a:lnTo>
                <a:lnTo>
                  <a:pt x="10" y="585"/>
                </a:lnTo>
                <a:lnTo>
                  <a:pt x="10" y="595"/>
                </a:lnTo>
                <a:lnTo>
                  <a:pt x="29" y="575"/>
                </a:lnTo>
                <a:lnTo>
                  <a:pt x="58" y="556"/>
                </a:lnTo>
                <a:lnTo>
                  <a:pt x="88" y="566"/>
                </a:lnTo>
                <a:lnTo>
                  <a:pt x="117" y="585"/>
                </a:lnTo>
                <a:lnTo>
                  <a:pt x="136" y="575"/>
                </a:lnTo>
                <a:lnTo>
                  <a:pt x="146" y="585"/>
                </a:lnTo>
                <a:lnTo>
                  <a:pt x="146" y="605"/>
                </a:lnTo>
                <a:lnTo>
                  <a:pt x="175" y="595"/>
                </a:lnTo>
                <a:lnTo>
                  <a:pt x="195" y="595"/>
                </a:lnTo>
                <a:lnTo>
                  <a:pt x="205" y="614"/>
                </a:lnTo>
                <a:lnTo>
                  <a:pt x="224" y="595"/>
                </a:lnTo>
                <a:lnTo>
                  <a:pt x="224" y="556"/>
                </a:lnTo>
                <a:lnTo>
                  <a:pt x="234" y="546"/>
                </a:lnTo>
                <a:lnTo>
                  <a:pt x="253" y="556"/>
                </a:lnTo>
                <a:lnTo>
                  <a:pt x="263" y="546"/>
                </a:lnTo>
                <a:lnTo>
                  <a:pt x="273" y="556"/>
                </a:lnTo>
                <a:lnTo>
                  <a:pt x="292" y="546"/>
                </a:lnTo>
                <a:lnTo>
                  <a:pt x="322" y="575"/>
                </a:lnTo>
                <a:lnTo>
                  <a:pt x="312" y="585"/>
                </a:lnTo>
                <a:lnTo>
                  <a:pt x="322" y="60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en-US" sz="1100">
              <a:latin typeface="Polo" pitchFamily="2" charset="0"/>
              <a:cs typeface="+mn-cs"/>
            </a:endParaRPr>
          </a:p>
        </p:txBody>
      </p:sp>
      <p:sp>
        <p:nvSpPr>
          <p:cNvPr id="200" name="Freeform 169"/>
          <p:cNvSpPr>
            <a:spLocks/>
          </p:cNvSpPr>
          <p:nvPr>
            <p:custDataLst>
              <p:tags r:id="rId148"/>
            </p:custDataLst>
          </p:nvPr>
        </p:nvSpPr>
        <p:spPr bwMode="auto">
          <a:xfrm>
            <a:off x="3186113" y="3584575"/>
            <a:ext cx="558800" cy="477838"/>
          </a:xfrm>
          <a:custGeom>
            <a:avLst/>
            <a:gdLst/>
            <a:ahLst/>
            <a:cxnLst>
              <a:cxn ang="0">
                <a:pos x="449" y="761"/>
              </a:cxn>
              <a:cxn ang="0">
                <a:pos x="478" y="722"/>
              </a:cxn>
              <a:cxn ang="0">
                <a:pos x="585" y="644"/>
              </a:cxn>
              <a:cxn ang="0">
                <a:pos x="498" y="634"/>
              </a:cxn>
              <a:cxn ang="0">
                <a:pos x="459" y="604"/>
              </a:cxn>
              <a:cxn ang="0">
                <a:pos x="488" y="556"/>
              </a:cxn>
              <a:cxn ang="0">
                <a:pos x="517" y="517"/>
              </a:cxn>
              <a:cxn ang="0">
                <a:pos x="556" y="458"/>
              </a:cxn>
              <a:cxn ang="0">
                <a:pos x="566" y="390"/>
              </a:cxn>
              <a:cxn ang="0">
                <a:pos x="634" y="448"/>
              </a:cxn>
              <a:cxn ang="0">
                <a:pos x="673" y="487"/>
              </a:cxn>
              <a:cxn ang="0">
                <a:pos x="732" y="497"/>
              </a:cxn>
              <a:cxn ang="0">
                <a:pos x="790" y="458"/>
              </a:cxn>
              <a:cxn ang="0">
                <a:pos x="790" y="400"/>
              </a:cxn>
              <a:cxn ang="0">
                <a:pos x="771" y="331"/>
              </a:cxn>
              <a:cxn ang="0">
                <a:pos x="742" y="263"/>
              </a:cxn>
              <a:cxn ang="0">
                <a:pos x="693" y="185"/>
              </a:cxn>
              <a:cxn ang="0">
                <a:pos x="673" y="185"/>
              </a:cxn>
              <a:cxn ang="0">
                <a:pos x="664" y="165"/>
              </a:cxn>
              <a:cxn ang="0">
                <a:pos x="654" y="107"/>
              </a:cxn>
              <a:cxn ang="0">
                <a:pos x="576" y="97"/>
              </a:cxn>
              <a:cxn ang="0">
                <a:pos x="498" y="78"/>
              </a:cxn>
              <a:cxn ang="0">
                <a:pos x="449" y="156"/>
              </a:cxn>
              <a:cxn ang="0">
                <a:pos x="420" y="156"/>
              </a:cxn>
              <a:cxn ang="0">
                <a:pos x="390" y="136"/>
              </a:cxn>
              <a:cxn ang="0">
                <a:pos x="361" y="87"/>
              </a:cxn>
              <a:cxn ang="0">
                <a:pos x="371" y="78"/>
              </a:cxn>
              <a:cxn ang="0">
                <a:pos x="371" y="9"/>
              </a:cxn>
              <a:cxn ang="0">
                <a:pos x="332" y="9"/>
              </a:cxn>
              <a:cxn ang="0">
                <a:pos x="303" y="48"/>
              </a:cxn>
              <a:cxn ang="0">
                <a:pos x="312" y="107"/>
              </a:cxn>
              <a:cxn ang="0">
                <a:pos x="264" y="126"/>
              </a:cxn>
              <a:cxn ang="0">
                <a:pos x="234" y="78"/>
              </a:cxn>
              <a:cxn ang="0">
                <a:pos x="186" y="58"/>
              </a:cxn>
              <a:cxn ang="0">
                <a:pos x="147" y="117"/>
              </a:cxn>
              <a:cxn ang="0">
                <a:pos x="156" y="185"/>
              </a:cxn>
              <a:cxn ang="0">
                <a:pos x="88" y="243"/>
              </a:cxn>
              <a:cxn ang="0">
                <a:pos x="20" y="302"/>
              </a:cxn>
              <a:cxn ang="0">
                <a:pos x="0" y="380"/>
              </a:cxn>
              <a:cxn ang="0">
                <a:pos x="49" y="439"/>
              </a:cxn>
              <a:cxn ang="0">
                <a:pos x="88" y="487"/>
              </a:cxn>
              <a:cxn ang="0">
                <a:pos x="127" y="517"/>
              </a:cxn>
              <a:cxn ang="0">
                <a:pos x="186" y="575"/>
              </a:cxn>
              <a:cxn ang="0">
                <a:pos x="225" y="595"/>
              </a:cxn>
              <a:cxn ang="0">
                <a:pos x="273" y="624"/>
              </a:cxn>
              <a:cxn ang="0">
                <a:pos x="303" y="663"/>
              </a:cxn>
              <a:cxn ang="0">
                <a:pos x="332" y="702"/>
              </a:cxn>
              <a:cxn ang="0">
                <a:pos x="381" y="751"/>
              </a:cxn>
            </a:cxnLst>
            <a:rect l="0" t="0" r="r" b="b"/>
            <a:pathLst>
              <a:path w="839" h="770">
                <a:moveTo>
                  <a:pt x="381" y="751"/>
                </a:moveTo>
                <a:lnTo>
                  <a:pt x="390" y="751"/>
                </a:lnTo>
                <a:lnTo>
                  <a:pt x="420" y="751"/>
                </a:lnTo>
                <a:lnTo>
                  <a:pt x="449" y="761"/>
                </a:lnTo>
                <a:lnTo>
                  <a:pt x="449" y="770"/>
                </a:lnTo>
                <a:lnTo>
                  <a:pt x="459" y="770"/>
                </a:lnTo>
                <a:lnTo>
                  <a:pt x="488" y="741"/>
                </a:lnTo>
                <a:lnTo>
                  <a:pt x="478" y="722"/>
                </a:lnTo>
                <a:lnTo>
                  <a:pt x="488" y="702"/>
                </a:lnTo>
                <a:lnTo>
                  <a:pt x="537" y="692"/>
                </a:lnTo>
                <a:lnTo>
                  <a:pt x="576" y="663"/>
                </a:lnTo>
                <a:lnTo>
                  <a:pt x="585" y="644"/>
                </a:lnTo>
                <a:lnTo>
                  <a:pt x="546" y="614"/>
                </a:lnTo>
                <a:lnTo>
                  <a:pt x="537" y="624"/>
                </a:lnTo>
                <a:lnTo>
                  <a:pt x="527" y="614"/>
                </a:lnTo>
                <a:lnTo>
                  <a:pt x="498" y="634"/>
                </a:lnTo>
                <a:lnTo>
                  <a:pt x="478" y="624"/>
                </a:lnTo>
                <a:lnTo>
                  <a:pt x="459" y="624"/>
                </a:lnTo>
                <a:lnTo>
                  <a:pt x="449" y="614"/>
                </a:lnTo>
                <a:lnTo>
                  <a:pt x="459" y="604"/>
                </a:lnTo>
                <a:lnTo>
                  <a:pt x="459" y="595"/>
                </a:lnTo>
                <a:lnTo>
                  <a:pt x="468" y="575"/>
                </a:lnTo>
                <a:lnTo>
                  <a:pt x="478" y="575"/>
                </a:lnTo>
                <a:lnTo>
                  <a:pt x="488" y="556"/>
                </a:lnTo>
                <a:lnTo>
                  <a:pt x="507" y="556"/>
                </a:lnTo>
                <a:lnTo>
                  <a:pt x="537" y="546"/>
                </a:lnTo>
                <a:lnTo>
                  <a:pt x="537" y="536"/>
                </a:lnTo>
                <a:lnTo>
                  <a:pt x="517" y="517"/>
                </a:lnTo>
                <a:lnTo>
                  <a:pt x="537" y="507"/>
                </a:lnTo>
                <a:lnTo>
                  <a:pt x="546" y="497"/>
                </a:lnTo>
                <a:lnTo>
                  <a:pt x="556" y="487"/>
                </a:lnTo>
                <a:lnTo>
                  <a:pt x="556" y="458"/>
                </a:lnTo>
                <a:lnTo>
                  <a:pt x="546" y="419"/>
                </a:lnTo>
                <a:lnTo>
                  <a:pt x="546" y="400"/>
                </a:lnTo>
                <a:lnTo>
                  <a:pt x="546" y="390"/>
                </a:lnTo>
                <a:lnTo>
                  <a:pt x="566" y="390"/>
                </a:lnTo>
                <a:lnTo>
                  <a:pt x="576" y="400"/>
                </a:lnTo>
                <a:lnTo>
                  <a:pt x="595" y="419"/>
                </a:lnTo>
                <a:lnTo>
                  <a:pt x="615" y="429"/>
                </a:lnTo>
                <a:lnTo>
                  <a:pt x="634" y="448"/>
                </a:lnTo>
                <a:lnTo>
                  <a:pt x="654" y="468"/>
                </a:lnTo>
                <a:lnTo>
                  <a:pt x="654" y="478"/>
                </a:lnTo>
                <a:lnTo>
                  <a:pt x="664" y="487"/>
                </a:lnTo>
                <a:lnTo>
                  <a:pt x="673" y="487"/>
                </a:lnTo>
                <a:lnTo>
                  <a:pt x="693" y="497"/>
                </a:lnTo>
                <a:lnTo>
                  <a:pt x="703" y="487"/>
                </a:lnTo>
                <a:lnTo>
                  <a:pt x="722" y="507"/>
                </a:lnTo>
                <a:lnTo>
                  <a:pt x="732" y="497"/>
                </a:lnTo>
                <a:lnTo>
                  <a:pt x="751" y="526"/>
                </a:lnTo>
                <a:lnTo>
                  <a:pt x="781" y="507"/>
                </a:lnTo>
                <a:lnTo>
                  <a:pt x="771" y="487"/>
                </a:lnTo>
                <a:lnTo>
                  <a:pt x="790" y="458"/>
                </a:lnTo>
                <a:lnTo>
                  <a:pt x="790" y="439"/>
                </a:lnTo>
                <a:lnTo>
                  <a:pt x="761" y="429"/>
                </a:lnTo>
                <a:lnTo>
                  <a:pt x="771" y="419"/>
                </a:lnTo>
                <a:lnTo>
                  <a:pt x="790" y="400"/>
                </a:lnTo>
                <a:lnTo>
                  <a:pt x="839" y="351"/>
                </a:lnTo>
                <a:lnTo>
                  <a:pt x="820" y="341"/>
                </a:lnTo>
                <a:lnTo>
                  <a:pt x="800" y="322"/>
                </a:lnTo>
                <a:lnTo>
                  <a:pt x="771" y="331"/>
                </a:lnTo>
                <a:lnTo>
                  <a:pt x="751" y="312"/>
                </a:lnTo>
                <a:lnTo>
                  <a:pt x="742" y="292"/>
                </a:lnTo>
                <a:lnTo>
                  <a:pt x="742" y="263"/>
                </a:lnTo>
                <a:lnTo>
                  <a:pt x="722" y="243"/>
                </a:lnTo>
                <a:lnTo>
                  <a:pt x="712" y="204"/>
                </a:lnTo>
                <a:lnTo>
                  <a:pt x="703" y="175"/>
                </a:lnTo>
                <a:lnTo>
                  <a:pt x="693" y="185"/>
                </a:lnTo>
                <a:lnTo>
                  <a:pt x="673" y="204"/>
                </a:lnTo>
                <a:lnTo>
                  <a:pt x="654" y="214"/>
                </a:lnTo>
                <a:lnTo>
                  <a:pt x="654" y="204"/>
                </a:lnTo>
                <a:lnTo>
                  <a:pt x="673" y="185"/>
                </a:lnTo>
                <a:lnTo>
                  <a:pt x="664" y="175"/>
                </a:lnTo>
                <a:lnTo>
                  <a:pt x="644" y="175"/>
                </a:lnTo>
                <a:lnTo>
                  <a:pt x="644" y="165"/>
                </a:lnTo>
                <a:lnTo>
                  <a:pt x="664" y="165"/>
                </a:lnTo>
                <a:lnTo>
                  <a:pt x="673" y="165"/>
                </a:lnTo>
                <a:lnTo>
                  <a:pt x="673" y="136"/>
                </a:lnTo>
                <a:lnTo>
                  <a:pt x="654" y="126"/>
                </a:lnTo>
                <a:lnTo>
                  <a:pt x="654" y="107"/>
                </a:lnTo>
                <a:lnTo>
                  <a:pt x="644" y="107"/>
                </a:lnTo>
                <a:lnTo>
                  <a:pt x="634" y="97"/>
                </a:lnTo>
                <a:lnTo>
                  <a:pt x="595" y="97"/>
                </a:lnTo>
                <a:lnTo>
                  <a:pt x="576" y="97"/>
                </a:lnTo>
                <a:lnTo>
                  <a:pt x="556" y="87"/>
                </a:lnTo>
                <a:lnTo>
                  <a:pt x="546" y="87"/>
                </a:lnTo>
                <a:lnTo>
                  <a:pt x="517" y="87"/>
                </a:lnTo>
                <a:lnTo>
                  <a:pt x="498" y="78"/>
                </a:lnTo>
                <a:lnTo>
                  <a:pt x="459" y="97"/>
                </a:lnTo>
                <a:lnTo>
                  <a:pt x="459" y="117"/>
                </a:lnTo>
                <a:lnTo>
                  <a:pt x="449" y="136"/>
                </a:lnTo>
                <a:lnTo>
                  <a:pt x="449" y="156"/>
                </a:lnTo>
                <a:lnTo>
                  <a:pt x="429" y="165"/>
                </a:lnTo>
                <a:lnTo>
                  <a:pt x="429" y="156"/>
                </a:lnTo>
                <a:lnTo>
                  <a:pt x="429" y="146"/>
                </a:lnTo>
                <a:lnTo>
                  <a:pt x="420" y="156"/>
                </a:lnTo>
                <a:lnTo>
                  <a:pt x="410" y="156"/>
                </a:lnTo>
                <a:lnTo>
                  <a:pt x="400" y="156"/>
                </a:lnTo>
                <a:lnTo>
                  <a:pt x="390" y="156"/>
                </a:lnTo>
                <a:lnTo>
                  <a:pt x="390" y="136"/>
                </a:lnTo>
                <a:lnTo>
                  <a:pt x="390" y="126"/>
                </a:lnTo>
                <a:lnTo>
                  <a:pt x="371" y="87"/>
                </a:lnTo>
                <a:lnTo>
                  <a:pt x="361" y="87"/>
                </a:lnTo>
                <a:lnTo>
                  <a:pt x="342" y="87"/>
                </a:lnTo>
                <a:lnTo>
                  <a:pt x="351" y="78"/>
                </a:lnTo>
                <a:lnTo>
                  <a:pt x="361" y="87"/>
                </a:lnTo>
                <a:lnTo>
                  <a:pt x="371" y="78"/>
                </a:lnTo>
                <a:lnTo>
                  <a:pt x="371" y="68"/>
                </a:lnTo>
                <a:lnTo>
                  <a:pt x="371" y="48"/>
                </a:lnTo>
                <a:lnTo>
                  <a:pt x="371" y="29"/>
                </a:lnTo>
                <a:lnTo>
                  <a:pt x="371" y="9"/>
                </a:lnTo>
                <a:lnTo>
                  <a:pt x="361" y="0"/>
                </a:lnTo>
                <a:lnTo>
                  <a:pt x="342" y="9"/>
                </a:lnTo>
                <a:lnTo>
                  <a:pt x="332" y="9"/>
                </a:lnTo>
                <a:lnTo>
                  <a:pt x="312" y="19"/>
                </a:lnTo>
                <a:lnTo>
                  <a:pt x="312" y="29"/>
                </a:lnTo>
                <a:lnTo>
                  <a:pt x="303" y="39"/>
                </a:lnTo>
                <a:lnTo>
                  <a:pt x="303" y="48"/>
                </a:lnTo>
                <a:lnTo>
                  <a:pt x="303" y="68"/>
                </a:lnTo>
                <a:lnTo>
                  <a:pt x="312" y="78"/>
                </a:lnTo>
                <a:lnTo>
                  <a:pt x="322" y="87"/>
                </a:lnTo>
                <a:lnTo>
                  <a:pt x="312" y="107"/>
                </a:lnTo>
                <a:lnTo>
                  <a:pt x="293" y="107"/>
                </a:lnTo>
                <a:lnTo>
                  <a:pt x="293" y="126"/>
                </a:lnTo>
                <a:lnTo>
                  <a:pt x="283" y="126"/>
                </a:lnTo>
                <a:lnTo>
                  <a:pt x="264" y="126"/>
                </a:lnTo>
                <a:lnTo>
                  <a:pt x="244" y="117"/>
                </a:lnTo>
                <a:lnTo>
                  <a:pt x="244" y="107"/>
                </a:lnTo>
                <a:lnTo>
                  <a:pt x="244" y="87"/>
                </a:lnTo>
                <a:lnTo>
                  <a:pt x="234" y="78"/>
                </a:lnTo>
                <a:lnTo>
                  <a:pt x="225" y="78"/>
                </a:lnTo>
                <a:lnTo>
                  <a:pt x="205" y="78"/>
                </a:lnTo>
                <a:lnTo>
                  <a:pt x="186" y="58"/>
                </a:lnTo>
                <a:lnTo>
                  <a:pt x="166" y="78"/>
                </a:lnTo>
                <a:lnTo>
                  <a:pt x="176" y="87"/>
                </a:lnTo>
                <a:lnTo>
                  <a:pt x="156" y="107"/>
                </a:lnTo>
                <a:lnTo>
                  <a:pt x="147" y="117"/>
                </a:lnTo>
                <a:lnTo>
                  <a:pt x="137" y="136"/>
                </a:lnTo>
                <a:lnTo>
                  <a:pt x="137" y="156"/>
                </a:lnTo>
                <a:lnTo>
                  <a:pt x="147" y="175"/>
                </a:lnTo>
                <a:lnTo>
                  <a:pt x="156" y="185"/>
                </a:lnTo>
                <a:lnTo>
                  <a:pt x="156" y="204"/>
                </a:lnTo>
                <a:lnTo>
                  <a:pt x="137" y="214"/>
                </a:lnTo>
                <a:lnTo>
                  <a:pt x="98" y="243"/>
                </a:lnTo>
                <a:lnTo>
                  <a:pt x="88" y="243"/>
                </a:lnTo>
                <a:lnTo>
                  <a:pt x="88" y="263"/>
                </a:lnTo>
                <a:lnTo>
                  <a:pt x="49" y="273"/>
                </a:lnTo>
                <a:lnTo>
                  <a:pt x="29" y="292"/>
                </a:lnTo>
                <a:lnTo>
                  <a:pt x="20" y="302"/>
                </a:lnTo>
                <a:lnTo>
                  <a:pt x="20" y="322"/>
                </a:lnTo>
                <a:lnTo>
                  <a:pt x="0" y="331"/>
                </a:lnTo>
                <a:lnTo>
                  <a:pt x="0" y="361"/>
                </a:lnTo>
                <a:lnTo>
                  <a:pt x="0" y="380"/>
                </a:lnTo>
                <a:lnTo>
                  <a:pt x="10" y="400"/>
                </a:lnTo>
                <a:lnTo>
                  <a:pt x="20" y="409"/>
                </a:lnTo>
                <a:lnTo>
                  <a:pt x="29" y="439"/>
                </a:lnTo>
                <a:lnTo>
                  <a:pt x="49" y="439"/>
                </a:lnTo>
                <a:lnTo>
                  <a:pt x="59" y="448"/>
                </a:lnTo>
                <a:lnTo>
                  <a:pt x="69" y="458"/>
                </a:lnTo>
                <a:lnTo>
                  <a:pt x="78" y="487"/>
                </a:lnTo>
                <a:lnTo>
                  <a:pt x="88" y="487"/>
                </a:lnTo>
                <a:lnTo>
                  <a:pt x="108" y="487"/>
                </a:lnTo>
                <a:lnTo>
                  <a:pt x="127" y="497"/>
                </a:lnTo>
                <a:lnTo>
                  <a:pt x="137" y="507"/>
                </a:lnTo>
                <a:lnTo>
                  <a:pt x="127" y="517"/>
                </a:lnTo>
                <a:lnTo>
                  <a:pt x="137" y="526"/>
                </a:lnTo>
                <a:lnTo>
                  <a:pt x="147" y="536"/>
                </a:lnTo>
                <a:lnTo>
                  <a:pt x="156" y="556"/>
                </a:lnTo>
                <a:lnTo>
                  <a:pt x="186" y="575"/>
                </a:lnTo>
                <a:lnTo>
                  <a:pt x="205" y="575"/>
                </a:lnTo>
                <a:lnTo>
                  <a:pt x="215" y="575"/>
                </a:lnTo>
                <a:lnTo>
                  <a:pt x="234" y="585"/>
                </a:lnTo>
                <a:lnTo>
                  <a:pt x="225" y="595"/>
                </a:lnTo>
                <a:lnTo>
                  <a:pt x="234" y="604"/>
                </a:lnTo>
                <a:lnTo>
                  <a:pt x="244" y="624"/>
                </a:lnTo>
                <a:lnTo>
                  <a:pt x="254" y="634"/>
                </a:lnTo>
                <a:lnTo>
                  <a:pt x="273" y="624"/>
                </a:lnTo>
                <a:lnTo>
                  <a:pt x="293" y="614"/>
                </a:lnTo>
                <a:lnTo>
                  <a:pt x="303" y="634"/>
                </a:lnTo>
                <a:lnTo>
                  <a:pt x="293" y="644"/>
                </a:lnTo>
                <a:lnTo>
                  <a:pt x="303" y="663"/>
                </a:lnTo>
                <a:lnTo>
                  <a:pt x="312" y="673"/>
                </a:lnTo>
                <a:lnTo>
                  <a:pt x="322" y="673"/>
                </a:lnTo>
                <a:lnTo>
                  <a:pt x="332" y="683"/>
                </a:lnTo>
                <a:lnTo>
                  <a:pt x="332" y="702"/>
                </a:lnTo>
                <a:lnTo>
                  <a:pt x="351" y="692"/>
                </a:lnTo>
                <a:lnTo>
                  <a:pt x="381" y="722"/>
                </a:lnTo>
                <a:lnTo>
                  <a:pt x="351" y="741"/>
                </a:lnTo>
                <a:lnTo>
                  <a:pt x="381" y="75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en-US" sz="1100">
              <a:latin typeface="Polo" pitchFamily="2" charset="0"/>
              <a:cs typeface="+mn-cs"/>
            </a:endParaRPr>
          </a:p>
        </p:txBody>
      </p:sp>
      <p:sp>
        <p:nvSpPr>
          <p:cNvPr id="201" name="Freeform 168"/>
          <p:cNvSpPr>
            <a:spLocks/>
          </p:cNvSpPr>
          <p:nvPr>
            <p:custDataLst>
              <p:tags r:id="rId149"/>
            </p:custDataLst>
          </p:nvPr>
        </p:nvSpPr>
        <p:spPr bwMode="auto">
          <a:xfrm>
            <a:off x="2455863" y="4038600"/>
            <a:ext cx="168275" cy="169863"/>
          </a:xfrm>
          <a:custGeom>
            <a:avLst/>
            <a:gdLst/>
            <a:ahLst/>
            <a:cxnLst>
              <a:cxn ang="0">
                <a:pos x="195" y="264"/>
              </a:cxn>
              <a:cxn ang="0">
                <a:pos x="175" y="254"/>
              </a:cxn>
              <a:cxn ang="0">
                <a:pos x="156" y="225"/>
              </a:cxn>
              <a:cxn ang="0">
                <a:pos x="136" y="205"/>
              </a:cxn>
              <a:cxn ang="0">
                <a:pos x="117" y="205"/>
              </a:cxn>
              <a:cxn ang="0">
                <a:pos x="97" y="186"/>
              </a:cxn>
              <a:cxn ang="0">
                <a:pos x="68" y="176"/>
              </a:cxn>
              <a:cxn ang="0">
                <a:pos x="68" y="156"/>
              </a:cxn>
              <a:cxn ang="0">
                <a:pos x="58" y="156"/>
              </a:cxn>
              <a:cxn ang="0">
                <a:pos x="39" y="156"/>
              </a:cxn>
              <a:cxn ang="0">
                <a:pos x="29" y="137"/>
              </a:cxn>
              <a:cxn ang="0">
                <a:pos x="29" y="137"/>
              </a:cxn>
              <a:cxn ang="0">
                <a:pos x="19" y="127"/>
              </a:cxn>
              <a:cxn ang="0">
                <a:pos x="19" y="117"/>
              </a:cxn>
              <a:cxn ang="0">
                <a:pos x="29" y="117"/>
              </a:cxn>
              <a:cxn ang="0">
                <a:pos x="29" y="98"/>
              </a:cxn>
              <a:cxn ang="0">
                <a:pos x="29" y="88"/>
              </a:cxn>
              <a:cxn ang="0">
                <a:pos x="19" y="78"/>
              </a:cxn>
              <a:cxn ang="0">
                <a:pos x="19" y="69"/>
              </a:cxn>
              <a:cxn ang="0">
                <a:pos x="10" y="59"/>
              </a:cxn>
              <a:cxn ang="0">
                <a:pos x="0" y="39"/>
              </a:cxn>
              <a:cxn ang="0">
                <a:pos x="0" y="39"/>
              </a:cxn>
              <a:cxn ang="0">
                <a:pos x="10" y="39"/>
              </a:cxn>
              <a:cxn ang="0">
                <a:pos x="19" y="39"/>
              </a:cxn>
              <a:cxn ang="0">
                <a:pos x="29" y="30"/>
              </a:cxn>
              <a:cxn ang="0">
                <a:pos x="39" y="20"/>
              </a:cxn>
              <a:cxn ang="0">
                <a:pos x="49" y="30"/>
              </a:cxn>
              <a:cxn ang="0">
                <a:pos x="58" y="39"/>
              </a:cxn>
              <a:cxn ang="0">
                <a:pos x="68" y="30"/>
              </a:cxn>
              <a:cxn ang="0">
                <a:pos x="68" y="10"/>
              </a:cxn>
              <a:cxn ang="0">
                <a:pos x="68" y="0"/>
              </a:cxn>
              <a:cxn ang="0">
                <a:pos x="107" y="10"/>
              </a:cxn>
              <a:cxn ang="0">
                <a:pos x="117" y="10"/>
              </a:cxn>
              <a:cxn ang="0">
                <a:pos x="127" y="10"/>
              </a:cxn>
              <a:cxn ang="0">
                <a:pos x="136" y="10"/>
              </a:cxn>
              <a:cxn ang="0">
                <a:pos x="136" y="10"/>
              </a:cxn>
              <a:cxn ang="0">
                <a:pos x="156" y="30"/>
              </a:cxn>
              <a:cxn ang="0">
                <a:pos x="175" y="39"/>
              </a:cxn>
              <a:cxn ang="0">
                <a:pos x="166" y="49"/>
              </a:cxn>
              <a:cxn ang="0">
                <a:pos x="156" y="59"/>
              </a:cxn>
              <a:cxn ang="0">
                <a:pos x="156" y="59"/>
              </a:cxn>
              <a:cxn ang="0">
                <a:pos x="175" y="69"/>
              </a:cxn>
              <a:cxn ang="0">
                <a:pos x="195" y="78"/>
              </a:cxn>
              <a:cxn ang="0">
                <a:pos x="195" y="108"/>
              </a:cxn>
              <a:cxn ang="0">
                <a:pos x="205" y="127"/>
              </a:cxn>
              <a:cxn ang="0">
                <a:pos x="205" y="156"/>
              </a:cxn>
              <a:cxn ang="0">
                <a:pos x="205" y="176"/>
              </a:cxn>
              <a:cxn ang="0">
                <a:pos x="205" y="156"/>
              </a:cxn>
              <a:cxn ang="0">
                <a:pos x="205" y="176"/>
              </a:cxn>
              <a:cxn ang="0">
                <a:pos x="224" y="186"/>
              </a:cxn>
              <a:cxn ang="0">
                <a:pos x="224" y="205"/>
              </a:cxn>
              <a:cxn ang="0">
                <a:pos x="224" y="205"/>
              </a:cxn>
              <a:cxn ang="0">
                <a:pos x="253" y="215"/>
              </a:cxn>
              <a:cxn ang="0">
                <a:pos x="253" y="225"/>
              </a:cxn>
              <a:cxn ang="0">
                <a:pos x="244" y="234"/>
              </a:cxn>
              <a:cxn ang="0">
                <a:pos x="244" y="254"/>
              </a:cxn>
              <a:cxn ang="0">
                <a:pos x="234" y="244"/>
              </a:cxn>
              <a:cxn ang="0">
                <a:pos x="224" y="234"/>
              </a:cxn>
              <a:cxn ang="0">
                <a:pos x="214" y="244"/>
              </a:cxn>
              <a:cxn ang="0">
                <a:pos x="205" y="264"/>
              </a:cxn>
              <a:cxn ang="0">
                <a:pos x="195" y="274"/>
              </a:cxn>
              <a:cxn ang="0">
                <a:pos x="195" y="264"/>
              </a:cxn>
            </a:cxnLst>
            <a:rect l="0" t="0" r="r" b="b"/>
            <a:pathLst>
              <a:path w="253" h="274">
                <a:moveTo>
                  <a:pt x="195" y="264"/>
                </a:moveTo>
                <a:lnTo>
                  <a:pt x="175" y="254"/>
                </a:lnTo>
                <a:lnTo>
                  <a:pt x="156" y="225"/>
                </a:lnTo>
                <a:lnTo>
                  <a:pt x="136" y="205"/>
                </a:lnTo>
                <a:lnTo>
                  <a:pt x="117" y="205"/>
                </a:lnTo>
                <a:lnTo>
                  <a:pt x="97" y="186"/>
                </a:lnTo>
                <a:lnTo>
                  <a:pt x="68" y="176"/>
                </a:lnTo>
                <a:lnTo>
                  <a:pt x="68" y="156"/>
                </a:lnTo>
                <a:lnTo>
                  <a:pt x="58" y="156"/>
                </a:lnTo>
                <a:lnTo>
                  <a:pt x="39" y="156"/>
                </a:lnTo>
                <a:lnTo>
                  <a:pt x="29" y="137"/>
                </a:lnTo>
                <a:lnTo>
                  <a:pt x="19" y="127"/>
                </a:lnTo>
                <a:lnTo>
                  <a:pt x="19" y="117"/>
                </a:lnTo>
                <a:lnTo>
                  <a:pt x="29" y="117"/>
                </a:lnTo>
                <a:lnTo>
                  <a:pt x="29" y="98"/>
                </a:lnTo>
                <a:lnTo>
                  <a:pt x="29" y="88"/>
                </a:lnTo>
                <a:lnTo>
                  <a:pt x="19" y="78"/>
                </a:lnTo>
                <a:lnTo>
                  <a:pt x="19" y="69"/>
                </a:lnTo>
                <a:lnTo>
                  <a:pt x="10" y="59"/>
                </a:lnTo>
                <a:lnTo>
                  <a:pt x="0" y="39"/>
                </a:lnTo>
                <a:lnTo>
                  <a:pt x="10" y="39"/>
                </a:lnTo>
                <a:lnTo>
                  <a:pt x="19" y="39"/>
                </a:lnTo>
                <a:lnTo>
                  <a:pt x="29" y="30"/>
                </a:lnTo>
                <a:lnTo>
                  <a:pt x="39" y="20"/>
                </a:lnTo>
                <a:lnTo>
                  <a:pt x="49" y="30"/>
                </a:lnTo>
                <a:lnTo>
                  <a:pt x="58" y="39"/>
                </a:lnTo>
                <a:lnTo>
                  <a:pt x="68" y="30"/>
                </a:lnTo>
                <a:lnTo>
                  <a:pt x="68" y="10"/>
                </a:lnTo>
                <a:lnTo>
                  <a:pt x="68" y="0"/>
                </a:lnTo>
                <a:lnTo>
                  <a:pt x="107" y="10"/>
                </a:lnTo>
                <a:lnTo>
                  <a:pt x="117" y="10"/>
                </a:lnTo>
                <a:lnTo>
                  <a:pt x="127" y="10"/>
                </a:lnTo>
                <a:lnTo>
                  <a:pt x="136" y="10"/>
                </a:lnTo>
                <a:lnTo>
                  <a:pt x="156" y="30"/>
                </a:lnTo>
                <a:lnTo>
                  <a:pt x="175" y="39"/>
                </a:lnTo>
                <a:lnTo>
                  <a:pt x="166" y="49"/>
                </a:lnTo>
                <a:lnTo>
                  <a:pt x="156" y="59"/>
                </a:lnTo>
                <a:lnTo>
                  <a:pt x="175" y="69"/>
                </a:lnTo>
                <a:lnTo>
                  <a:pt x="195" y="78"/>
                </a:lnTo>
                <a:lnTo>
                  <a:pt x="195" y="108"/>
                </a:lnTo>
                <a:lnTo>
                  <a:pt x="205" y="127"/>
                </a:lnTo>
                <a:lnTo>
                  <a:pt x="205" y="156"/>
                </a:lnTo>
                <a:lnTo>
                  <a:pt x="205" y="176"/>
                </a:lnTo>
                <a:lnTo>
                  <a:pt x="205" y="156"/>
                </a:lnTo>
                <a:lnTo>
                  <a:pt x="205" y="176"/>
                </a:lnTo>
                <a:lnTo>
                  <a:pt x="224" y="186"/>
                </a:lnTo>
                <a:lnTo>
                  <a:pt x="224" y="205"/>
                </a:lnTo>
                <a:lnTo>
                  <a:pt x="253" y="215"/>
                </a:lnTo>
                <a:lnTo>
                  <a:pt x="253" y="225"/>
                </a:lnTo>
                <a:lnTo>
                  <a:pt x="244" y="234"/>
                </a:lnTo>
                <a:lnTo>
                  <a:pt x="244" y="254"/>
                </a:lnTo>
                <a:lnTo>
                  <a:pt x="234" y="244"/>
                </a:lnTo>
                <a:lnTo>
                  <a:pt x="224" y="234"/>
                </a:lnTo>
                <a:lnTo>
                  <a:pt x="214" y="244"/>
                </a:lnTo>
                <a:lnTo>
                  <a:pt x="205" y="264"/>
                </a:lnTo>
                <a:lnTo>
                  <a:pt x="195" y="274"/>
                </a:lnTo>
                <a:lnTo>
                  <a:pt x="195" y="2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en-US" sz="1100">
              <a:latin typeface="Polo" pitchFamily="2" charset="0"/>
              <a:cs typeface="+mn-cs"/>
            </a:endParaRPr>
          </a:p>
        </p:txBody>
      </p:sp>
      <p:sp>
        <p:nvSpPr>
          <p:cNvPr id="202" name="Freeform 167"/>
          <p:cNvSpPr>
            <a:spLocks/>
          </p:cNvSpPr>
          <p:nvPr>
            <p:custDataLst>
              <p:tags r:id="rId150"/>
            </p:custDataLst>
          </p:nvPr>
        </p:nvSpPr>
        <p:spPr bwMode="auto">
          <a:xfrm>
            <a:off x="2436813" y="4124325"/>
            <a:ext cx="150812" cy="180975"/>
          </a:xfrm>
          <a:custGeom>
            <a:avLst/>
            <a:gdLst/>
            <a:ahLst/>
            <a:cxnLst>
              <a:cxn ang="0">
                <a:pos x="137" y="283"/>
              </a:cxn>
              <a:cxn ang="0">
                <a:pos x="147" y="263"/>
              </a:cxn>
              <a:cxn ang="0">
                <a:pos x="166" y="244"/>
              </a:cxn>
              <a:cxn ang="0">
                <a:pos x="186" y="244"/>
              </a:cxn>
              <a:cxn ang="0">
                <a:pos x="186" y="224"/>
              </a:cxn>
              <a:cxn ang="0">
                <a:pos x="186" y="215"/>
              </a:cxn>
              <a:cxn ang="0">
                <a:pos x="186" y="205"/>
              </a:cxn>
              <a:cxn ang="0">
                <a:pos x="186" y="205"/>
              </a:cxn>
              <a:cxn ang="0">
                <a:pos x="196" y="205"/>
              </a:cxn>
              <a:cxn ang="0">
                <a:pos x="205" y="195"/>
              </a:cxn>
              <a:cxn ang="0">
                <a:pos x="215" y="185"/>
              </a:cxn>
              <a:cxn ang="0">
                <a:pos x="215" y="176"/>
              </a:cxn>
              <a:cxn ang="0">
                <a:pos x="205" y="166"/>
              </a:cxn>
              <a:cxn ang="0">
                <a:pos x="215" y="156"/>
              </a:cxn>
              <a:cxn ang="0">
                <a:pos x="225" y="156"/>
              </a:cxn>
              <a:cxn ang="0">
                <a:pos x="225" y="137"/>
              </a:cxn>
              <a:cxn ang="0">
                <a:pos x="225" y="127"/>
              </a:cxn>
              <a:cxn ang="0">
                <a:pos x="215" y="117"/>
              </a:cxn>
              <a:cxn ang="0">
                <a:pos x="186" y="88"/>
              </a:cxn>
              <a:cxn ang="0">
                <a:pos x="166" y="78"/>
              </a:cxn>
              <a:cxn ang="0">
                <a:pos x="147" y="68"/>
              </a:cxn>
              <a:cxn ang="0">
                <a:pos x="127" y="58"/>
              </a:cxn>
              <a:cxn ang="0">
                <a:pos x="108" y="39"/>
              </a:cxn>
              <a:cxn ang="0">
                <a:pos x="98" y="19"/>
              </a:cxn>
              <a:cxn ang="0">
                <a:pos x="88" y="19"/>
              </a:cxn>
              <a:cxn ang="0">
                <a:pos x="79" y="19"/>
              </a:cxn>
              <a:cxn ang="0">
                <a:pos x="69" y="0"/>
              </a:cxn>
              <a:cxn ang="0">
                <a:pos x="59" y="0"/>
              </a:cxn>
              <a:cxn ang="0">
                <a:pos x="49" y="0"/>
              </a:cxn>
              <a:cxn ang="0">
                <a:pos x="40" y="10"/>
              </a:cxn>
              <a:cxn ang="0">
                <a:pos x="40" y="19"/>
              </a:cxn>
              <a:cxn ang="0">
                <a:pos x="10" y="19"/>
              </a:cxn>
              <a:cxn ang="0">
                <a:pos x="0" y="49"/>
              </a:cxn>
              <a:cxn ang="0">
                <a:pos x="0" y="58"/>
              </a:cxn>
              <a:cxn ang="0">
                <a:pos x="20" y="58"/>
              </a:cxn>
              <a:cxn ang="0">
                <a:pos x="30" y="68"/>
              </a:cxn>
              <a:cxn ang="0">
                <a:pos x="30" y="88"/>
              </a:cxn>
              <a:cxn ang="0">
                <a:pos x="30" y="117"/>
              </a:cxn>
              <a:cxn ang="0">
                <a:pos x="49" y="127"/>
              </a:cxn>
              <a:cxn ang="0">
                <a:pos x="59" y="127"/>
              </a:cxn>
              <a:cxn ang="0">
                <a:pos x="79" y="146"/>
              </a:cxn>
              <a:cxn ang="0">
                <a:pos x="88" y="146"/>
              </a:cxn>
              <a:cxn ang="0">
                <a:pos x="88" y="156"/>
              </a:cxn>
              <a:cxn ang="0">
                <a:pos x="79" y="166"/>
              </a:cxn>
              <a:cxn ang="0">
                <a:pos x="79" y="185"/>
              </a:cxn>
              <a:cxn ang="0">
                <a:pos x="69" y="205"/>
              </a:cxn>
              <a:cxn ang="0">
                <a:pos x="79" y="224"/>
              </a:cxn>
              <a:cxn ang="0">
                <a:pos x="88" y="234"/>
              </a:cxn>
              <a:cxn ang="0">
                <a:pos x="98" y="224"/>
              </a:cxn>
              <a:cxn ang="0">
                <a:pos x="98" y="234"/>
              </a:cxn>
              <a:cxn ang="0">
                <a:pos x="108" y="254"/>
              </a:cxn>
              <a:cxn ang="0">
                <a:pos x="108" y="283"/>
              </a:cxn>
              <a:cxn ang="0">
                <a:pos x="108" y="293"/>
              </a:cxn>
              <a:cxn ang="0">
                <a:pos x="127" y="283"/>
              </a:cxn>
              <a:cxn ang="0">
                <a:pos x="137" y="283"/>
              </a:cxn>
            </a:cxnLst>
            <a:rect l="0" t="0" r="r" b="b"/>
            <a:pathLst>
              <a:path w="225" h="293">
                <a:moveTo>
                  <a:pt x="137" y="283"/>
                </a:moveTo>
                <a:lnTo>
                  <a:pt x="147" y="263"/>
                </a:lnTo>
                <a:lnTo>
                  <a:pt x="166" y="244"/>
                </a:lnTo>
                <a:lnTo>
                  <a:pt x="186" y="244"/>
                </a:lnTo>
                <a:lnTo>
                  <a:pt x="186" y="224"/>
                </a:lnTo>
                <a:lnTo>
                  <a:pt x="186" y="215"/>
                </a:lnTo>
                <a:lnTo>
                  <a:pt x="186" y="205"/>
                </a:lnTo>
                <a:lnTo>
                  <a:pt x="196" y="205"/>
                </a:lnTo>
                <a:lnTo>
                  <a:pt x="205" y="195"/>
                </a:lnTo>
                <a:lnTo>
                  <a:pt x="215" y="185"/>
                </a:lnTo>
                <a:lnTo>
                  <a:pt x="215" y="176"/>
                </a:lnTo>
                <a:lnTo>
                  <a:pt x="205" y="166"/>
                </a:lnTo>
                <a:lnTo>
                  <a:pt x="215" y="156"/>
                </a:lnTo>
                <a:lnTo>
                  <a:pt x="225" y="156"/>
                </a:lnTo>
                <a:lnTo>
                  <a:pt x="225" y="137"/>
                </a:lnTo>
                <a:lnTo>
                  <a:pt x="225" y="127"/>
                </a:lnTo>
                <a:lnTo>
                  <a:pt x="215" y="117"/>
                </a:lnTo>
                <a:lnTo>
                  <a:pt x="186" y="88"/>
                </a:lnTo>
                <a:lnTo>
                  <a:pt x="166" y="78"/>
                </a:lnTo>
                <a:lnTo>
                  <a:pt x="147" y="68"/>
                </a:lnTo>
                <a:lnTo>
                  <a:pt x="127" y="58"/>
                </a:lnTo>
                <a:lnTo>
                  <a:pt x="108" y="39"/>
                </a:lnTo>
                <a:lnTo>
                  <a:pt x="98" y="19"/>
                </a:lnTo>
                <a:lnTo>
                  <a:pt x="88" y="19"/>
                </a:lnTo>
                <a:lnTo>
                  <a:pt x="79" y="19"/>
                </a:lnTo>
                <a:lnTo>
                  <a:pt x="69" y="0"/>
                </a:lnTo>
                <a:lnTo>
                  <a:pt x="59" y="0"/>
                </a:lnTo>
                <a:lnTo>
                  <a:pt x="49" y="0"/>
                </a:lnTo>
                <a:lnTo>
                  <a:pt x="40" y="10"/>
                </a:lnTo>
                <a:lnTo>
                  <a:pt x="40" y="19"/>
                </a:lnTo>
                <a:lnTo>
                  <a:pt x="10" y="19"/>
                </a:lnTo>
                <a:lnTo>
                  <a:pt x="0" y="49"/>
                </a:lnTo>
                <a:lnTo>
                  <a:pt x="0" y="58"/>
                </a:lnTo>
                <a:lnTo>
                  <a:pt x="20" y="58"/>
                </a:lnTo>
                <a:lnTo>
                  <a:pt x="30" y="68"/>
                </a:lnTo>
                <a:lnTo>
                  <a:pt x="30" y="88"/>
                </a:lnTo>
                <a:lnTo>
                  <a:pt x="30" y="117"/>
                </a:lnTo>
                <a:lnTo>
                  <a:pt x="49" y="127"/>
                </a:lnTo>
                <a:lnTo>
                  <a:pt x="59" y="127"/>
                </a:lnTo>
                <a:lnTo>
                  <a:pt x="79" y="146"/>
                </a:lnTo>
                <a:lnTo>
                  <a:pt x="88" y="146"/>
                </a:lnTo>
                <a:lnTo>
                  <a:pt x="88" y="156"/>
                </a:lnTo>
                <a:lnTo>
                  <a:pt x="79" y="166"/>
                </a:lnTo>
                <a:lnTo>
                  <a:pt x="79" y="185"/>
                </a:lnTo>
                <a:lnTo>
                  <a:pt x="69" y="205"/>
                </a:lnTo>
                <a:lnTo>
                  <a:pt x="79" y="224"/>
                </a:lnTo>
                <a:lnTo>
                  <a:pt x="88" y="234"/>
                </a:lnTo>
                <a:lnTo>
                  <a:pt x="98" y="224"/>
                </a:lnTo>
                <a:lnTo>
                  <a:pt x="98" y="234"/>
                </a:lnTo>
                <a:lnTo>
                  <a:pt x="108" y="254"/>
                </a:lnTo>
                <a:lnTo>
                  <a:pt x="108" y="283"/>
                </a:lnTo>
                <a:lnTo>
                  <a:pt x="108" y="293"/>
                </a:lnTo>
                <a:lnTo>
                  <a:pt x="127" y="283"/>
                </a:lnTo>
                <a:lnTo>
                  <a:pt x="137" y="28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en-US" sz="1100">
              <a:latin typeface="Polo" pitchFamily="2" charset="0"/>
              <a:cs typeface="+mn-cs"/>
            </a:endParaRPr>
          </a:p>
        </p:txBody>
      </p:sp>
      <p:sp>
        <p:nvSpPr>
          <p:cNvPr id="18585" name="Freeform 166"/>
          <p:cNvSpPr>
            <a:spLocks noChangeAspect="1"/>
          </p:cNvSpPr>
          <p:nvPr>
            <p:custDataLst>
              <p:tags r:id="rId151"/>
            </p:custDataLst>
          </p:nvPr>
        </p:nvSpPr>
        <p:spPr bwMode="auto">
          <a:xfrm>
            <a:off x="2541588" y="4008438"/>
            <a:ext cx="136525" cy="144462"/>
          </a:xfrm>
          <a:custGeom>
            <a:avLst/>
            <a:gdLst>
              <a:gd name="T0" fmla="*/ 117117 w 204"/>
              <a:gd name="T1" fmla="*/ 48154 h 234"/>
              <a:gd name="T2" fmla="*/ 110425 w 204"/>
              <a:gd name="T3" fmla="*/ 59884 h 234"/>
              <a:gd name="T4" fmla="*/ 117117 w 204"/>
              <a:gd name="T5" fmla="*/ 77788 h 234"/>
              <a:gd name="T6" fmla="*/ 130502 w 204"/>
              <a:gd name="T7" fmla="*/ 83961 h 234"/>
              <a:gd name="T8" fmla="*/ 130502 w 204"/>
              <a:gd name="T9" fmla="*/ 90135 h 234"/>
              <a:gd name="T10" fmla="*/ 130502 w 204"/>
              <a:gd name="T11" fmla="*/ 96309 h 234"/>
              <a:gd name="T12" fmla="*/ 136525 w 204"/>
              <a:gd name="T13" fmla="*/ 108039 h 234"/>
              <a:gd name="T14" fmla="*/ 123809 w 204"/>
              <a:gd name="T15" fmla="*/ 114212 h 234"/>
              <a:gd name="T16" fmla="*/ 110425 w 204"/>
              <a:gd name="T17" fmla="*/ 120386 h 234"/>
              <a:gd name="T18" fmla="*/ 97709 w 204"/>
              <a:gd name="T19" fmla="*/ 120386 h 234"/>
              <a:gd name="T20" fmla="*/ 97709 w 204"/>
              <a:gd name="T21" fmla="*/ 125942 h 234"/>
              <a:gd name="T22" fmla="*/ 104401 w 204"/>
              <a:gd name="T23" fmla="*/ 132116 h 234"/>
              <a:gd name="T24" fmla="*/ 97709 w 204"/>
              <a:gd name="T25" fmla="*/ 138289 h 234"/>
              <a:gd name="T26" fmla="*/ 91017 w 204"/>
              <a:gd name="T27" fmla="*/ 144463 h 234"/>
              <a:gd name="T28" fmla="*/ 78301 w 204"/>
              <a:gd name="T29" fmla="*/ 144463 h 234"/>
              <a:gd name="T30" fmla="*/ 64916 w 204"/>
              <a:gd name="T31" fmla="*/ 144463 h 234"/>
              <a:gd name="T32" fmla="*/ 52201 w 204"/>
              <a:gd name="T33" fmla="*/ 138289 h 234"/>
              <a:gd name="T34" fmla="*/ 58224 w 204"/>
              <a:gd name="T35" fmla="*/ 125942 h 234"/>
              <a:gd name="T36" fmla="*/ 52201 w 204"/>
              <a:gd name="T37" fmla="*/ 138289 h 234"/>
              <a:gd name="T38" fmla="*/ 58224 w 204"/>
              <a:gd name="T39" fmla="*/ 125942 h 234"/>
              <a:gd name="T40" fmla="*/ 52201 w 204"/>
              <a:gd name="T41" fmla="*/ 108039 h 234"/>
              <a:gd name="T42" fmla="*/ 45508 w 204"/>
              <a:gd name="T43" fmla="*/ 96309 h 234"/>
              <a:gd name="T44" fmla="*/ 45508 w 204"/>
              <a:gd name="T45" fmla="*/ 77788 h 234"/>
              <a:gd name="T46" fmla="*/ 32124 w 204"/>
              <a:gd name="T47" fmla="*/ 72232 h 234"/>
              <a:gd name="T48" fmla="*/ 19408 w 204"/>
              <a:gd name="T49" fmla="*/ 66058 h 234"/>
              <a:gd name="T50" fmla="*/ 19408 w 204"/>
              <a:gd name="T51" fmla="*/ 66058 h 234"/>
              <a:gd name="T52" fmla="*/ 26100 w 204"/>
              <a:gd name="T53" fmla="*/ 59884 h 234"/>
              <a:gd name="T54" fmla="*/ 32124 w 204"/>
              <a:gd name="T55" fmla="*/ 53711 h 234"/>
              <a:gd name="T56" fmla="*/ 19408 w 204"/>
              <a:gd name="T57" fmla="*/ 48154 h 234"/>
              <a:gd name="T58" fmla="*/ 6023 w 204"/>
              <a:gd name="T59" fmla="*/ 41981 h 234"/>
              <a:gd name="T60" fmla="*/ 6023 w 204"/>
              <a:gd name="T61" fmla="*/ 35807 h 234"/>
              <a:gd name="T62" fmla="*/ 0 w 204"/>
              <a:gd name="T63" fmla="*/ 29633 h 234"/>
              <a:gd name="T64" fmla="*/ 0 w 204"/>
              <a:gd name="T65" fmla="*/ 24077 h 234"/>
              <a:gd name="T66" fmla="*/ 12716 w 204"/>
              <a:gd name="T67" fmla="*/ 24077 h 234"/>
              <a:gd name="T68" fmla="*/ 19408 w 204"/>
              <a:gd name="T69" fmla="*/ 24077 h 234"/>
              <a:gd name="T70" fmla="*/ 32124 w 204"/>
              <a:gd name="T71" fmla="*/ 24077 h 234"/>
              <a:gd name="T72" fmla="*/ 32124 w 204"/>
              <a:gd name="T73" fmla="*/ 17904 h 234"/>
              <a:gd name="T74" fmla="*/ 32124 w 204"/>
              <a:gd name="T75" fmla="*/ 11730 h 234"/>
              <a:gd name="T76" fmla="*/ 38816 w 204"/>
              <a:gd name="T77" fmla="*/ 5556 h 234"/>
              <a:gd name="T78" fmla="*/ 38816 w 204"/>
              <a:gd name="T79" fmla="*/ 5556 h 234"/>
              <a:gd name="T80" fmla="*/ 52201 w 204"/>
              <a:gd name="T81" fmla="*/ 17904 h 234"/>
              <a:gd name="T82" fmla="*/ 58224 w 204"/>
              <a:gd name="T83" fmla="*/ 17904 h 234"/>
              <a:gd name="T84" fmla="*/ 64916 w 204"/>
              <a:gd name="T85" fmla="*/ 5556 h 234"/>
              <a:gd name="T86" fmla="*/ 71609 w 204"/>
              <a:gd name="T87" fmla="*/ 0 h 234"/>
              <a:gd name="T88" fmla="*/ 104401 w 204"/>
              <a:gd name="T89" fmla="*/ 17904 h 234"/>
              <a:gd name="T90" fmla="*/ 104401 w 204"/>
              <a:gd name="T91" fmla="*/ 24077 h 234"/>
              <a:gd name="T92" fmla="*/ 117117 w 204"/>
              <a:gd name="T93" fmla="*/ 24077 h 234"/>
              <a:gd name="T94" fmla="*/ 117117 w 204"/>
              <a:gd name="T95" fmla="*/ 29633 h 234"/>
              <a:gd name="T96" fmla="*/ 117117 w 204"/>
              <a:gd name="T97" fmla="*/ 35807 h 234"/>
              <a:gd name="T98" fmla="*/ 117117 w 204"/>
              <a:gd name="T99" fmla="*/ 48154 h 234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204"/>
              <a:gd name="T151" fmla="*/ 0 h 234"/>
              <a:gd name="T152" fmla="*/ 204 w 204"/>
              <a:gd name="T153" fmla="*/ 234 h 234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204" h="234">
                <a:moveTo>
                  <a:pt x="175" y="78"/>
                </a:moveTo>
                <a:lnTo>
                  <a:pt x="165" y="97"/>
                </a:lnTo>
                <a:lnTo>
                  <a:pt x="175" y="126"/>
                </a:lnTo>
                <a:lnTo>
                  <a:pt x="195" y="136"/>
                </a:lnTo>
                <a:lnTo>
                  <a:pt x="195" y="146"/>
                </a:lnTo>
                <a:lnTo>
                  <a:pt x="195" y="156"/>
                </a:lnTo>
                <a:lnTo>
                  <a:pt x="204" y="175"/>
                </a:lnTo>
                <a:lnTo>
                  <a:pt x="185" y="185"/>
                </a:lnTo>
                <a:lnTo>
                  <a:pt x="165" y="195"/>
                </a:lnTo>
                <a:lnTo>
                  <a:pt x="146" y="195"/>
                </a:lnTo>
                <a:lnTo>
                  <a:pt x="146" y="204"/>
                </a:lnTo>
                <a:lnTo>
                  <a:pt x="156" y="214"/>
                </a:lnTo>
                <a:lnTo>
                  <a:pt x="146" y="224"/>
                </a:lnTo>
                <a:lnTo>
                  <a:pt x="136" y="234"/>
                </a:lnTo>
                <a:lnTo>
                  <a:pt x="117" y="234"/>
                </a:lnTo>
                <a:lnTo>
                  <a:pt x="97" y="234"/>
                </a:lnTo>
                <a:lnTo>
                  <a:pt x="78" y="224"/>
                </a:lnTo>
                <a:lnTo>
                  <a:pt x="87" y="204"/>
                </a:lnTo>
                <a:lnTo>
                  <a:pt x="78" y="224"/>
                </a:lnTo>
                <a:lnTo>
                  <a:pt x="87" y="204"/>
                </a:lnTo>
                <a:lnTo>
                  <a:pt x="78" y="175"/>
                </a:lnTo>
                <a:lnTo>
                  <a:pt x="68" y="156"/>
                </a:lnTo>
                <a:lnTo>
                  <a:pt x="68" y="126"/>
                </a:lnTo>
                <a:lnTo>
                  <a:pt x="48" y="117"/>
                </a:lnTo>
                <a:lnTo>
                  <a:pt x="29" y="107"/>
                </a:lnTo>
                <a:lnTo>
                  <a:pt x="39" y="97"/>
                </a:lnTo>
                <a:lnTo>
                  <a:pt x="48" y="87"/>
                </a:lnTo>
                <a:lnTo>
                  <a:pt x="29" y="78"/>
                </a:lnTo>
                <a:lnTo>
                  <a:pt x="9" y="68"/>
                </a:lnTo>
                <a:lnTo>
                  <a:pt x="9" y="58"/>
                </a:lnTo>
                <a:lnTo>
                  <a:pt x="0" y="48"/>
                </a:lnTo>
                <a:lnTo>
                  <a:pt x="0" y="39"/>
                </a:lnTo>
                <a:lnTo>
                  <a:pt x="19" y="39"/>
                </a:lnTo>
                <a:lnTo>
                  <a:pt x="29" y="39"/>
                </a:lnTo>
                <a:lnTo>
                  <a:pt x="48" y="39"/>
                </a:lnTo>
                <a:lnTo>
                  <a:pt x="48" y="29"/>
                </a:lnTo>
                <a:lnTo>
                  <a:pt x="48" y="19"/>
                </a:lnTo>
                <a:lnTo>
                  <a:pt x="58" y="9"/>
                </a:lnTo>
                <a:lnTo>
                  <a:pt x="78" y="29"/>
                </a:lnTo>
                <a:lnTo>
                  <a:pt x="87" y="29"/>
                </a:lnTo>
                <a:lnTo>
                  <a:pt x="97" y="9"/>
                </a:lnTo>
                <a:lnTo>
                  <a:pt x="107" y="0"/>
                </a:lnTo>
                <a:lnTo>
                  <a:pt x="156" y="29"/>
                </a:lnTo>
                <a:lnTo>
                  <a:pt x="156" y="39"/>
                </a:lnTo>
                <a:lnTo>
                  <a:pt x="175" y="39"/>
                </a:lnTo>
                <a:lnTo>
                  <a:pt x="175" y="48"/>
                </a:lnTo>
                <a:lnTo>
                  <a:pt x="175" y="58"/>
                </a:lnTo>
                <a:lnTo>
                  <a:pt x="175" y="78"/>
                </a:lnTo>
                <a:close/>
              </a:path>
            </a:pathLst>
          </a:custGeom>
          <a:solidFill>
            <a:srgbClr val="CCECFF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04" name="Freeform 165"/>
          <p:cNvSpPr>
            <a:spLocks/>
          </p:cNvSpPr>
          <p:nvPr>
            <p:custDataLst>
              <p:tags r:id="rId152"/>
            </p:custDataLst>
          </p:nvPr>
        </p:nvSpPr>
        <p:spPr bwMode="auto">
          <a:xfrm>
            <a:off x="2540000" y="4008438"/>
            <a:ext cx="136525" cy="144462"/>
          </a:xfrm>
          <a:custGeom>
            <a:avLst/>
            <a:gdLst/>
            <a:ahLst/>
            <a:cxnLst>
              <a:cxn ang="0">
                <a:pos x="175" y="78"/>
              </a:cxn>
              <a:cxn ang="0">
                <a:pos x="165" y="97"/>
              </a:cxn>
              <a:cxn ang="0">
                <a:pos x="175" y="126"/>
              </a:cxn>
              <a:cxn ang="0">
                <a:pos x="195" y="136"/>
              </a:cxn>
              <a:cxn ang="0">
                <a:pos x="195" y="146"/>
              </a:cxn>
              <a:cxn ang="0">
                <a:pos x="195" y="156"/>
              </a:cxn>
              <a:cxn ang="0">
                <a:pos x="204" y="175"/>
              </a:cxn>
              <a:cxn ang="0">
                <a:pos x="185" y="185"/>
              </a:cxn>
              <a:cxn ang="0">
                <a:pos x="165" y="195"/>
              </a:cxn>
              <a:cxn ang="0">
                <a:pos x="146" y="195"/>
              </a:cxn>
              <a:cxn ang="0">
                <a:pos x="146" y="204"/>
              </a:cxn>
              <a:cxn ang="0">
                <a:pos x="156" y="214"/>
              </a:cxn>
              <a:cxn ang="0">
                <a:pos x="146" y="224"/>
              </a:cxn>
              <a:cxn ang="0">
                <a:pos x="136" y="234"/>
              </a:cxn>
              <a:cxn ang="0">
                <a:pos x="117" y="234"/>
              </a:cxn>
              <a:cxn ang="0">
                <a:pos x="97" y="234"/>
              </a:cxn>
              <a:cxn ang="0">
                <a:pos x="78" y="224"/>
              </a:cxn>
              <a:cxn ang="0">
                <a:pos x="87" y="204"/>
              </a:cxn>
              <a:cxn ang="0">
                <a:pos x="78" y="224"/>
              </a:cxn>
              <a:cxn ang="0">
                <a:pos x="87" y="204"/>
              </a:cxn>
              <a:cxn ang="0">
                <a:pos x="78" y="175"/>
              </a:cxn>
              <a:cxn ang="0">
                <a:pos x="68" y="156"/>
              </a:cxn>
              <a:cxn ang="0">
                <a:pos x="68" y="126"/>
              </a:cxn>
              <a:cxn ang="0">
                <a:pos x="48" y="117"/>
              </a:cxn>
              <a:cxn ang="0">
                <a:pos x="29" y="107"/>
              </a:cxn>
              <a:cxn ang="0">
                <a:pos x="29" y="107"/>
              </a:cxn>
              <a:cxn ang="0">
                <a:pos x="39" y="97"/>
              </a:cxn>
              <a:cxn ang="0">
                <a:pos x="48" y="87"/>
              </a:cxn>
              <a:cxn ang="0">
                <a:pos x="29" y="78"/>
              </a:cxn>
              <a:cxn ang="0">
                <a:pos x="9" y="68"/>
              </a:cxn>
              <a:cxn ang="0">
                <a:pos x="9" y="58"/>
              </a:cxn>
              <a:cxn ang="0">
                <a:pos x="0" y="48"/>
              </a:cxn>
              <a:cxn ang="0">
                <a:pos x="0" y="39"/>
              </a:cxn>
              <a:cxn ang="0">
                <a:pos x="19" y="39"/>
              </a:cxn>
              <a:cxn ang="0">
                <a:pos x="29" y="39"/>
              </a:cxn>
              <a:cxn ang="0">
                <a:pos x="48" y="39"/>
              </a:cxn>
              <a:cxn ang="0">
                <a:pos x="48" y="29"/>
              </a:cxn>
              <a:cxn ang="0">
                <a:pos x="48" y="19"/>
              </a:cxn>
              <a:cxn ang="0">
                <a:pos x="48" y="9"/>
              </a:cxn>
              <a:cxn ang="0">
                <a:pos x="58" y="9"/>
              </a:cxn>
              <a:cxn ang="0">
                <a:pos x="78" y="29"/>
              </a:cxn>
              <a:cxn ang="0">
                <a:pos x="97" y="29"/>
              </a:cxn>
              <a:cxn ang="0">
                <a:pos x="97" y="9"/>
              </a:cxn>
              <a:cxn ang="0">
                <a:pos x="107" y="0"/>
              </a:cxn>
              <a:cxn ang="0">
                <a:pos x="156" y="29"/>
              </a:cxn>
              <a:cxn ang="0">
                <a:pos x="156" y="39"/>
              </a:cxn>
              <a:cxn ang="0">
                <a:pos x="175" y="39"/>
              </a:cxn>
              <a:cxn ang="0">
                <a:pos x="175" y="48"/>
              </a:cxn>
              <a:cxn ang="0">
                <a:pos x="175" y="58"/>
              </a:cxn>
            </a:cxnLst>
            <a:rect l="0" t="0" r="r" b="b"/>
            <a:pathLst>
              <a:path w="204" h="234">
                <a:moveTo>
                  <a:pt x="175" y="78"/>
                </a:moveTo>
                <a:lnTo>
                  <a:pt x="165" y="97"/>
                </a:lnTo>
                <a:lnTo>
                  <a:pt x="175" y="126"/>
                </a:lnTo>
                <a:lnTo>
                  <a:pt x="195" y="136"/>
                </a:lnTo>
                <a:lnTo>
                  <a:pt x="195" y="146"/>
                </a:lnTo>
                <a:lnTo>
                  <a:pt x="195" y="156"/>
                </a:lnTo>
                <a:lnTo>
                  <a:pt x="204" y="175"/>
                </a:lnTo>
                <a:lnTo>
                  <a:pt x="185" y="185"/>
                </a:lnTo>
                <a:lnTo>
                  <a:pt x="165" y="195"/>
                </a:lnTo>
                <a:lnTo>
                  <a:pt x="146" y="195"/>
                </a:lnTo>
                <a:lnTo>
                  <a:pt x="146" y="204"/>
                </a:lnTo>
                <a:lnTo>
                  <a:pt x="156" y="214"/>
                </a:lnTo>
                <a:lnTo>
                  <a:pt x="146" y="224"/>
                </a:lnTo>
                <a:lnTo>
                  <a:pt x="136" y="234"/>
                </a:lnTo>
                <a:lnTo>
                  <a:pt x="117" y="234"/>
                </a:lnTo>
                <a:lnTo>
                  <a:pt x="97" y="234"/>
                </a:lnTo>
                <a:lnTo>
                  <a:pt x="78" y="224"/>
                </a:lnTo>
                <a:lnTo>
                  <a:pt x="87" y="204"/>
                </a:lnTo>
                <a:lnTo>
                  <a:pt x="78" y="224"/>
                </a:lnTo>
                <a:lnTo>
                  <a:pt x="87" y="204"/>
                </a:lnTo>
                <a:lnTo>
                  <a:pt x="78" y="175"/>
                </a:lnTo>
                <a:lnTo>
                  <a:pt x="68" y="156"/>
                </a:lnTo>
                <a:lnTo>
                  <a:pt x="68" y="126"/>
                </a:lnTo>
                <a:lnTo>
                  <a:pt x="48" y="117"/>
                </a:lnTo>
                <a:lnTo>
                  <a:pt x="29" y="107"/>
                </a:lnTo>
                <a:lnTo>
                  <a:pt x="39" y="97"/>
                </a:lnTo>
                <a:lnTo>
                  <a:pt x="48" y="87"/>
                </a:lnTo>
                <a:lnTo>
                  <a:pt x="29" y="78"/>
                </a:lnTo>
                <a:lnTo>
                  <a:pt x="9" y="68"/>
                </a:lnTo>
                <a:lnTo>
                  <a:pt x="9" y="58"/>
                </a:lnTo>
                <a:lnTo>
                  <a:pt x="0" y="48"/>
                </a:lnTo>
                <a:lnTo>
                  <a:pt x="0" y="39"/>
                </a:lnTo>
                <a:lnTo>
                  <a:pt x="19" y="39"/>
                </a:lnTo>
                <a:lnTo>
                  <a:pt x="29" y="39"/>
                </a:lnTo>
                <a:lnTo>
                  <a:pt x="48" y="39"/>
                </a:lnTo>
                <a:lnTo>
                  <a:pt x="48" y="29"/>
                </a:lnTo>
                <a:lnTo>
                  <a:pt x="48" y="19"/>
                </a:lnTo>
                <a:lnTo>
                  <a:pt x="48" y="9"/>
                </a:lnTo>
                <a:lnTo>
                  <a:pt x="58" y="9"/>
                </a:lnTo>
                <a:lnTo>
                  <a:pt x="78" y="29"/>
                </a:lnTo>
                <a:lnTo>
                  <a:pt x="97" y="29"/>
                </a:lnTo>
                <a:lnTo>
                  <a:pt x="97" y="9"/>
                </a:lnTo>
                <a:lnTo>
                  <a:pt x="107" y="0"/>
                </a:lnTo>
                <a:lnTo>
                  <a:pt x="156" y="29"/>
                </a:lnTo>
                <a:lnTo>
                  <a:pt x="156" y="39"/>
                </a:lnTo>
                <a:lnTo>
                  <a:pt x="175" y="39"/>
                </a:lnTo>
                <a:lnTo>
                  <a:pt x="175" y="48"/>
                </a:lnTo>
                <a:lnTo>
                  <a:pt x="175" y="58"/>
                </a:lnTo>
              </a:path>
            </a:pathLst>
          </a:custGeom>
          <a:solidFill>
            <a:schemeClr val="bg1">
              <a:lumMod val="95000"/>
            </a:schemeClr>
          </a:solidFill>
          <a:ln w="6350" cap="rnd">
            <a:solidFill>
              <a:srgbClr val="7F7E61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en-US" sz="1100">
              <a:latin typeface="Polo" pitchFamily="2" charset="0"/>
              <a:cs typeface="+mn-cs"/>
            </a:endParaRPr>
          </a:p>
        </p:txBody>
      </p:sp>
      <p:sp>
        <p:nvSpPr>
          <p:cNvPr id="205" name="Freeform 164"/>
          <p:cNvSpPr>
            <a:spLocks/>
          </p:cNvSpPr>
          <p:nvPr>
            <p:custDataLst>
              <p:tags r:id="rId153"/>
            </p:custDataLst>
          </p:nvPr>
        </p:nvSpPr>
        <p:spPr bwMode="auto">
          <a:xfrm>
            <a:off x="2649538" y="4008438"/>
            <a:ext cx="138112" cy="131762"/>
          </a:xfrm>
          <a:custGeom>
            <a:avLst/>
            <a:gdLst/>
            <a:ahLst/>
            <a:cxnLst>
              <a:cxn ang="0">
                <a:pos x="137" y="204"/>
              </a:cxn>
              <a:cxn ang="0">
                <a:pos x="117" y="204"/>
              </a:cxn>
              <a:cxn ang="0">
                <a:pos x="88" y="204"/>
              </a:cxn>
              <a:cxn ang="0">
                <a:pos x="78" y="214"/>
              </a:cxn>
              <a:cxn ang="0">
                <a:pos x="69" y="214"/>
              </a:cxn>
              <a:cxn ang="0">
                <a:pos x="49" y="204"/>
              </a:cxn>
              <a:cxn ang="0">
                <a:pos x="49" y="195"/>
              </a:cxn>
              <a:cxn ang="0">
                <a:pos x="39" y="175"/>
              </a:cxn>
              <a:cxn ang="0">
                <a:pos x="30" y="156"/>
              </a:cxn>
              <a:cxn ang="0">
                <a:pos x="30" y="146"/>
              </a:cxn>
              <a:cxn ang="0">
                <a:pos x="30" y="136"/>
              </a:cxn>
              <a:cxn ang="0">
                <a:pos x="10" y="117"/>
              </a:cxn>
              <a:cxn ang="0">
                <a:pos x="0" y="97"/>
              </a:cxn>
              <a:cxn ang="0">
                <a:pos x="10" y="78"/>
              </a:cxn>
              <a:cxn ang="0">
                <a:pos x="10" y="58"/>
              </a:cxn>
              <a:cxn ang="0">
                <a:pos x="10" y="48"/>
              </a:cxn>
              <a:cxn ang="0">
                <a:pos x="10" y="39"/>
              </a:cxn>
              <a:cxn ang="0">
                <a:pos x="20" y="39"/>
              </a:cxn>
              <a:cxn ang="0">
                <a:pos x="30" y="29"/>
              </a:cxn>
              <a:cxn ang="0">
                <a:pos x="49" y="29"/>
              </a:cxn>
              <a:cxn ang="0">
                <a:pos x="69" y="29"/>
              </a:cxn>
              <a:cxn ang="0">
                <a:pos x="69" y="9"/>
              </a:cxn>
              <a:cxn ang="0">
                <a:pos x="78" y="0"/>
              </a:cxn>
              <a:cxn ang="0">
                <a:pos x="78" y="9"/>
              </a:cxn>
              <a:cxn ang="0">
                <a:pos x="98" y="29"/>
              </a:cxn>
              <a:cxn ang="0">
                <a:pos x="108" y="39"/>
              </a:cxn>
              <a:cxn ang="0">
                <a:pos x="137" y="39"/>
              </a:cxn>
              <a:cxn ang="0">
                <a:pos x="166" y="39"/>
              </a:cxn>
              <a:cxn ang="0">
                <a:pos x="176" y="39"/>
              </a:cxn>
              <a:cxn ang="0">
                <a:pos x="176" y="48"/>
              </a:cxn>
              <a:cxn ang="0">
                <a:pos x="176" y="58"/>
              </a:cxn>
              <a:cxn ang="0">
                <a:pos x="195" y="58"/>
              </a:cxn>
              <a:cxn ang="0">
                <a:pos x="205" y="58"/>
              </a:cxn>
              <a:cxn ang="0">
                <a:pos x="195" y="68"/>
              </a:cxn>
              <a:cxn ang="0">
                <a:pos x="205" y="87"/>
              </a:cxn>
              <a:cxn ang="0">
                <a:pos x="195" y="97"/>
              </a:cxn>
              <a:cxn ang="0">
                <a:pos x="186" y="107"/>
              </a:cxn>
              <a:cxn ang="0">
                <a:pos x="186" y="117"/>
              </a:cxn>
              <a:cxn ang="0">
                <a:pos x="186" y="136"/>
              </a:cxn>
              <a:cxn ang="0">
                <a:pos x="186" y="146"/>
              </a:cxn>
              <a:cxn ang="0">
                <a:pos x="176" y="156"/>
              </a:cxn>
              <a:cxn ang="0">
                <a:pos x="156" y="175"/>
              </a:cxn>
              <a:cxn ang="0">
                <a:pos x="137" y="204"/>
              </a:cxn>
            </a:cxnLst>
            <a:rect l="0" t="0" r="r" b="b"/>
            <a:pathLst>
              <a:path w="205" h="214">
                <a:moveTo>
                  <a:pt x="137" y="204"/>
                </a:moveTo>
                <a:lnTo>
                  <a:pt x="117" y="204"/>
                </a:lnTo>
                <a:lnTo>
                  <a:pt x="88" y="204"/>
                </a:lnTo>
                <a:lnTo>
                  <a:pt x="78" y="214"/>
                </a:lnTo>
                <a:lnTo>
                  <a:pt x="69" y="214"/>
                </a:lnTo>
                <a:lnTo>
                  <a:pt x="49" y="204"/>
                </a:lnTo>
                <a:lnTo>
                  <a:pt x="49" y="195"/>
                </a:lnTo>
                <a:lnTo>
                  <a:pt x="39" y="175"/>
                </a:lnTo>
                <a:lnTo>
                  <a:pt x="30" y="156"/>
                </a:lnTo>
                <a:lnTo>
                  <a:pt x="30" y="146"/>
                </a:lnTo>
                <a:lnTo>
                  <a:pt x="30" y="136"/>
                </a:lnTo>
                <a:lnTo>
                  <a:pt x="10" y="117"/>
                </a:lnTo>
                <a:lnTo>
                  <a:pt x="0" y="97"/>
                </a:lnTo>
                <a:lnTo>
                  <a:pt x="10" y="78"/>
                </a:lnTo>
                <a:lnTo>
                  <a:pt x="10" y="58"/>
                </a:lnTo>
                <a:lnTo>
                  <a:pt x="10" y="48"/>
                </a:lnTo>
                <a:lnTo>
                  <a:pt x="10" y="39"/>
                </a:lnTo>
                <a:lnTo>
                  <a:pt x="20" y="39"/>
                </a:lnTo>
                <a:lnTo>
                  <a:pt x="30" y="29"/>
                </a:lnTo>
                <a:lnTo>
                  <a:pt x="49" y="29"/>
                </a:lnTo>
                <a:lnTo>
                  <a:pt x="69" y="29"/>
                </a:lnTo>
                <a:lnTo>
                  <a:pt x="69" y="9"/>
                </a:lnTo>
                <a:lnTo>
                  <a:pt x="78" y="0"/>
                </a:lnTo>
                <a:lnTo>
                  <a:pt x="78" y="9"/>
                </a:lnTo>
                <a:lnTo>
                  <a:pt x="98" y="29"/>
                </a:lnTo>
                <a:lnTo>
                  <a:pt x="108" y="39"/>
                </a:lnTo>
                <a:lnTo>
                  <a:pt x="137" y="39"/>
                </a:lnTo>
                <a:lnTo>
                  <a:pt x="166" y="39"/>
                </a:lnTo>
                <a:lnTo>
                  <a:pt x="176" y="39"/>
                </a:lnTo>
                <a:lnTo>
                  <a:pt x="176" y="48"/>
                </a:lnTo>
                <a:lnTo>
                  <a:pt x="176" y="58"/>
                </a:lnTo>
                <a:lnTo>
                  <a:pt x="195" y="58"/>
                </a:lnTo>
                <a:lnTo>
                  <a:pt x="205" y="58"/>
                </a:lnTo>
                <a:lnTo>
                  <a:pt x="195" y="68"/>
                </a:lnTo>
                <a:lnTo>
                  <a:pt x="205" y="87"/>
                </a:lnTo>
                <a:lnTo>
                  <a:pt x="195" y="97"/>
                </a:lnTo>
                <a:lnTo>
                  <a:pt x="186" y="107"/>
                </a:lnTo>
                <a:lnTo>
                  <a:pt x="186" y="117"/>
                </a:lnTo>
                <a:lnTo>
                  <a:pt x="186" y="136"/>
                </a:lnTo>
                <a:lnTo>
                  <a:pt x="186" y="146"/>
                </a:lnTo>
                <a:lnTo>
                  <a:pt x="176" y="156"/>
                </a:lnTo>
                <a:lnTo>
                  <a:pt x="156" y="175"/>
                </a:lnTo>
                <a:lnTo>
                  <a:pt x="137" y="20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en-US" sz="1100">
              <a:latin typeface="Polo" pitchFamily="2" charset="0"/>
              <a:cs typeface="+mn-cs"/>
            </a:endParaRPr>
          </a:p>
        </p:txBody>
      </p:sp>
      <p:sp>
        <p:nvSpPr>
          <p:cNvPr id="206" name="Freeform 163"/>
          <p:cNvSpPr>
            <a:spLocks/>
          </p:cNvSpPr>
          <p:nvPr>
            <p:custDataLst>
              <p:tags r:id="rId154"/>
            </p:custDataLst>
          </p:nvPr>
        </p:nvSpPr>
        <p:spPr bwMode="auto">
          <a:xfrm>
            <a:off x="2741613" y="4079875"/>
            <a:ext cx="184150" cy="153988"/>
          </a:xfrm>
          <a:custGeom>
            <a:avLst/>
            <a:gdLst/>
            <a:ahLst/>
            <a:cxnLst>
              <a:cxn ang="0">
                <a:pos x="39" y="156"/>
              </a:cxn>
              <a:cxn ang="0">
                <a:pos x="39" y="165"/>
              </a:cxn>
              <a:cxn ang="0">
                <a:pos x="49" y="165"/>
              </a:cxn>
              <a:cxn ang="0">
                <a:pos x="68" y="165"/>
              </a:cxn>
              <a:cxn ang="0">
                <a:pos x="78" y="165"/>
              </a:cxn>
              <a:cxn ang="0">
                <a:pos x="78" y="185"/>
              </a:cxn>
              <a:cxn ang="0">
                <a:pos x="78" y="195"/>
              </a:cxn>
              <a:cxn ang="0">
                <a:pos x="88" y="214"/>
              </a:cxn>
              <a:cxn ang="0">
                <a:pos x="97" y="214"/>
              </a:cxn>
              <a:cxn ang="0">
                <a:pos x="117" y="205"/>
              </a:cxn>
              <a:cxn ang="0">
                <a:pos x="137" y="205"/>
              </a:cxn>
              <a:cxn ang="0">
                <a:pos x="166" y="234"/>
              </a:cxn>
              <a:cxn ang="0">
                <a:pos x="185" y="244"/>
              </a:cxn>
              <a:cxn ang="0">
                <a:pos x="185" y="234"/>
              </a:cxn>
              <a:cxn ang="0">
                <a:pos x="195" y="224"/>
              </a:cxn>
              <a:cxn ang="0">
                <a:pos x="195" y="224"/>
              </a:cxn>
              <a:cxn ang="0">
                <a:pos x="195" y="234"/>
              </a:cxn>
              <a:cxn ang="0">
                <a:pos x="215" y="224"/>
              </a:cxn>
              <a:cxn ang="0">
                <a:pos x="205" y="214"/>
              </a:cxn>
              <a:cxn ang="0">
                <a:pos x="205" y="205"/>
              </a:cxn>
              <a:cxn ang="0">
                <a:pos x="215" y="205"/>
              </a:cxn>
              <a:cxn ang="0">
                <a:pos x="234" y="214"/>
              </a:cxn>
              <a:cxn ang="0">
                <a:pos x="244" y="214"/>
              </a:cxn>
              <a:cxn ang="0">
                <a:pos x="244" y="205"/>
              </a:cxn>
              <a:cxn ang="0">
                <a:pos x="263" y="195"/>
              </a:cxn>
              <a:cxn ang="0">
                <a:pos x="254" y="175"/>
              </a:cxn>
              <a:cxn ang="0">
                <a:pos x="263" y="175"/>
              </a:cxn>
              <a:cxn ang="0">
                <a:pos x="273" y="175"/>
              </a:cxn>
              <a:cxn ang="0">
                <a:pos x="273" y="156"/>
              </a:cxn>
              <a:cxn ang="0">
                <a:pos x="263" y="146"/>
              </a:cxn>
              <a:cxn ang="0">
                <a:pos x="263" y="126"/>
              </a:cxn>
              <a:cxn ang="0">
                <a:pos x="263" y="97"/>
              </a:cxn>
              <a:cxn ang="0">
                <a:pos x="263" y="78"/>
              </a:cxn>
              <a:cxn ang="0">
                <a:pos x="244" y="78"/>
              </a:cxn>
              <a:cxn ang="0">
                <a:pos x="244" y="68"/>
              </a:cxn>
              <a:cxn ang="0">
                <a:pos x="234" y="58"/>
              </a:cxn>
              <a:cxn ang="0">
                <a:pos x="224" y="58"/>
              </a:cxn>
              <a:cxn ang="0">
                <a:pos x="224" y="39"/>
              </a:cxn>
              <a:cxn ang="0">
                <a:pos x="215" y="29"/>
              </a:cxn>
              <a:cxn ang="0">
                <a:pos x="195" y="19"/>
              </a:cxn>
              <a:cxn ang="0">
                <a:pos x="176" y="19"/>
              </a:cxn>
              <a:cxn ang="0">
                <a:pos x="156" y="19"/>
              </a:cxn>
              <a:cxn ang="0">
                <a:pos x="127" y="9"/>
              </a:cxn>
              <a:cxn ang="0">
                <a:pos x="107" y="9"/>
              </a:cxn>
              <a:cxn ang="0">
                <a:pos x="107" y="9"/>
              </a:cxn>
              <a:cxn ang="0">
                <a:pos x="97" y="0"/>
              </a:cxn>
              <a:cxn ang="0">
                <a:pos x="78" y="0"/>
              </a:cxn>
              <a:cxn ang="0">
                <a:pos x="78" y="9"/>
              </a:cxn>
              <a:cxn ang="0">
                <a:pos x="68" y="19"/>
              </a:cxn>
              <a:cxn ang="0">
                <a:pos x="58" y="9"/>
              </a:cxn>
              <a:cxn ang="0">
                <a:pos x="49" y="19"/>
              </a:cxn>
              <a:cxn ang="0">
                <a:pos x="49" y="29"/>
              </a:cxn>
              <a:cxn ang="0">
                <a:pos x="39" y="39"/>
              </a:cxn>
              <a:cxn ang="0">
                <a:pos x="19" y="58"/>
              </a:cxn>
              <a:cxn ang="0">
                <a:pos x="0" y="87"/>
              </a:cxn>
              <a:cxn ang="0">
                <a:pos x="10" y="97"/>
              </a:cxn>
              <a:cxn ang="0">
                <a:pos x="0" y="117"/>
              </a:cxn>
              <a:cxn ang="0">
                <a:pos x="10" y="126"/>
              </a:cxn>
              <a:cxn ang="0">
                <a:pos x="19" y="126"/>
              </a:cxn>
              <a:cxn ang="0">
                <a:pos x="39" y="126"/>
              </a:cxn>
              <a:cxn ang="0">
                <a:pos x="49" y="136"/>
              </a:cxn>
              <a:cxn ang="0">
                <a:pos x="29" y="146"/>
              </a:cxn>
              <a:cxn ang="0">
                <a:pos x="39" y="156"/>
              </a:cxn>
            </a:cxnLst>
            <a:rect l="0" t="0" r="r" b="b"/>
            <a:pathLst>
              <a:path w="273" h="244">
                <a:moveTo>
                  <a:pt x="39" y="156"/>
                </a:moveTo>
                <a:lnTo>
                  <a:pt x="39" y="165"/>
                </a:lnTo>
                <a:lnTo>
                  <a:pt x="49" y="165"/>
                </a:lnTo>
                <a:lnTo>
                  <a:pt x="68" y="165"/>
                </a:lnTo>
                <a:lnTo>
                  <a:pt x="78" y="165"/>
                </a:lnTo>
                <a:lnTo>
                  <a:pt x="78" y="185"/>
                </a:lnTo>
                <a:lnTo>
                  <a:pt x="78" y="195"/>
                </a:lnTo>
                <a:lnTo>
                  <a:pt x="88" y="214"/>
                </a:lnTo>
                <a:lnTo>
                  <a:pt x="97" y="214"/>
                </a:lnTo>
                <a:lnTo>
                  <a:pt x="117" y="205"/>
                </a:lnTo>
                <a:lnTo>
                  <a:pt x="137" y="205"/>
                </a:lnTo>
                <a:lnTo>
                  <a:pt x="166" y="234"/>
                </a:lnTo>
                <a:lnTo>
                  <a:pt x="185" y="244"/>
                </a:lnTo>
                <a:lnTo>
                  <a:pt x="185" y="234"/>
                </a:lnTo>
                <a:lnTo>
                  <a:pt x="195" y="224"/>
                </a:lnTo>
                <a:lnTo>
                  <a:pt x="195" y="234"/>
                </a:lnTo>
                <a:lnTo>
                  <a:pt x="215" y="224"/>
                </a:lnTo>
                <a:lnTo>
                  <a:pt x="205" y="214"/>
                </a:lnTo>
                <a:lnTo>
                  <a:pt x="205" y="205"/>
                </a:lnTo>
                <a:lnTo>
                  <a:pt x="215" y="205"/>
                </a:lnTo>
                <a:lnTo>
                  <a:pt x="234" y="214"/>
                </a:lnTo>
                <a:lnTo>
                  <a:pt x="244" y="214"/>
                </a:lnTo>
                <a:lnTo>
                  <a:pt x="244" y="205"/>
                </a:lnTo>
                <a:lnTo>
                  <a:pt x="263" y="195"/>
                </a:lnTo>
                <a:lnTo>
                  <a:pt x="254" y="175"/>
                </a:lnTo>
                <a:lnTo>
                  <a:pt x="263" y="175"/>
                </a:lnTo>
                <a:lnTo>
                  <a:pt x="273" y="175"/>
                </a:lnTo>
                <a:lnTo>
                  <a:pt x="273" y="156"/>
                </a:lnTo>
                <a:lnTo>
                  <a:pt x="263" y="146"/>
                </a:lnTo>
                <a:lnTo>
                  <a:pt x="263" y="126"/>
                </a:lnTo>
                <a:lnTo>
                  <a:pt x="263" y="97"/>
                </a:lnTo>
                <a:lnTo>
                  <a:pt x="263" y="78"/>
                </a:lnTo>
                <a:lnTo>
                  <a:pt x="244" y="78"/>
                </a:lnTo>
                <a:lnTo>
                  <a:pt x="244" y="68"/>
                </a:lnTo>
                <a:lnTo>
                  <a:pt x="234" y="58"/>
                </a:lnTo>
                <a:lnTo>
                  <a:pt x="224" y="58"/>
                </a:lnTo>
                <a:lnTo>
                  <a:pt x="224" y="39"/>
                </a:lnTo>
                <a:lnTo>
                  <a:pt x="215" y="29"/>
                </a:lnTo>
                <a:lnTo>
                  <a:pt x="195" y="19"/>
                </a:lnTo>
                <a:lnTo>
                  <a:pt x="176" y="19"/>
                </a:lnTo>
                <a:lnTo>
                  <a:pt x="156" y="19"/>
                </a:lnTo>
                <a:lnTo>
                  <a:pt x="127" y="9"/>
                </a:lnTo>
                <a:lnTo>
                  <a:pt x="107" y="9"/>
                </a:lnTo>
                <a:lnTo>
                  <a:pt x="97" y="0"/>
                </a:lnTo>
                <a:lnTo>
                  <a:pt x="78" y="0"/>
                </a:lnTo>
                <a:lnTo>
                  <a:pt x="78" y="9"/>
                </a:lnTo>
                <a:lnTo>
                  <a:pt x="68" y="19"/>
                </a:lnTo>
                <a:lnTo>
                  <a:pt x="58" y="9"/>
                </a:lnTo>
                <a:lnTo>
                  <a:pt x="49" y="19"/>
                </a:lnTo>
                <a:lnTo>
                  <a:pt x="49" y="29"/>
                </a:lnTo>
                <a:lnTo>
                  <a:pt x="39" y="39"/>
                </a:lnTo>
                <a:lnTo>
                  <a:pt x="19" y="58"/>
                </a:lnTo>
                <a:lnTo>
                  <a:pt x="0" y="87"/>
                </a:lnTo>
                <a:lnTo>
                  <a:pt x="10" y="97"/>
                </a:lnTo>
                <a:lnTo>
                  <a:pt x="0" y="117"/>
                </a:lnTo>
                <a:lnTo>
                  <a:pt x="10" y="126"/>
                </a:lnTo>
                <a:lnTo>
                  <a:pt x="19" y="126"/>
                </a:lnTo>
                <a:lnTo>
                  <a:pt x="39" y="126"/>
                </a:lnTo>
                <a:lnTo>
                  <a:pt x="49" y="136"/>
                </a:lnTo>
                <a:lnTo>
                  <a:pt x="29" y="146"/>
                </a:lnTo>
                <a:lnTo>
                  <a:pt x="39" y="15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en-US" sz="1100">
              <a:latin typeface="Polo" pitchFamily="2" charset="0"/>
              <a:cs typeface="+mn-cs"/>
            </a:endParaRPr>
          </a:p>
        </p:txBody>
      </p:sp>
      <p:sp>
        <p:nvSpPr>
          <p:cNvPr id="207" name="Freeform 162"/>
          <p:cNvSpPr>
            <a:spLocks/>
          </p:cNvSpPr>
          <p:nvPr>
            <p:custDataLst>
              <p:tags r:id="rId155"/>
            </p:custDataLst>
          </p:nvPr>
        </p:nvSpPr>
        <p:spPr bwMode="auto">
          <a:xfrm>
            <a:off x="2606675" y="4116388"/>
            <a:ext cx="168275" cy="146050"/>
          </a:xfrm>
          <a:custGeom>
            <a:avLst/>
            <a:gdLst/>
            <a:ahLst/>
            <a:cxnLst>
              <a:cxn ang="0">
                <a:pos x="127" y="234"/>
              </a:cxn>
              <a:cxn ang="0">
                <a:pos x="166" y="215"/>
              </a:cxn>
              <a:cxn ang="0">
                <a:pos x="166" y="156"/>
              </a:cxn>
              <a:cxn ang="0">
                <a:pos x="166" y="147"/>
              </a:cxn>
              <a:cxn ang="0">
                <a:pos x="185" y="137"/>
              </a:cxn>
              <a:cxn ang="0">
                <a:pos x="215" y="117"/>
              </a:cxn>
              <a:cxn ang="0">
                <a:pos x="244" y="98"/>
              </a:cxn>
              <a:cxn ang="0">
                <a:pos x="234" y="88"/>
              </a:cxn>
              <a:cxn ang="0">
                <a:pos x="254" y="78"/>
              </a:cxn>
              <a:cxn ang="0">
                <a:pos x="244" y="68"/>
              </a:cxn>
              <a:cxn ang="0">
                <a:pos x="224" y="68"/>
              </a:cxn>
              <a:cxn ang="0">
                <a:pos x="215" y="68"/>
              </a:cxn>
              <a:cxn ang="0">
                <a:pos x="215" y="59"/>
              </a:cxn>
              <a:cxn ang="0">
                <a:pos x="215" y="39"/>
              </a:cxn>
              <a:cxn ang="0">
                <a:pos x="205" y="29"/>
              </a:cxn>
              <a:cxn ang="0">
                <a:pos x="185" y="29"/>
              </a:cxn>
              <a:cxn ang="0">
                <a:pos x="166" y="29"/>
              </a:cxn>
              <a:cxn ang="0">
                <a:pos x="156" y="49"/>
              </a:cxn>
              <a:cxn ang="0">
                <a:pos x="137" y="39"/>
              </a:cxn>
              <a:cxn ang="0">
                <a:pos x="117" y="29"/>
              </a:cxn>
              <a:cxn ang="0">
                <a:pos x="127" y="20"/>
              </a:cxn>
              <a:cxn ang="0">
                <a:pos x="107" y="0"/>
              </a:cxn>
              <a:cxn ang="0">
                <a:pos x="88" y="10"/>
              </a:cxn>
              <a:cxn ang="0">
                <a:pos x="78" y="20"/>
              </a:cxn>
              <a:cxn ang="0">
                <a:pos x="59" y="20"/>
              </a:cxn>
              <a:cxn ang="0">
                <a:pos x="49" y="29"/>
              </a:cxn>
              <a:cxn ang="0">
                <a:pos x="59" y="39"/>
              </a:cxn>
              <a:cxn ang="0">
                <a:pos x="49" y="49"/>
              </a:cxn>
              <a:cxn ang="0">
                <a:pos x="39" y="59"/>
              </a:cxn>
              <a:cxn ang="0">
                <a:pos x="20" y="59"/>
              </a:cxn>
              <a:cxn ang="0">
                <a:pos x="10" y="68"/>
              </a:cxn>
              <a:cxn ang="0">
                <a:pos x="0" y="78"/>
              </a:cxn>
              <a:cxn ang="0">
                <a:pos x="10" y="88"/>
              </a:cxn>
              <a:cxn ang="0">
                <a:pos x="29" y="88"/>
              </a:cxn>
              <a:cxn ang="0">
                <a:pos x="29" y="98"/>
              </a:cxn>
              <a:cxn ang="0">
                <a:pos x="39" y="107"/>
              </a:cxn>
              <a:cxn ang="0">
                <a:pos x="39" y="107"/>
              </a:cxn>
              <a:cxn ang="0">
                <a:pos x="59" y="107"/>
              </a:cxn>
              <a:cxn ang="0">
                <a:pos x="49" y="127"/>
              </a:cxn>
              <a:cxn ang="0">
                <a:pos x="59" y="137"/>
              </a:cxn>
              <a:cxn ang="0">
                <a:pos x="78" y="137"/>
              </a:cxn>
              <a:cxn ang="0">
                <a:pos x="78" y="156"/>
              </a:cxn>
              <a:cxn ang="0">
                <a:pos x="88" y="156"/>
              </a:cxn>
              <a:cxn ang="0">
                <a:pos x="78" y="166"/>
              </a:cxn>
              <a:cxn ang="0">
                <a:pos x="78" y="186"/>
              </a:cxn>
              <a:cxn ang="0">
                <a:pos x="88" y="195"/>
              </a:cxn>
              <a:cxn ang="0">
                <a:pos x="98" y="195"/>
              </a:cxn>
              <a:cxn ang="0">
                <a:pos x="107" y="205"/>
              </a:cxn>
              <a:cxn ang="0">
                <a:pos x="127" y="234"/>
              </a:cxn>
            </a:cxnLst>
            <a:rect l="0" t="0" r="r" b="b"/>
            <a:pathLst>
              <a:path w="254" h="234">
                <a:moveTo>
                  <a:pt x="127" y="234"/>
                </a:moveTo>
                <a:lnTo>
                  <a:pt x="166" y="215"/>
                </a:lnTo>
                <a:lnTo>
                  <a:pt x="166" y="156"/>
                </a:lnTo>
                <a:lnTo>
                  <a:pt x="166" y="147"/>
                </a:lnTo>
                <a:lnTo>
                  <a:pt x="185" y="137"/>
                </a:lnTo>
                <a:lnTo>
                  <a:pt x="215" y="117"/>
                </a:lnTo>
                <a:lnTo>
                  <a:pt x="244" y="98"/>
                </a:lnTo>
                <a:lnTo>
                  <a:pt x="234" y="88"/>
                </a:lnTo>
                <a:lnTo>
                  <a:pt x="254" y="78"/>
                </a:lnTo>
                <a:lnTo>
                  <a:pt x="244" y="68"/>
                </a:lnTo>
                <a:lnTo>
                  <a:pt x="224" y="68"/>
                </a:lnTo>
                <a:lnTo>
                  <a:pt x="215" y="68"/>
                </a:lnTo>
                <a:lnTo>
                  <a:pt x="215" y="59"/>
                </a:lnTo>
                <a:lnTo>
                  <a:pt x="215" y="39"/>
                </a:lnTo>
                <a:lnTo>
                  <a:pt x="205" y="29"/>
                </a:lnTo>
                <a:lnTo>
                  <a:pt x="185" y="29"/>
                </a:lnTo>
                <a:lnTo>
                  <a:pt x="166" y="29"/>
                </a:lnTo>
                <a:lnTo>
                  <a:pt x="156" y="49"/>
                </a:lnTo>
                <a:lnTo>
                  <a:pt x="137" y="39"/>
                </a:lnTo>
                <a:lnTo>
                  <a:pt x="117" y="29"/>
                </a:lnTo>
                <a:lnTo>
                  <a:pt x="127" y="20"/>
                </a:lnTo>
                <a:lnTo>
                  <a:pt x="107" y="0"/>
                </a:lnTo>
                <a:lnTo>
                  <a:pt x="88" y="10"/>
                </a:lnTo>
                <a:lnTo>
                  <a:pt x="78" y="20"/>
                </a:lnTo>
                <a:lnTo>
                  <a:pt x="59" y="20"/>
                </a:lnTo>
                <a:lnTo>
                  <a:pt x="49" y="29"/>
                </a:lnTo>
                <a:lnTo>
                  <a:pt x="59" y="39"/>
                </a:lnTo>
                <a:lnTo>
                  <a:pt x="49" y="49"/>
                </a:lnTo>
                <a:lnTo>
                  <a:pt x="39" y="59"/>
                </a:lnTo>
                <a:lnTo>
                  <a:pt x="20" y="59"/>
                </a:lnTo>
                <a:lnTo>
                  <a:pt x="10" y="68"/>
                </a:lnTo>
                <a:lnTo>
                  <a:pt x="0" y="78"/>
                </a:lnTo>
                <a:lnTo>
                  <a:pt x="10" y="88"/>
                </a:lnTo>
                <a:lnTo>
                  <a:pt x="29" y="88"/>
                </a:lnTo>
                <a:lnTo>
                  <a:pt x="29" y="98"/>
                </a:lnTo>
                <a:lnTo>
                  <a:pt x="39" y="107"/>
                </a:lnTo>
                <a:lnTo>
                  <a:pt x="59" y="107"/>
                </a:lnTo>
                <a:lnTo>
                  <a:pt x="49" y="127"/>
                </a:lnTo>
                <a:lnTo>
                  <a:pt x="59" y="137"/>
                </a:lnTo>
                <a:lnTo>
                  <a:pt x="78" y="137"/>
                </a:lnTo>
                <a:lnTo>
                  <a:pt x="78" y="156"/>
                </a:lnTo>
                <a:lnTo>
                  <a:pt x="88" y="156"/>
                </a:lnTo>
                <a:lnTo>
                  <a:pt x="78" y="166"/>
                </a:lnTo>
                <a:lnTo>
                  <a:pt x="78" y="186"/>
                </a:lnTo>
                <a:lnTo>
                  <a:pt x="88" y="195"/>
                </a:lnTo>
                <a:lnTo>
                  <a:pt x="98" y="195"/>
                </a:lnTo>
                <a:lnTo>
                  <a:pt x="107" y="205"/>
                </a:lnTo>
                <a:lnTo>
                  <a:pt x="127" y="23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en-US" sz="1100">
              <a:latin typeface="Polo" pitchFamily="2" charset="0"/>
              <a:cs typeface="+mn-cs"/>
            </a:endParaRPr>
          </a:p>
        </p:txBody>
      </p:sp>
      <p:sp>
        <p:nvSpPr>
          <p:cNvPr id="208" name="Freeform 161"/>
          <p:cNvSpPr>
            <a:spLocks/>
          </p:cNvSpPr>
          <p:nvPr>
            <p:custDataLst>
              <p:tags r:id="rId156"/>
            </p:custDataLst>
          </p:nvPr>
        </p:nvSpPr>
        <p:spPr bwMode="auto">
          <a:xfrm>
            <a:off x="2682875" y="4176713"/>
            <a:ext cx="171450" cy="165100"/>
          </a:xfrm>
          <a:custGeom>
            <a:avLst/>
            <a:gdLst/>
            <a:ahLst/>
            <a:cxnLst>
              <a:cxn ang="0">
                <a:pos x="10" y="156"/>
              </a:cxn>
              <a:cxn ang="0">
                <a:pos x="10" y="156"/>
              </a:cxn>
              <a:cxn ang="0">
                <a:pos x="0" y="175"/>
              </a:cxn>
              <a:cxn ang="0">
                <a:pos x="10" y="185"/>
              </a:cxn>
              <a:cxn ang="0">
                <a:pos x="29" y="185"/>
              </a:cxn>
              <a:cxn ang="0">
                <a:pos x="39" y="185"/>
              </a:cxn>
              <a:cxn ang="0">
                <a:pos x="49" y="205"/>
              </a:cxn>
              <a:cxn ang="0">
                <a:pos x="49" y="224"/>
              </a:cxn>
              <a:cxn ang="0">
                <a:pos x="59" y="234"/>
              </a:cxn>
              <a:cxn ang="0">
                <a:pos x="68" y="234"/>
              </a:cxn>
              <a:cxn ang="0">
                <a:pos x="78" y="244"/>
              </a:cxn>
              <a:cxn ang="0">
                <a:pos x="68" y="244"/>
              </a:cxn>
              <a:cxn ang="0">
                <a:pos x="68" y="253"/>
              </a:cxn>
              <a:cxn ang="0">
                <a:pos x="78" y="263"/>
              </a:cxn>
              <a:cxn ang="0">
                <a:pos x="88" y="263"/>
              </a:cxn>
              <a:cxn ang="0">
                <a:pos x="98" y="263"/>
              </a:cxn>
              <a:cxn ang="0">
                <a:pos x="117" y="244"/>
              </a:cxn>
              <a:cxn ang="0">
                <a:pos x="127" y="244"/>
              </a:cxn>
              <a:cxn ang="0">
                <a:pos x="137" y="234"/>
              </a:cxn>
              <a:cxn ang="0">
                <a:pos x="146" y="224"/>
              </a:cxn>
              <a:cxn ang="0">
                <a:pos x="166" y="224"/>
              </a:cxn>
              <a:cxn ang="0">
                <a:pos x="185" y="224"/>
              </a:cxn>
              <a:cxn ang="0">
                <a:pos x="195" y="205"/>
              </a:cxn>
              <a:cxn ang="0">
                <a:pos x="195" y="185"/>
              </a:cxn>
              <a:cxn ang="0">
                <a:pos x="195" y="166"/>
              </a:cxn>
              <a:cxn ang="0">
                <a:pos x="215" y="156"/>
              </a:cxn>
              <a:cxn ang="0">
                <a:pos x="225" y="136"/>
              </a:cxn>
              <a:cxn ang="0">
                <a:pos x="225" y="88"/>
              </a:cxn>
              <a:cxn ang="0">
                <a:pos x="254" y="88"/>
              </a:cxn>
              <a:cxn ang="0">
                <a:pos x="225" y="49"/>
              </a:cxn>
              <a:cxn ang="0">
                <a:pos x="205" y="49"/>
              </a:cxn>
              <a:cxn ang="0">
                <a:pos x="185" y="58"/>
              </a:cxn>
              <a:cxn ang="0">
                <a:pos x="176" y="58"/>
              </a:cxn>
              <a:cxn ang="0">
                <a:pos x="166" y="39"/>
              </a:cxn>
              <a:cxn ang="0">
                <a:pos x="166" y="29"/>
              </a:cxn>
              <a:cxn ang="0">
                <a:pos x="166" y="9"/>
              </a:cxn>
              <a:cxn ang="0">
                <a:pos x="156" y="9"/>
              </a:cxn>
              <a:cxn ang="0">
                <a:pos x="137" y="9"/>
              </a:cxn>
              <a:cxn ang="0">
                <a:pos x="127" y="9"/>
              </a:cxn>
              <a:cxn ang="0">
                <a:pos x="127" y="0"/>
              </a:cxn>
              <a:cxn ang="0">
                <a:pos x="98" y="19"/>
              </a:cxn>
              <a:cxn ang="0">
                <a:pos x="68" y="39"/>
              </a:cxn>
              <a:cxn ang="0">
                <a:pos x="49" y="39"/>
              </a:cxn>
              <a:cxn ang="0">
                <a:pos x="39" y="58"/>
              </a:cxn>
              <a:cxn ang="0">
                <a:pos x="39" y="107"/>
              </a:cxn>
              <a:cxn ang="0">
                <a:pos x="10" y="136"/>
              </a:cxn>
              <a:cxn ang="0">
                <a:pos x="10" y="156"/>
              </a:cxn>
            </a:cxnLst>
            <a:rect l="0" t="0" r="r" b="b"/>
            <a:pathLst>
              <a:path w="254" h="263">
                <a:moveTo>
                  <a:pt x="10" y="156"/>
                </a:moveTo>
                <a:lnTo>
                  <a:pt x="10" y="156"/>
                </a:lnTo>
                <a:lnTo>
                  <a:pt x="0" y="175"/>
                </a:lnTo>
                <a:lnTo>
                  <a:pt x="10" y="185"/>
                </a:lnTo>
                <a:lnTo>
                  <a:pt x="29" y="185"/>
                </a:lnTo>
                <a:lnTo>
                  <a:pt x="39" y="185"/>
                </a:lnTo>
                <a:lnTo>
                  <a:pt x="49" y="205"/>
                </a:lnTo>
                <a:lnTo>
                  <a:pt x="49" y="224"/>
                </a:lnTo>
                <a:lnTo>
                  <a:pt x="59" y="234"/>
                </a:lnTo>
                <a:lnTo>
                  <a:pt x="68" y="234"/>
                </a:lnTo>
                <a:lnTo>
                  <a:pt x="78" y="244"/>
                </a:lnTo>
                <a:lnTo>
                  <a:pt x="68" y="244"/>
                </a:lnTo>
                <a:lnTo>
                  <a:pt x="68" y="253"/>
                </a:lnTo>
                <a:lnTo>
                  <a:pt x="78" y="263"/>
                </a:lnTo>
                <a:lnTo>
                  <a:pt x="88" y="263"/>
                </a:lnTo>
                <a:lnTo>
                  <a:pt x="98" y="263"/>
                </a:lnTo>
                <a:lnTo>
                  <a:pt x="117" y="244"/>
                </a:lnTo>
                <a:lnTo>
                  <a:pt x="127" y="244"/>
                </a:lnTo>
                <a:lnTo>
                  <a:pt x="137" y="234"/>
                </a:lnTo>
                <a:lnTo>
                  <a:pt x="146" y="224"/>
                </a:lnTo>
                <a:lnTo>
                  <a:pt x="166" y="224"/>
                </a:lnTo>
                <a:lnTo>
                  <a:pt x="185" y="224"/>
                </a:lnTo>
                <a:lnTo>
                  <a:pt x="195" y="205"/>
                </a:lnTo>
                <a:lnTo>
                  <a:pt x="195" y="185"/>
                </a:lnTo>
                <a:lnTo>
                  <a:pt x="195" y="166"/>
                </a:lnTo>
                <a:lnTo>
                  <a:pt x="215" y="156"/>
                </a:lnTo>
                <a:lnTo>
                  <a:pt x="225" y="136"/>
                </a:lnTo>
                <a:lnTo>
                  <a:pt x="225" y="88"/>
                </a:lnTo>
                <a:lnTo>
                  <a:pt x="254" y="88"/>
                </a:lnTo>
                <a:lnTo>
                  <a:pt x="225" y="49"/>
                </a:lnTo>
                <a:lnTo>
                  <a:pt x="205" y="49"/>
                </a:lnTo>
                <a:lnTo>
                  <a:pt x="185" y="58"/>
                </a:lnTo>
                <a:lnTo>
                  <a:pt x="176" y="58"/>
                </a:lnTo>
                <a:lnTo>
                  <a:pt x="166" y="39"/>
                </a:lnTo>
                <a:lnTo>
                  <a:pt x="166" y="29"/>
                </a:lnTo>
                <a:lnTo>
                  <a:pt x="166" y="9"/>
                </a:lnTo>
                <a:lnTo>
                  <a:pt x="156" y="9"/>
                </a:lnTo>
                <a:lnTo>
                  <a:pt x="137" y="9"/>
                </a:lnTo>
                <a:lnTo>
                  <a:pt x="127" y="9"/>
                </a:lnTo>
                <a:lnTo>
                  <a:pt x="127" y="0"/>
                </a:lnTo>
                <a:lnTo>
                  <a:pt x="98" y="19"/>
                </a:lnTo>
                <a:lnTo>
                  <a:pt x="68" y="39"/>
                </a:lnTo>
                <a:lnTo>
                  <a:pt x="49" y="39"/>
                </a:lnTo>
                <a:lnTo>
                  <a:pt x="39" y="58"/>
                </a:lnTo>
                <a:lnTo>
                  <a:pt x="39" y="107"/>
                </a:lnTo>
                <a:lnTo>
                  <a:pt x="10" y="136"/>
                </a:lnTo>
                <a:lnTo>
                  <a:pt x="10" y="15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en-US" sz="1100">
              <a:latin typeface="Polo" pitchFamily="2" charset="0"/>
              <a:cs typeface="+mn-cs"/>
            </a:endParaRPr>
          </a:p>
        </p:txBody>
      </p:sp>
      <p:sp>
        <p:nvSpPr>
          <p:cNvPr id="209" name="Freeform 160"/>
          <p:cNvSpPr>
            <a:spLocks/>
          </p:cNvSpPr>
          <p:nvPr>
            <p:custDataLst>
              <p:tags r:id="rId157"/>
            </p:custDataLst>
          </p:nvPr>
        </p:nvSpPr>
        <p:spPr bwMode="auto">
          <a:xfrm>
            <a:off x="2513013" y="4176713"/>
            <a:ext cx="222250" cy="195262"/>
          </a:xfrm>
          <a:custGeom>
            <a:avLst/>
            <a:gdLst/>
            <a:ahLst/>
            <a:cxnLst>
              <a:cxn ang="0">
                <a:pos x="117" y="68"/>
              </a:cxn>
              <a:cxn ang="0">
                <a:pos x="87" y="78"/>
              </a:cxn>
              <a:cxn ang="0">
                <a:pos x="97" y="97"/>
              </a:cxn>
              <a:cxn ang="0">
                <a:pos x="78" y="117"/>
              </a:cxn>
              <a:cxn ang="0">
                <a:pos x="68" y="117"/>
              </a:cxn>
              <a:cxn ang="0">
                <a:pos x="68" y="136"/>
              </a:cxn>
              <a:cxn ang="0">
                <a:pos x="58" y="156"/>
              </a:cxn>
              <a:cxn ang="0">
                <a:pos x="19" y="195"/>
              </a:cxn>
              <a:cxn ang="0">
                <a:pos x="0" y="205"/>
              </a:cxn>
              <a:cxn ang="0">
                <a:pos x="9" y="234"/>
              </a:cxn>
              <a:cxn ang="0">
                <a:pos x="9" y="263"/>
              </a:cxn>
              <a:cxn ang="0">
                <a:pos x="39" y="292"/>
              </a:cxn>
              <a:cxn ang="0">
                <a:pos x="68" y="312"/>
              </a:cxn>
              <a:cxn ang="0">
                <a:pos x="107" y="292"/>
              </a:cxn>
              <a:cxn ang="0">
                <a:pos x="136" y="302"/>
              </a:cxn>
              <a:cxn ang="0">
                <a:pos x="156" y="292"/>
              </a:cxn>
              <a:cxn ang="0">
                <a:pos x="175" y="273"/>
              </a:cxn>
              <a:cxn ang="0">
                <a:pos x="185" y="253"/>
              </a:cxn>
              <a:cxn ang="0">
                <a:pos x="234" y="263"/>
              </a:cxn>
              <a:cxn ang="0">
                <a:pos x="282" y="302"/>
              </a:cxn>
              <a:cxn ang="0">
                <a:pos x="321" y="292"/>
              </a:cxn>
              <a:cxn ang="0">
                <a:pos x="331" y="263"/>
              </a:cxn>
              <a:cxn ang="0">
                <a:pos x="321" y="244"/>
              </a:cxn>
              <a:cxn ang="0">
                <a:pos x="321" y="234"/>
              </a:cxn>
              <a:cxn ang="0">
                <a:pos x="302" y="224"/>
              </a:cxn>
              <a:cxn ang="0">
                <a:pos x="292" y="185"/>
              </a:cxn>
              <a:cxn ang="0">
                <a:pos x="263" y="185"/>
              </a:cxn>
              <a:cxn ang="0">
                <a:pos x="263" y="156"/>
              </a:cxn>
              <a:cxn ang="0">
                <a:pos x="263" y="136"/>
              </a:cxn>
              <a:cxn ang="0">
                <a:pos x="234" y="97"/>
              </a:cxn>
              <a:cxn ang="0">
                <a:pos x="214" y="88"/>
              </a:cxn>
              <a:cxn ang="0">
                <a:pos x="224" y="58"/>
              </a:cxn>
              <a:cxn ang="0">
                <a:pos x="204" y="39"/>
              </a:cxn>
              <a:cxn ang="0">
                <a:pos x="185" y="29"/>
              </a:cxn>
              <a:cxn ang="0">
                <a:pos x="175" y="9"/>
              </a:cxn>
              <a:cxn ang="0">
                <a:pos x="165" y="0"/>
              </a:cxn>
              <a:cxn ang="0">
                <a:pos x="156" y="29"/>
              </a:cxn>
              <a:cxn ang="0">
                <a:pos x="136" y="9"/>
              </a:cxn>
              <a:cxn ang="0">
                <a:pos x="126" y="39"/>
              </a:cxn>
            </a:cxnLst>
            <a:rect l="0" t="0" r="r" b="b"/>
            <a:pathLst>
              <a:path w="331" h="312">
                <a:moveTo>
                  <a:pt x="117" y="49"/>
                </a:moveTo>
                <a:lnTo>
                  <a:pt x="117" y="68"/>
                </a:lnTo>
                <a:lnTo>
                  <a:pt x="97" y="68"/>
                </a:lnTo>
                <a:lnTo>
                  <a:pt x="87" y="78"/>
                </a:lnTo>
                <a:lnTo>
                  <a:pt x="97" y="88"/>
                </a:lnTo>
                <a:lnTo>
                  <a:pt x="97" y="97"/>
                </a:lnTo>
                <a:lnTo>
                  <a:pt x="87" y="107"/>
                </a:lnTo>
                <a:lnTo>
                  <a:pt x="78" y="117"/>
                </a:lnTo>
                <a:lnTo>
                  <a:pt x="68" y="117"/>
                </a:lnTo>
                <a:lnTo>
                  <a:pt x="68" y="127"/>
                </a:lnTo>
                <a:lnTo>
                  <a:pt x="68" y="136"/>
                </a:lnTo>
                <a:lnTo>
                  <a:pt x="68" y="156"/>
                </a:lnTo>
                <a:lnTo>
                  <a:pt x="58" y="156"/>
                </a:lnTo>
                <a:lnTo>
                  <a:pt x="29" y="185"/>
                </a:lnTo>
                <a:lnTo>
                  <a:pt x="19" y="195"/>
                </a:lnTo>
                <a:lnTo>
                  <a:pt x="9" y="205"/>
                </a:lnTo>
                <a:lnTo>
                  <a:pt x="0" y="205"/>
                </a:lnTo>
                <a:lnTo>
                  <a:pt x="0" y="214"/>
                </a:lnTo>
                <a:lnTo>
                  <a:pt x="9" y="234"/>
                </a:lnTo>
                <a:lnTo>
                  <a:pt x="0" y="253"/>
                </a:lnTo>
                <a:lnTo>
                  <a:pt x="9" y="263"/>
                </a:lnTo>
                <a:lnTo>
                  <a:pt x="9" y="273"/>
                </a:lnTo>
                <a:lnTo>
                  <a:pt x="39" y="292"/>
                </a:lnTo>
                <a:lnTo>
                  <a:pt x="58" y="312"/>
                </a:lnTo>
                <a:lnTo>
                  <a:pt x="68" y="312"/>
                </a:lnTo>
                <a:lnTo>
                  <a:pt x="97" y="292"/>
                </a:lnTo>
                <a:lnTo>
                  <a:pt x="107" y="292"/>
                </a:lnTo>
                <a:lnTo>
                  <a:pt x="117" y="312"/>
                </a:lnTo>
                <a:lnTo>
                  <a:pt x="136" y="302"/>
                </a:lnTo>
                <a:lnTo>
                  <a:pt x="146" y="292"/>
                </a:lnTo>
                <a:lnTo>
                  <a:pt x="156" y="292"/>
                </a:lnTo>
                <a:lnTo>
                  <a:pt x="165" y="283"/>
                </a:lnTo>
                <a:lnTo>
                  <a:pt x="175" y="273"/>
                </a:lnTo>
                <a:lnTo>
                  <a:pt x="185" y="263"/>
                </a:lnTo>
                <a:lnTo>
                  <a:pt x="185" y="253"/>
                </a:lnTo>
                <a:lnTo>
                  <a:pt x="204" y="253"/>
                </a:lnTo>
                <a:lnTo>
                  <a:pt x="234" y="263"/>
                </a:lnTo>
                <a:lnTo>
                  <a:pt x="253" y="263"/>
                </a:lnTo>
                <a:lnTo>
                  <a:pt x="282" y="302"/>
                </a:lnTo>
                <a:lnTo>
                  <a:pt x="302" y="312"/>
                </a:lnTo>
                <a:lnTo>
                  <a:pt x="321" y="292"/>
                </a:lnTo>
                <a:lnTo>
                  <a:pt x="321" y="273"/>
                </a:lnTo>
                <a:lnTo>
                  <a:pt x="331" y="263"/>
                </a:lnTo>
                <a:lnTo>
                  <a:pt x="321" y="253"/>
                </a:lnTo>
                <a:lnTo>
                  <a:pt x="321" y="244"/>
                </a:lnTo>
                <a:lnTo>
                  <a:pt x="331" y="234"/>
                </a:lnTo>
                <a:lnTo>
                  <a:pt x="321" y="234"/>
                </a:lnTo>
                <a:lnTo>
                  <a:pt x="312" y="234"/>
                </a:lnTo>
                <a:lnTo>
                  <a:pt x="302" y="224"/>
                </a:lnTo>
                <a:lnTo>
                  <a:pt x="302" y="205"/>
                </a:lnTo>
                <a:lnTo>
                  <a:pt x="292" y="185"/>
                </a:lnTo>
                <a:lnTo>
                  <a:pt x="282" y="185"/>
                </a:lnTo>
                <a:lnTo>
                  <a:pt x="263" y="185"/>
                </a:lnTo>
                <a:lnTo>
                  <a:pt x="253" y="175"/>
                </a:lnTo>
                <a:lnTo>
                  <a:pt x="263" y="156"/>
                </a:lnTo>
                <a:lnTo>
                  <a:pt x="263" y="136"/>
                </a:lnTo>
                <a:lnTo>
                  <a:pt x="243" y="97"/>
                </a:lnTo>
                <a:lnTo>
                  <a:pt x="234" y="97"/>
                </a:lnTo>
                <a:lnTo>
                  <a:pt x="224" y="97"/>
                </a:lnTo>
                <a:lnTo>
                  <a:pt x="214" y="88"/>
                </a:lnTo>
                <a:lnTo>
                  <a:pt x="214" y="68"/>
                </a:lnTo>
                <a:lnTo>
                  <a:pt x="224" y="58"/>
                </a:lnTo>
                <a:lnTo>
                  <a:pt x="214" y="49"/>
                </a:lnTo>
                <a:lnTo>
                  <a:pt x="204" y="39"/>
                </a:lnTo>
                <a:lnTo>
                  <a:pt x="195" y="39"/>
                </a:lnTo>
                <a:lnTo>
                  <a:pt x="185" y="29"/>
                </a:lnTo>
                <a:lnTo>
                  <a:pt x="195" y="9"/>
                </a:lnTo>
                <a:lnTo>
                  <a:pt x="175" y="9"/>
                </a:lnTo>
                <a:lnTo>
                  <a:pt x="165" y="0"/>
                </a:lnTo>
                <a:lnTo>
                  <a:pt x="156" y="9"/>
                </a:lnTo>
                <a:lnTo>
                  <a:pt x="156" y="29"/>
                </a:lnTo>
                <a:lnTo>
                  <a:pt x="146" y="19"/>
                </a:lnTo>
                <a:lnTo>
                  <a:pt x="136" y="9"/>
                </a:lnTo>
                <a:lnTo>
                  <a:pt x="126" y="19"/>
                </a:lnTo>
                <a:lnTo>
                  <a:pt x="126" y="39"/>
                </a:lnTo>
                <a:lnTo>
                  <a:pt x="117" y="4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en-US" sz="1100">
              <a:latin typeface="Polo" pitchFamily="2" charset="0"/>
              <a:cs typeface="+mn-cs"/>
            </a:endParaRPr>
          </a:p>
        </p:txBody>
      </p:sp>
      <p:sp>
        <p:nvSpPr>
          <p:cNvPr id="210" name="Freeform 159"/>
          <p:cNvSpPr>
            <a:spLocks/>
          </p:cNvSpPr>
          <p:nvPr>
            <p:custDataLst>
              <p:tags r:id="rId158"/>
            </p:custDataLst>
          </p:nvPr>
        </p:nvSpPr>
        <p:spPr bwMode="auto">
          <a:xfrm>
            <a:off x="2833688" y="3516313"/>
            <a:ext cx="304800" cy="269875"/>
          </a:xfrm>
          <a:custGeom>
            <a:avLst/>
            <a:gdLst/>
            <a:ahLst/>
            <a:cxnLst>
              <a:cxn ang="0">
                <a:pos x="429" y="322"/>
              </a:cxn>
              <a:cxn ang="0">
                <a:pos x="399" y="322"/>
              </a:cxn>
              <a:cxn ang="0">
                <a:pos x="370" y="351"/>
              </a:cxn>
              <a:cxn ang="0">
                <a:pos x="331" y="371"/>
              </a:cxn>
              <a:cxn ang="0">
                <a:pos x="292" y="410"/>
              </a:cxn>
              <a:cxn ang="0">
                <a:pos x="253" y="410"/>
              </a:cxn>
              <a:cxn ang="0">
                <a:pos x="224" y="410"/>
              </a:cxn>
              <a:cxn ang="0">
                <a:pos x="214" y="381"/>
              </a:cxn>
              <a:cxn ang="0">
                <a:pos x="224" y="361"/>
              </a:cxn>
              <a:cxn ang="0">
                <a:pos x="204" y="351"/>
              </a:cxn>
              <a:cxn ang="0">
                <a:pos x="214" y="322"/>
              </a:cxn>
              <a:cxn ang="0">
                <a:pos x="185" y="303"/>
              </a:cxn>
              <a:cxn ang="0">
                <a:pos x="156" y="293"/>
              </a:cxn>
              <a:cxn ang="0">
                <a:pos x="175" y="264"/>
              </a:cxn>
              <a:cxn ang="0">
                <a:pos x="156" y="244"/>
              </a:cxn>
              <a:cxn ang="0">
                <a:pos x="107" y="244"/>
              </a:cxn>
              <a:cxn ang="0">
                <a:pos x="87" y="215"/>
              </a:cxn>
              <a:cxn ang="0">
                <a:pos x="58" y="225"/>
              </a:cxn>
              <a:cxn ang="0">
                <a:pos x="48" y="205"/>
              </a:cxn>
              <a:cxn ang="0">
                <a:pos x="29" y="205"/>
              </a:cxn>
              <a:cxn ang="0">
                <a:pos x="0" y="195"/>
              </a:cxn>
              <a:cxn ang="0">
                <a:pos x="9" y="176"/>
              </a:cxn>
              <a:cxn ang="0">
                <a:pos x="9" y="147"/>
              </a:cxn>
              <a:cxn ang="0">
                <a:pos x="9" y="108"/>
              </a:cxn>
              <a:cxn ang="0">
                <a:pos x="9" y="88"/>
              </a:cxn>
              <a:cxn ang="0">
                <a:pos x="29" y="78"/>
              </a:cxn>
              <a:cxn ang="0">
                <a:pos x="58" y="69"/>
              </a:cxn>
              <a:cxn ang="0">
                <a:pos x="97" y="59"/>
              </a:cxn>
              <a:cxn ang="0">
                <a:pos x="87" y="69"/>
              </a:cxn>
              <a:cxn ang="0">
                <a:pos x="107" y="69"/>
              </a:cxn>
              <a:cxn ang="0">
                <a:pos x="107" y="78"/>
              </a:cxn>
              <a:cxn ang="0">
                <a:pos x="126" y="88"/>
              </a:cxn>
              <a:cxn ang="0">
                <a:pos x="146" y="108"/>
              </a:cxn>
              <a:cxn ang="0">
                <a:pos x="146" y="127"/>
              </a:cxn>
              <a:cxn ang="0">
                <a:pos x="126" y="147"/>
              </a:cxn>
              <a:cxn ang="0">
                <a:pos x="117" y="166"/>
              </a:cxn>
              <a:cxn ang="0">
                <a:pos x="126" y="186"/>
              </a:cxn>
              <a:cxn ang="0">
                <a:pos x="156" y="195"/>
              </a:cxn>
              <a:cxn ang="0">
                <a:pos x="185" y="195"/>
              </a:cxn>
              <a:cxn ang="0">
                <a:pos x="204" y="176"/>
              </a:cxn>
              <a:cxn ang="0">
                <a:pos x="214" y="156"/>
              </a:cxn>
              <a:cxn ang="0">
                <a:pos x="204" y="127"/>
              </a:cxn>
              <a:cxn ang="0">
                <a:pos x="195" y="117"/>
              </a:cxn>
              <a:cxn ang="0">
                <a:pos x="175" y="98"/>
              </a:cxn>
              <a:cxn ang="0">
                <a:pos x="165" y="78"/>
              </a:cxn>
              <a:cxn ang="0">
                <a:pos x="165" y="49"/>
              </a:cxn>
              <a:cxn ang="0">
                <a:pos x="175" y="49"/>
              </a:cxn>
              <a:cxn ang="0">
                <a:pos x="185" y="30"/>
              </a:cxn>
              <a:cxn ang="0">
                <a:pos x="204" y="30"/>
              </a:cxn>
              <a:cxn ang="0">
                <a:pos x="185" y="20"/>
              </a:cxn>
              <a:cxn ang="0">
                <a:pos x="165" y="10"/>
              </a:cxn>
              <a:cxn ang="0">
                <a:pos x="195" y="0"/>
              </a:cxn>
              <a:cxn ang="0">
                <a:pos x="263" y="20"/>
              </a:cxn>
              <a:cxn ang="0">
                <a:pos x="282" y="20"/>
              </a:cxn>
              <a:cxn ang="0">
                <a:pos x="282" y="49"/>
              </a:cxn>
              <a:cxn ang="0">
                <a:pos x="282" y="88"/>
              </a:cxn>
              <a:cxn ang="0">
                <a:pos x="331" y="234"/>
              </a:cxn>
              <a:cxn ang="0">
                <a:pos x="390" y="244"/>
              </a:cxn>
              <a:cxn ang="0">
                <a:pos x="399" y="215"/>
              </a:cxn>
              <a:cxn ang="0">
                <a:pos x="419" y="254"/>
              </a:cxn>
              <a:cxn ang="0">
                <a:pos x="458" y="303"/>
              </a:cxn>
              <a:cxn ang="0">
                <a:pos x="458" y="322"/>
              </a:cxn>
              <a:cxn ang="0">
                <a:pos x="448" y="332"/>
              </a:cxn>
            </a:cxnLst>
            <a:rect l="0" t="0" r="r" b="b"/>
            <a:pathLst>
              <a:path w="458" h="430">
                <a:moveTo>
                  <a:pt x="448" y="332"/>
                </a:moveTo>
                <a:lnTo>
                  <a:pt x="429" y="322"/>
                </a:lnTo>
                <a:lnTo>
                  <a:pt x="409" y="322"/>
                </a:lnTo>
                <a:lnTo>
                  <a:pt x="399" y="322"/>
                </a:lnTo>
                <a:lnTo>
                  <a:pt x="390" y="332"/>
                </a:lnTo>
                <a:lnTo>
                  <a:pt x="370" y="351"/>
                </a:lnTo>
                <a:lnTo>
                  <a:pt x="331" y="361"/>
                </a:lnTo>
                <a:lnTo>
                  <a:pt x="331" y="371"/>
                </a:lnTo>
                <a:lnTo>
                  <a:pt x="312" y="391"/>
                </a:lnTo>
                <a:lnTo>
                  <a:pt x="292" y="410"/>
                </a:lnTo>
                <a:lnTo>
                  <a:pt x="273" y="430"/>
                </a:lnTo>
                <a:lnTo>
                  <a:pt x="253" y="410"/>
                </a:lnTo>
                <a:lnTo>
                  <a:pt x="234" y="410"/>
                </a:lnTo>
                <a:lnTo>
                  <a:pt x="224" y="410"/>
                </a:lnTo>
                <a:lnTo>
                  <a:pt x="224" y="381"/>
                </a:lnTo>
                <a:lnTo>
                  <a:pt x="214" y="381"/>
                </a:lnTo>
                <a:lnTo>
                  <a:pt x="214" y="371"/>
                </a:lnTo>
                <a:lnTo>
                  <a:pt x="224" y="361"/>
                </a:lnTo>
                <a:lnTo>
                  <a:pt x="224" y="351"/>
                </a:lnTo>
                <a:lnTo>
                  <a:pt x="204" y="351"/>
                </a:lnTo>
                <a:lnTo>
                  <a:pt x="214" y="332"/>
                </a:lnTo>
                <a:lnTo>
                  <a:pt x="214" y="322"/>
                </a:lnTo>
                <a:lnTo>
                  <a:pt x="204" y="303"/>
                </a:lnTo>
                <a:lnTo>
                  <a:pt x="185" y="303"/>
                </a:lnTo>
                <a:lnTo>
                  <a:pt x="165" y="303"/>
                </a:lnTo>
                <a:lnTo>
                  <a:pt x="156" y="293"/>
                </a:lnTo>
                <a:lnTo>
                  <a:pt x="165" y="273"/>
                </a:lnTo>
                <a:lnTo>
                  <a:pt x="175" y="264"/>
                </a:lnTo>
                <a:lnTo>
                  <a:pt x="165" y="244"/>
                </a:lnTo>
                <a:lnTo>
                  <a:pt x="156" y="244"/>
                </a:lnTo>
                <a:lnTo>
                  <a:pt x="126" y="244"/>
                </a:lnTo>
                <a:lnTo>
                  <a:pt x="107" y="244"/>
                </a:lnTo>
                <a:lnTo>
                  <a:pt x="97" y="225"/>
                </a:lnTo>
                <a:lnTo>
                  <a:pt x="87" y="215"/>
                </a:lnTo>
                <a:lnTo>
                  <a:pt x="68" y="225"/>
                </a:lnTo>
                <a:lnTo>
                  <a:pt x="58" y="225"/>
                </a:lnTo>
                <a:lnTo>
                  <a:pt x="48" y="215"/>
                </a:lnTo>
                <a:lnTo>
                  <a:pt x="48" y="205"/>
                </a:lnTo>
                <a:lnTo>
                  <a:pt x="39" y="195"/>
                </a:lnTo>
                <a:lnTo>
                  <a:pt x="29" y="205"/>
                </a:lnTo>
                <a:lnTo>
                  <a:pt x="9" y="205"/>
                </a:lnTo>
                <a:lnTo>
                  <a:pt x="0" y="195"/>
                </a:lnTo>
                <a:lnTo>
                  <a:pt x="0" y="186"/>
                </a:lnTo>
                <a:lnTo>
                  <a:pt x="9" y="176"/>
                </a:lnTo>
                <a:lnTo>
                  <a:pt x="0" y="166"/>
                </a:lnTo>
                <a:lnTo>
                  <a:pt x="9" y="147"/>
                </a:lnTo>
                <a:lnTo>
                  <a:pt x="9" y="127"/>
                </a:lnTo>
                <a:lnTo>
                  <a:pt x="9" y="108"/>
                </a:lnTo>
                <a:lnTo>
                  <a:pt x="9" y="88"/>
                </a:lnTo>
                <a:lnTo>
                  <a:pt x="9" y="78"/>
                </a:lnTo>
                <a:lnTo>
                  <a:pt x="29" y="78"/>
                </a:lnTo>
                <a:lnTo>
                  <a:pt x="48" y="69"/>
                </a:lnTo>
                <a:lnTo>
                  <a:pt x="58" y="69"/>
                </a:lnTo>
                <a:lnTo>
                  <a:pt x="87" y="59"/>
                </a:lnTo>
                <a:lnTo>
                  <a:pt x="97" y="59"/>
                </a:lnTo>
                <a:lnTo>
                  <a:pt x="87" y="59"/>
                </a:lnTo>
                <a:lnTo>
                  <a:pt x="87" y="69"/>
                </a:lnTo>
                <a:lnTo>
                  <a:pt x="97" y="69"/>
                </a:lnTo>
                <a:lnTo>
                  <a:pt x="107" y="69"/>
                </a:lnTo>
                <a:lnTo>
                  <a:pt x="107" y="78"/>
                </a:lnTo>
                <a:lnTo>
                  <a:pt x="107" y="88"/>
                </a:lnTo>
                <a:lnTo>
                  <a:pt x="126" y="88"/>
                </a:lnTo>
                <a:lnTo>
                  <a:pt x="136" y="88"/>
                </a:lnTo>
                <a:lnTo>
                  <a:pt x="146" y="108"/>
                </a:lnTo>
                <a:lnTo>
                  <a:pt x="156" y="127"/>
                </a:lnTo>
                <a:lnTo>
                  <a:pt x="146" y="127"/>
                </a:lnTo>
                <a:lnTo>
                  <a:pt x="136" y="137"/>
                </a:lnTo>
                <a:lnTo>
                  <a:pt x="126" y="147"/>
                </a:lnTo>
                <a:lnTo>
                  <a:pt x="117" y="147"/>
                </a:lnTo>
                <a:lnTo>
                  <a:pt x="117" y="166"/>
                </a:lnTo>
                <a:lnTo>
                  <a:pt x="126" y="176"/>
                </a:lnTo>
                <a:lnTo>
                  <a:pt x="126" y="186"/>
                </a:lnTo>
                <a:lnTo>
                  <a:pt x="136" y="186"/>
                </a:lnTo>
                <a:lnTo>
                  <a:pt x="156" y="195"/>
                </a:lnTo>
                <a:lnTo>
                  <a:pt x="165" y="195"/>
                </a:lnTo>
                <a:lnTo>
                  <a:pt x="185" y="195"/>
                </a:lnTo>
                <a:lnTo>
                  <a:pt x="195" y="186"/>
                </a:lnTo>
                <a:lnTo>
                  <a:pt x="204" y="176"/>
                </a:lnTo>
                <a:lnTo>
                  <a:pt x="214" y="166"/>
                </a:lnTo>
                <a:lnTo>
                  <a:pt x="214" y="156"/>
                </a:lnTo>
                <a:lnTo>
                  <a:pt x="214" y="137"/>
                </a:lnTo>
                <a:lnTo>
                  <a:pt x="204" y="127"/>
                </a:lnTo>
                <a:lnTo>
                  <a:pt x="195" y="117"/>
                </a:lnTo>
                <a:lnTo>
                  <a:pt x="175" y="117"/>
                </a:lnTo>
                <a:lnTo>
                  <a:pt x="175" y="98"/>
                </a:lnTo>
                <a:lnTo>
                  <a:pt x="165" y="88"/>
                </a:lnTo>
                <a:lnTo>
                  <a:pt x="165" y="78"/>
                </a:lnTo>
                <a:lnTo>
                  <a:pt x="165" y="59"/>
                </a:lnTo>
                <a:lnTo>
                  <a:pt x="165" y="49"/>
                </a:lnTo>
                <a:lnTo>
                  <a:pt x="175" y="30"/>
                </a:lnTo>
                <a:lnTo>
                  <a:pt x="175" y="49"/>
                </a:lnTo>
                <a:lnTo>
                  <a:pt x="185" y="39"/>
                </a:lnTo>
                <a:lnTo>
                  <a:pt x="185" y="30"/>
                </a:lnTo>
                <a:lnTo>
                  <a:pt x="195" y="30"/>
                </a:lnTo>
                <a:lnTo>
                  <a:pt x="204" y="30"/>
                </a:lnTo>
                <a:lnTo>
                  <a:pt x="195" y="20"/>
                </a:lnTo>
                <a:lnTo>
                  <a:pt x="185" y="20"/>
                </a:lnTo>
                <a:lnTo>
                  <a:pt x="175" y="20"/>
                </a:lnTo>
                <a:lnTo>
                  <a:pt x="165" y="10"/>
                </a:lnTo>
                <a:lnTo>
                  <a:pt x="165" y="0"/>
                </a:lnTo>
                <a:lnTo>
                  <a:pt x="195" y="0"/>
                </a:lnTo>
                <a:lnTo>
                  <a:pt x="224" y="10"/>
                </a:lnTo>
                <a:lnTo>
                  <a:pt x="263" y="20"/>
                </a:lnTo>
                <a:lnTo>
                  <a:pt x="273" y="20"/>
                </a:lnTo>
                <a:lnTo>
                  <a:pt x="282" y="20"/>
                </a:lnTo>
                <a:lnTo>
                  <a:pt x="273" y="30"/>
                </a:lnTo>
                <a:lnTo>
                  <a:pt x="282" y="49"/>
                </a:lnTo>
                <a:lnTo>
                  <a:pt x="282" y="69"/>
                </a:lnTo>
                <a:lnTo>
                  <a:pt x="282" y="88"/>
                </a:lnTo>
                <a:lnTo>
                  <a:pt x="263" y="108"/>
                </a:lnTo>
                <a:lnTo>
                  <a:pt x="331" y="234"/>
                </a:lnTo>
                <a:lnTo>
                  <a:pt x="370" y="244"/>
                </a:lnTo>
                <a:lnTo>
                  <a:pt x="390" y="244"/>
                </a:lnTo>
                <a:lnTo>
                  <a:pt x="380" y="215"/>
                </a:lnTo>
                <a:lnTo>
                  <a:pt x="399" y="215"/>
                </a:lnTo>
                <a:lnTo>
                  <a:pt x="409" y="244"/>
                </a:lnTo>
                <a:lnTo>
                  <a:pt x="419" y="254"/>
                </a:lnTo>
                <a:lnTo>
                  <a:pt x="448" y="283"/>
                </a:lnTo>
                <a:lnTo>
                  <a:pt x="458" y="303"/>
                </a:lnTo>
                <a:lnTo>
                  <a:pt x="448" y="312"/>
                </a:lnTo>
                <a:lnTo>
                  <a:pt x="458" y="322"/>
                </a:lnTo>
                <a:lnTo>
                  <a:pt x="458" y="332"/>
                </a:lnTo>
                <a:lnTo>
                  <a:pt x="448" y="33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en-US" sz="1100">
              <a:latin typeface="Polo" pitchFamily="2" charset="0"/>
              <a:cs typeface="+mn-cs"/>
            </a:endParaRPr>
          </a:p>
        </p:txBody>
      </p:sp>
      <p:sp>
        <p:nvSpPr>
          <p:cNvPr id="211" name="Freeform 158"/>
          <p:cNvSpPr>
            <a:spLocks/>
          </p:cNvSpPr>
          <p:nvPr>
            <p:custDataLst>
              <p:tags r:id="rId159"/>
            </p:custDataLst>
          </p:nvPr>
        </p:nvSpPr>
        <p:spPr bwMode="auto">
          <a:xfrm>
            <a:off x="2794000" y="4233863"/>
            <a:ext cx="182563" cy="187325"/>
          </a:xfrm>
          <a:custGeom>
            <a:avLst/>
            <a:gdLst/>
            <a:ahLst/>
            <a:cxnLst>
              <a:cxn ang="0">
                <a:pos x="88" y="0"/>
              </a:cxn>
              <a:cxn ang="0">
                <a:pos x="117" y="29"/>
              </a:cxn>
              <a:cxn ang="0">
                <a:pos x="137" y="29"/>
              </a:cxn>
              <a:cxn ang="0">
                <a:pos x="156" y="39"/>
              </a:cxn>
              <a:cxn ang="0">
                <a:pos x="166" y="58"/>
              </a:cxn>
              <a:cxn ang="0">
                <a:pos x="166" y="68"/>
              </a:cxn>
              <a:cxn ang="0">
                <a:pos x="166" y="87"/>
              </a:cxn>
              <a:cxn ang="0">
                <a:pos x="185" y="117"/>
              </a:cxn>
              <a:cxn ang="0">
                <a:pos x="195" y="117"/>
              </a:cxn>
              <a:cxn ang="0">
                <a:pos x="205" y="117"/>
              </a:cxn>
              <a:cxn ang="0">
                <a:pos x="215" y="107"/>
              </a:cxn>
              <a:cxn ang="0">
                <a:pos x="224" y="117"/>
              </a:cxn>
              <a:cxn ang="0">
                <a:pos x="234" y="126"/>
              </a:cxn>
              <a:cxn ang="0">
                <a:pos x="244" y="146"/>
              </a:cxn>
              <a:cxn ang="0">
                <a:pos x="254" y="156"/>
              </a:cxn>
              <a:cxn ang="0">
                <a:pos x="273" y="156"/>
              </a:cxn>
              <a:cxn ang="0">
                <a:pos x="273" y="195"/>
              </a:cxn>
              <a:cxn ang="0">
                <a:pos x="263" y="195"/>
              </a:cxn>
              <a:cxn ang="0">
                <a:pos x="263" y="214"/>
              </a:cxn>
              <a:cxn ang="0">
                <a:pos x="254" y="234"/>
              </a:cxn>
              <a:cxn ang="0">
                <a:pos x="263" y="234"/>
              </a:cxn>
              <a:cxn ang="0">
                <a:pos x="263" y="263"/>
              </a:cxn>
              <a:cxn ang="0">
                <a:pos x="254" y="263"/>
              </a:cxn>
              <a:cxn ang="0">
                <a:pos x="254" y="282"/>
              </a:cxn>
              <a:cxn ang="0">
                <a:pos x="224" y="273"/>
              </a:cxn>
              <a:cxn ang="0">
                <a:pos x="224" y="302"/>
              </a:cxn>
              <a:cxn ang="0">
                <a:pos x="195" y="302"/>
              </a:cxn>
              <a:cxn ang="0">
                <a:pos x="185" y="282"/>
              </a:cxn>
              <a:cxn ang="0">
                <a:pos x="156" y="273"/>
              </a:cxn>
              <a:cxn ang="0">
                <a:pos x="146" y="282"/>
              </a:cxn>
              <a:cxn ang="0">
                <a:pos x="137" y="282"/>
              </a:cxn>
              <a:cxn ang="0">
                <a:pos x="127" y="263"/>
              </a:cxn>
              <a:cxn ang="0">
                <a:pos x="107" y="253"/>
              </a:cxn>
              <a:cxn ang="0">
                <a:pos x="98" y="243"/>
              </a:cxn>
              <a:cxn ang="0">
                <a:pos x="78" y="243"/>
              </a:cxn>
              <a:cxn ang="0">
                <a:pos x="78" y="224"/>
              </a:cxn>
              <a:cxn ang="0">
                <a:pos x="88" y="224"/>
              </a:cxn>
              <a:cxn ang="0">
                <a:pos x="78" y="204"/>
              </a:cxn>
              <a:cxn ang="0">
                <a:pos x="49" y="204"/>
              </a:cxn>
              <a:cxn ang="0">
                <a:pos x="29" y="175"/>
              </a:cxn>
              <a:cxn ang="0">
                <a:pos x="0" y="175"/>
              </a:cxn>
              <a:cxn ang="0">
                <a:pos x="0" y="136"/>
              </a:cxn>
              <a:cxn ang="0">
                <a:pos x="29" y="136"/>
              </a:cxn>
              <a:cxn ang="0">
                <a:pos x="29" y="117"/>
              </a:cxn>
              <a:cxn ang="0">
                <a:pos x="29" y="87"/>
              </a:cxn>
              <a:cxn ang="0">
                <a:pos x="29" y="78"/>
              </a:cxn>
              <a:cxn ang="0">
                <a:pos x="49" y="68"/>
              </a:cxn>
              <a:cxn ang="0">
                <a:pos x="59" y="48"/>
              </a:cxn>
              <a:cxn ang="0">
                <a:pos x="59" y="0"/>
              </a:cxn>
              <a:cxn ang="0">
                <a:pos x="88" y="0"/>
              </a:cxn>
            </a:cxnLst>
            <a:rect l="0" t="0" r="r" b="b"/>
            <a:pathLst>
              <a:path w="273" h="302">
                <a:moveTo>
                  <a:pt x="88" y="0"/>
                </a:moveTo>
                <a:lnTo>
                  <a:pt x="117" y="29"/>
                </a:lnTo>
                <a:lnTo>
                  <a:pt x="137" y="29"/>
                </a:lnTo>
                <a:lnTo>
                  <a:pt x="156" y="39"/>
                </a:lnTo>
                <a:lnTo>
                  <a:pt x="166" y="58"/>
                </a:lnTo>
                <a:lnTo>
                  <a:pt x="166" y="68"/>
                </a:lnTo>
                <a:lnTo>
                  <a:pt x="166" y="87"/>
                </a:lnTo>
                <a:lnTo>
                  <a:pt x="185" y="117"/>
                </a:lnTo>
                <a:lnTo>
                  <a:pt x="195" y="117"/>
                </a:lnTo>
                <a:lnTo>
                  <a:pt x="205" y="117"/>
                </a:lnTo>
                <a:lnTo>
                  <a:pt x="215" y="107"/>
                </a:lnTo>
                <a:lnTo>
                  <a:pt x="224" y="117"/>
                </a:lnTo>
                <a:lnTo>
                  <a:pt x="234" y="126"/>
                </a:lnTo>
                <a:lnTo>
                  <a:pt x="244" y="146"/>
                </a:lnTo>
                <a:lnTo>
                  <a:pt x="254" y="156"/>
                </a:lnTo>
                <a:lnTo>
                  <a:pt x="273" y="156"/>
                </a:lnTo>
                <a:lnTo>
                  <a:pt x="273" y="195"/>
                </a:lnTo>
                <a:lnTo>
                  <a:pt x="263" y="195"/>
                </a:lnTo>
                <a:lnTo>
                  <a:pt x="263" y="214"/>
                </a:lnTo>
                <a:lnTo>
                  <a:pt x="254" y="234"/>
                </a:lnTo>
                <a:lnTo>
                  <a:pt x="263" y="234"/>
                </a:lnTo>
                <a:lnTo>
                  <a:pt x="263" y="263"/>
                </a:lnTo>
                <a:lnTo>
                  <a:pt x="254" y="263"/>
                </a:lnTo>
                <a:lnTo>
                  <a:pt x="254" y="282"/>
                </a:lnTo>
                <a:lnTo>
                  <a:pt x="224" y="273"/>
                </a:lnTo>
                <a:lnTo>
                  <a:pt x="224" y="302"/>
                </a:lnTo>
                <a:lnTo>
                  <a:pt x="195" y="302"/>
                </a:lnTo>
                <a:lnTo>
                  <a:pt x="185" y="282"/>
                </a:lnTo>
                <a:lnTo>
                  <a:pt x="156" y="273"/>
                </a:lnTo>
                <a:lnTo>
                  <a:pt x="146" y="282"/>
                </a:lnTo>
                <a:lnTo>
                  <a:pt x="137" y="282"/>
                </a:lnTo>
                <a:lnTo>
                  <a:pt x="127" y="263"/>
                </a:lnTo>
                <a:lnTo>
                  <a:pt x="107" y="253"/>
                </a:lnTo>
                <a:lnTo>
                  <a:pt x="98" y="243"/>
                </a:lnTo>
                <a:lnTo>
                  <a:pt x="78" y="243"/>
                </a:lnTo>
                <a:lnTo>
                  <a:pt x="78" y="224"/>
                </a:lnTo>
                <a:lnTo>
                  <a:pt x="88" y="224"/>
                </a:lnTo>
                <a:lnTo>
                  <a:pt x="78" y="204"/>
                </a:lnTo>
                <a:lnTo>
                  <a:pt x="49" y="204"/>
                </a:lnTo>
                <a:lnTo>
                  <a:pt x="29" y="175"/>
                </a:lnTo>
                <a:lnTo>
                  <a:pt x="0" y="175"/>
                </a:lnTo>
                <a:lnTo>
                  <a:pt x="0" y="136"/>
                </a:lnTo>
                <a:lnTo>
                  <a:pt x="29" y="136"/>
                </a:lnTo>
                <a:lnTo>
                  <a:pt x="29" y="117"/>
                </a:lnTo>
                <a:lnTo>
                  <a:pt x="29" y="87"/>
                </a:lnTo>
                <a:lnTo>
                  <a:pt x="29" y="78"/>
                </a:lnTo>
                <a:lnTo>
                  <a:pt x="49" y="68"/>
                </a:lnTo>
                <a:lnTo>
                  <a:pt x="59" y="48"/>
                </a:lnTo>
                <a:lnTo>
                  <a:pt x="59" y="0"/>
                </a:lnTo>
                <a:lnTo>
                  <a:pt x="88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en-US" sz="1100">
              <a:latin typeface="Polo" pitchFamily="2" charset="0"/>
              <a:cs typeface="+mn-cs"/>
            </a:endParaRPr>
          </a:p>
        </p:txBody>
      </p:sp>
      <p:sp>
        <p:nvSpPr>
          <p:cNvPr id="212" name="Freeform 157"/>
          <p:cNvSpPr>
            <a:spLocks/>
          </p:cNvSpPr>
          <p:nvPr>
            <p:custDataLst>
              <p:tags r:id="rId160"/>
            </p:custDataLst>
          </p:nvPr>
        </p:nvSpPr>
        <p:spPr bwMode="auto">
          <a:xfrm>
            <a:off x="2927350" y="4311650"/>
            <a:ext cx="211138" cy="146050"/>
          </a:xfrm>
          <a:custGeom>
            <a:avLst/>
            <a:gdLst/>
            <a:ahLst/>
            <a:cxnLst>
              <a:cxn ang="0">
                <a:pos x="78" y="69"/>
              </a:cxn>
              <a:cxn ang="0">
                <a:pos x="68" y="88"/>
              </a:cxn>
              <a:cxn ang="0">
                <a:pos x="68" y="108"/>
              </a:cxn>
              <a:cxn ang="0">
                <a:pos x="59" y="137"/>
              </a:cxn>
              <a:cxn ang="0">
                <a:pos x="39" y="147"/>
              </a:cxn>
              <a:cxn ang="0">
                <a:pos x="0" y="176"/>
              </a:cxn>
              <a:cxn ang="0">
                <a:pos x="20" y="186"/>
              </a:cxn>
              <a:cxn ang="0">
                <a:pos x="49" y="215"/>
              </a:cxn>
              <a:cxn ang="0">
                <a:pos x="68" y="235"/>
              </a:cxn>
              <a:cxn ang="0">
                <a:pos x="107" y="235"/>
              </a:cxn>
              <a:cxn ang="0">
                <a:pos x="107" y="215"/>
              </a:cxn>
              <a:cxn ang="0">
                <a:pos x="98" y="205"/>
              </a:cxn>
              <a:cxn ang="0">
                <a:pos x="117" y="186"/>
              </a:cxn>
              <a:cxn ang="0">
                <a:pos x="156" y="186"/>
              </a:cxn>
              <a:cxn ang="0">
                <a:pos x="176" y="186"/>
              </a:cxn>
              <a:cxn ang="0">
                <a:pos x="195" y="186"/>
              </a:cxn>
              <a:cxn ang="0">
                <a:pos x="234" y="205"/>
              </a:cxn>
              <a:cxn ang="0">
                <a:pos x="273" y="235"/>
              </a:cxn>
              <a:cxn ang="0">
                <a:pos x="293" y="215"/>
              </a:cxn>
              <a:cxn ang="0">
                <a:pos x="322" y="205"/>
              </a:cxn>
              <a:cxn ang="0">
                <a:pos x="322" y="186"/>
              </a:cxn>
              <a:cxn ang="0">
                <a:pos x="322" y="137"/>
              </a:cxn>
              <a:cxn ang="0">
                <a:pos x="302" y="117"/>
              </a:cxn>
              <a:cxn ang="0">
                <a:pos x="273" y="127"/>
              </a:cxn>
              <a:cxn ang="0">
                <a:pos x="254" y="108"/>
              </a:cxn>
              <a:cxn ang="0">
                <a:pos x="224" y="88"/>
              </a:cxn>
              <a:cxn ang="0">
                <a:pos x="205" y="69"/>
              </a:cxn>
              <a:cxn ang="0">
                <a:pos x="195" y="39"/>
              </a:cxn>
              <a:cxn ang="0">
                <a:pos x="185" y="20"/>
              </a:cxn>
              <a:cxn ang="0">
                <a:pos x="166" y="0"/>
              </a:cxn>
              <a:cxn ang="0">
                <a:pos x="146" y="39"/>
              </a:cxn>
              <a:cxn ang="0">
                <a:pos x="117" y="39"/>
              </a:cxn>
            </a:cxnLst>
            <a:rect l="0" t="0" r="r" b="b"/>
            <a:pathLst>
              <a:path w="322" h="235">
                <a:moveTo>
                  <a:pt x="88" y="30"/>
                </a:moveTo>
                <a:lnTo>
                  <a:pt x="78" y="69"/>
                </a:lnTo>
                <a:lnTo>
                  <a:pt x="68" y="69"/>
                </a:lnTo>
                <a:lnTo>
                  <a:pt x="68" y="88"/>
                </a:lnTo>
                <a:lnTo>
                  <a:pt x="59" y="108"/>
                </a:lnTo>
                <a:lnTo>
                  <a:pt x="68" y="108"/>
                </a:lnTo>
                <a:lnTo>
                  <a:pt x="68" y="137"/>
                </a:lnTo>
                <a:lnTo>
                  <a:pt x="59" y="137"/>
                </a:lnTo>
                <a:lnTo>
                  <a:pt x="59" y="156"/>
                </a:lnTo>
                <a:lnTo>
                  <a:pt x="39" y="147"/>
                </a:lnTo>
                <a:lnTo>
                  <a:pt x="29" y="176"/>
                </a:lnTo>
                <a:lnTo>
                  <a:pt x="0" y="176"/>
                </a:lnTo>
                <a:lnTo>
                  <a:pt x="10" y="186"/>
                </a:lnTo>
                <a:lnTo>
                  <a:pt x="20" y="186"/>
                </a:lnTo>
                <a:lnTo>
                  <a:pt x="20" y="205"/>
                </a:lnTo>
                <a:lnTo>
                  <a:pt x="49" y="215"/>
                </a:lnTo>
                <a:lnTo>
                  <a:pt x="68" y="215"/>
                </a:lnTo>
                <a:lnTo>
                  <a:pt x="68" y="235"/>
                </a:lnTo>
                <a:lnTo>
                  <a:pt x="98" y="235"/>
                </a:lnTo>
                <a:lnTo>
                  <a:pt x="107" y="235"/>
                </a:lnTo>
                <a:lnTo>
                  <a:pt x="107" y="215"/>
                </a:lnTo>
                <a:lnTo>
                  <a:pt x="98" y="215"/>
                </a:lnTo>
                <a:lnTo>
                  <a:pt x="98" y="205"/>
                </a:lnTo>
                <a:lnTo>
                  <a:pt x="117" y="205"/>
                </a:lnTo>
                <a:lnTo>
                  <a:pt x="117" y="186"/>
                </a:lnTo>
                <a:lnTo>
                  <a:pt x="127" y="186"/>
                </a:lnTo>
                <a:lnTo>
                  <a:pt x="156" y="186"/>
                </a:lnTo>
                <a:lnTo>
                  <a:pt x="176" y="186"/>
                </a:lnTo>
                <a:lnTo>
                  <a:pt x="176" y="176"/>
                </a:lnTo>
                <a:lnTo>
                  <a:pt x="195" y="186"/>
                </a:lnTo>
                <a:lnTo>
                  <a:pt x="215" y="196"/>
                </a:lnTo>
                <a:lnTo>
                  <a:pt x="234" y="205"/>
                </a:lnTo>
                <a:lnTo>
                  <a:pt x="254" y="235"/>
                </a:lnTo>
                <a:lnTo>
                  <a:pt x="273" y="235"/>
                </a:lnTo>
                <a:lnTo>
                  <a:pt x="273" y="215"/>
                </a:lnTo>
                <a:lnTo>
                  <a:pt x="293" y="215"/>
                </a:lnTo>
                <a:lnTo>
                  <a:pt x="312" y="215"/>
                </a:lnTo>
                <a:lnTo>
                  <a:pt x="322" y="205"/>
                </a:lnTo>
                <a:lnTo>
                  <a:pt x="322" y="196"/>
                </a:lnTo>
                <a:lnTo>
                  <a:pt x="322" y="186"/>
                </a:lnTo>
                <a:lnTo>
                  <a:pt x="322" y="156"/>
                </a:lnTo>
                <a:lnTo>
                  <a:pt x="322" y="137"/>
                </a:lnTo>
                <a:lnTo>
                  <a:pt x="322" y="127"/>
                </a:lnTo>
                <a:lnTo>
                  <a:pt x="302" y="117"/>
                </a:lnTo>
                <a:lnTo>
                  <a:pt x="283" y="117"/>
                </a:lnTo>
                <a:lnTo>
                  <a:pt x="273" y="127"/>
                </a:lnTo>
                <a:lnTo>
                  <a:pt x="263" y="117"/>
                </a:lnTo>
                <a:lnTo>
                  <a:pt x="254" y="108"/>
                </a:lnTo>
                <a:lnTo>
                  <a:pt x="244" y="88"/>
                </a:lnTo>
                <a:lnTo>
                  <a:pt x="224" y="88"/>
                </a:lnTo>
                <a:lnTo>
                  <a:pt x="224" y="69"/>
                </a:lnTo>
                <a:lnTo>
                  <a:pt x="205" y="69"/>
                </a:lnTo>
                <a:lnTo>
                  <a:pt x="185" y="69"/>
                </a:lnTo>
                <a:lnTo>
                  <a:pt x="195" y="39"/>
                </a:lnTo>
                <a:lnTo>
                  <a:pt x="195" y="30"/>
                </a:lnTo>
                <a:lnTo>
                  <a:pt x="185" y="20"/>
                </a:lnTo>
                <a:lnTo>
                  <a:pt x="185" y="10"/>
                </a:lnTo>
                <a:lnTo>
                  <a:pt x="166" y="0"/>
                </a:lnTo>
                <a:lnTo>
                  <a:pt x="166" y="20"/>
                </a:lnTo>
                <a:lnTo>
                  <a:pt x="146" y="39"/>
                </a:lnTo>
                <a:lnTo>
                  <a:pt x="127" y="49"/>
                </a:lnTo>
                <a:lnTo>
                  <a:pt x="117" y="39"/>
                </a:lnTo>
                <a:lnTo>
                  <a:pt x="88" y="3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en-US" sz="1100">
              <a:latin typeface="Polo" pitchFamily="2" charset="0"/>
              <a:cs typeface="+mn-cs"/>
            </a:endParaRPr>
          </a:p>
        </p:txBody>
      </p:sp>
      <p:sp>
        <p:nvSpPr>
          <p:cNvPr id="213" name="Freeform 156"/>
          <p:cNvSpPr>
            <a:spLocks/>
          </p:cNvSpPr>
          <p:nvPr>
            <p:custDataLst>
              <p:tags r:id="rId161"/>
            </p:custDataLst>
          </p:nvPr>
        </p:nvSpPr>
        <p:spPr bwMode="auto">
          <a:xfrm>
            <a:off x="2982913" y="4421188"/>
            <a:ext cx="236537" cy="174625"/>
          </a:xfrm>
          <a:custGeom>
            <a:avLst/>
            <a:gdLst/>
            <a:ahLst/>
            <a:cxnLst>
              <a:cxn ang="0">
                <a:pos x="19" y="59"/>
              </a:cxn>
              <a:cxn ang="0">
                <a:pos x="19" y="39"/>
              </a:cxn>
              <a:cxn ang="0">
                <a:pos x="10" y="29"/>
              </a:cxn>
              <a:cxn ang="0">
                <a:pos x="29" y="10"/>
              </a:cxn>
              <a:cxn ang="0">
                <a:pos x="68" y="0"/>
              </a:cxn>
              <a:cxn ang="0">
                <a:pos x="88" y="10"/>
              </a:cxn>
              <a:cxn ang="0">
                <a:pos x="107" y="0"/>
              </a:cxn>
              <a:cxn ang="0">
                <a:pos x="146" y="29"/>
              </a:cxn>
              <a:cxn ang="0">
                <a:pos x="185" y="59"/>
              </a:cxn>
              <a:cxn ang="0">
                <a:pos x="205" y="39"/>
              </a:cxn>
              <a:cxn ang="0">
                <a:pos x="234" y="29"/>
              </a:cxn>
              <a:cxn ang="0">
                <a:pos x="244" y="0"/>
              </a:cxn>
              <a:cxn ang="0">
                <a:pos x="253" y="39"/>
              </a:cxn>
              <a:cxn ang="0">
                <a:pos x="273" y="59"/>
              </a:cxn>
              <a:cxn ang="0">
                <a:pos x="292" y="39"/>
              </a:cxn>
              <a:cxn ang="0">
                <a:pos x="322" y="59"/>
              </a:cxn>
              <a:cxn ang="0">
                <a:pos x="322" y="117"/>
              </a:cxn>
              <a:cxn ang="0">
                <a:pos x="351" y="117"/>
              </a:cxn>
              <a:cxn ang="0">
                <a:pos x="341" y="127"/>
              </a:cxn>
              <a:cxn ang="0">
                <a:pos x="322" y="166"/>
              </a:cxn>
              <a:cxn ang="0">
                <a:pos x="273" y="185"/>
              </a:cxn>
              <a:cxn ang="0">
                <a:pos x="263" y="224"/>
              </a:cxn>
              <a:cxn ang="0">
                <a:pos x="224" y="234"/>
              </a:cxn>
              <a:cxn ang="0">
                <a:pos x="175" y="254"/>
              </a:cxn>
              <a:cxn ang="0">
                <a:pos x="156" y="254"/>
              </a:cxn>
              <a:cxn ang="0">
                <a:pos x="136" y="283"/>
              </a:cxn>
              <a:cxn ang="0">
                <a:pos x="78" y="283"/>
              </a:cxn>
              <a:cxn ang="0">
                <a:pos x="49" y="234"/>
              </a:cxn>
              <a:cxn ang="0">
                <a:pos x="39" y="195"/>
              </a:cxn>
              <a:cxn ang="0">
                <a:pos x="29" y="156"/>
              </a:cxn>
              <a:cxn ang="0">
                <a:pos x="39" y="146"/>
              </a:cxn>
              <a:cxn ang="0">
                <a:pos x="19" y="127"/>
              </a:cxn>
              <a:cxn ang="0">
                <a:pos x="29" y="107"/>
              </a:cxn>
              <a:cxn ang="0">
                <a:pos x="29" y="98"/>
              </a:cxn>
              <a:cxn ang="0">
                <a:pos x="0" y="59"/>
              </a:cxn>
            </a:cxnLst>
            <a:rect l="0" t="0" r="r" b="b"/>
            <a:pathLst>
              <a:path w="351" h="283">
                <a:moveTo>
                  <a:pt x="0" y="59"/>
                </a:moveTo>
                <a:lnTo>
                  <a:pt x="19" y="59"/>
                </a:lnTo>
                <a:lnTo>
                  <a:pt x="19" y="39"/>
                </a:lnTo>
                <a:lnTo>
                  <a:pt x="10" y="39"/>
                </a:lnTo>
                <a:lnTo>
                  <a:pt x="10" y="29"/>
                </a:lnTo>
                <a:lnTo>
                  <a:pt x="29" y="20"/>
                </a:lnTo>
                <a:lnTo>
                  <a:pt x="29" y="10"/>
                </a:lnTo>
                <a:lnTo>
                  <a:pt x="39" y="0"/>
                </a:lnTo>
                <a:lnTo>
                  <a:pt x="68" y="0"/>
                </a:lnTo>
                <a:lnTo>
                  <a:pt x="68" y="10"/>
                </a:lnTo>
                <a:lnTo>
                  <a:pt x="88" y="10"/>
                </a:lnTo>
                <a:lnTo>
                  <a:pt x="88" y="0"/>
                </a:lnTo>
                <a:lnTo>
                  <a:pt x="107" y="0"/>
                </a:lnTo>
                <a:lnTo>
                  <a:pt x="127" y="20"/>
                </a:lnTo>
                <a:lnTo>
                  <a:pt x="146" y="29"/>
                </a:lnTo>
                <a:lnTo>
                  <a:pt x="166" y="59"/>
                </a:lnTo>
                <a:lnTo>
                  <a:pt x="185" y="59"/>
                </a:lnTo>
                <a:lnTo>
                  <a:pt x="185" y="39"/>
                </a:lnTo>
                <a:lnTo>
                  <a:pt x="205" y="39"/>
                </a:lnTo>
                <a:lnTo>
                  <a:pt x="224" y="39"/>
                </a:lnTo>
                <a:lnTo>
                  <a:pt x="234" y="29"/>
                </a:lnTo>
                <a:lnTo>
                  <a:pt x="244" y="20"/>
                </a:lnTo>
                <a:lnTo>
                  <a:pt x="244" y="0"/>
                </a:lnTo>
                <a:lnTo>
                  <a:pt x="244" y="20"/>
                </a:lnTo>
                <a:lnTo>
                  <a:pt x="253" y="39"/>
                </a:lnTo>
                <a:lnTo>
                  <a:pt x="273" y="39"/>
                </a:lnTo>
                <a:lnTo>
                  <a:pt x="273" y="59"/>
                </a:lnTo>
                <a:lnTo>
                  <a:pt x="292" y="59"/>
                </a:lnTo>
                <a:lnTo>
                  <a:pt x="292" y="39"/>
                </a:lnTo>
                <a:lnTo>
                  <a:pt x="312" y="49"/>
                </a:lnTo>
                <a:lnTo>
                  <a:pt x="322" y="59"/>
                </a:lnTo>
                <a:lnTo>
                  <a:pt x="322" y="88"/>
                </a:lnTo>
                <a:lnTo>
                  <a:pt x="322" y="117"/>
                </a:lnTo>
                <a:lnTo>
                  <a:pt x="341" y="107"/>
                </a:lnTo>
                <a:lnTo>
                  <a:pt x="351" y="117"/>
                </a:lnTo>
                <a:lnTo>
                  <a:pt x="351" y="127"/>
                </a:lnTo>
                <a:lnTo>
                  <a:pt x="341" y="127"/>
                </a:lnTo>
                <a:lnTo>
                  <a:pt x="331" y="137"/>
                </a:lnTo>
                <a:lnTo>
                  <a:pt x="322" y="166"/>
                </a:lnTo>
                <a:lnTo>
                  <a:pt x="302" y="176"/>
                </a:lnTo>
                <a:lnTo>
                  <a:pt x="273" y="185"/>
                </a:lnTo>
                <a:lnTo>
                  <a:pt x="273" y="195"/>
                </a:lnTo>
                <a:lnTo>
                  <a:pt x="263" y="224"/>
                </a:lnTo>
                <a:lnTo>
                  <a:pt x="253" y="234"/>
                </a:lnTo>
                <a:lnTo>
                  <a:pt x="224" y="234"/>
                </a:lnTo>
                <a:lnTo>
                  <a:pt x="195" y="234"/>
                </a:lnTo>
                <a:lnTo>
                  <a:pt x="175" y="254"/>
                </a:lnTo>
                <a:lnTo>
                  <a:pt x="166" y="244"/>
                </a:lnTo>
                <a:lnTo>
                  <a:pt x="156" y="254"/>
                </a:lnTo>
                <a:lnTo>
                  <a:pt x="156" y="263"/>
                </a:lnTo>
                <a:lnTo>
                  <a:pt x="136" y="283"/>
                </a:lnTo>
                <a:lnTo>
                  <a:pt x="107" y="283"/>
                </a:lnTo>
                <a:lnTo>
                  <a:pt x="78" y="283"/>
                </a:lnTo>
                <a:lnTo>
                  <a:pt x="58" y="283"/>
                </a:lnTo>
                <a:lnTo>
                  <a:pt x="49" y="234"/>
                </a:lnTo>
                <a:lnTo>
                  <a:pt x="39" y="205"/>
                </a:lnTo>
                <a:lnTo>
                  <a:pt x="39" y="195"/>
                </a:lnTo>
                <a:lnTo>
                  <a:pt x="39" y="156"/>
                </a:lnTo>
                <a:lnTo>
                  <a:pt x="29" y="156"/>
                </a:lnTo>
                <a:lnTo>
                  <a:pt x="29" y="146"/>
                </a:lnTo>
                <a:lnTo>
                  <a:pt x="39" y="146"/>
                </a:lnTo>
                <a:lnTo>
                  <a:pt x="39" y="137"/>
                </a:lnTo>
                <a:lnTo>
                  <a:pt x="19" y="127"/>
                </a:lnTo>
                <a:lnTo>
                  <a:pt x="29" y="107"/>
                </a:lnTo>
                <a:lnTo>
                  <a:pt x="19" y="98"/>
                </a:lnTo>
                <a:lnTo>
                  <a:pt x="29" y="98"/>
                </a:lnTo>
                <a:lnTo>
                  <a:pt x="10" y="78"/>
                </a:lnTo>
                <a:lnTo>
                  <a:pt x="0" y="5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en-US" sz="1100">
              <a:latin typeface="Polo" pitchFamily="2" charset="0"/>
              <a:cs typeface="+mn-cs"/>
            </a:endParaRPr>
          </a:p>
        </p:txBody>
      </p:sp>
      <p:sp>
        <p:nvSpPr>
          <p:cNvPr id="214" name="Freeform 155"/>
          <p:cNvSpPr>
            <a:spLocks/>
          </p:cNvSpPr>
          <p:nvPr>
            <p:custDataLst>
              <p:tags r:id="rId162"/>
            </p:custDataLst>
          </p:nvPr>
        </p:nvSpPr>
        <p:spPr bwMode="auto">
          <a:xfrm>
            <a:off x="2714625" y="4324350"/>
            <a:ext cx="307975" cy="307975"/>
          </a:xfrm>
          <a:custGeom>
            <a:avLst/>
            <a:gdLst/>
            <a:ahLst/>
            <a:cxnLst>
              <a:cxn ang="0">
                <a:pos x="322" y="166"/>
              </a:cxn>
              <a:cxn ang="0">
                <a:pos x="332" y="185"/>
              </a:cxn>
              <a:cxn ang="0">
                <a:pos x="380" y="195"/>
              </a:cxn>
              <a:cxn ang="0">
                <a:pos x="400" y="224"/>
              </a:cxn>
              <a:cxn ang="0">
                <a:pos x="429" y="254"/>
              </a:cxn>
              <a:cxn ang="0">
                <a:pos x="429" y="273"/>
              </a:cxn>
              <a:cxn ang="0">
                <a:pos x="419" y="283"/>
              </a:cxn>
              <a:cxn ang="0">
                <a:pos x="429" y="302"/>
              </a:cxn>
              <a:cxn ang="0">
                <a:pos x="429" y="322"/>
              </a:cxn>
              <a:cxn ang="0">
                <a:pos x="439" y="351"/>
              </a:cxn>
              <a:cxn ang="0">
                <a:pos x="449" y="400"/>
              </a:cxn>
              <a:cxn ang="0">
                <a:pos x="439" y="449"/>
              </a:cxn>
              <a:cxn ang="0">
                <a:pos x="429" y="439"/>
              </a:cxn>
              <a:cxn ang="0">
                <a:pos x="390" y="449"/>
              </a:cxn>
              <a:cxn ang="0">
                <a:pos x="351" y="439"/>
              </a:cxn>
              <a:cxn ang="0">
                <a:pos x="341" y="429"/>
              </a:cxn>
              <a:cxn ang="0">
                <a:pos x="322" y="439"/>
              </a:cxn>
              <a:cxn ang="0">
                <a:pos x="283" y="439"/>
              </a:cxn>
              <a:cxn ang="0">
                <a:pos x="273" y="439"/>
              </a:cxn>
              <a:cxn ang="0">
                <a:pos x="254" y="419"/>
              </a:cxn>
              <a:cxn ang="0">
                <a:pos x="234" y="429"/>
              </a:cxn>
              <a:cxn ang="0">
                <a:pos x="215" y="468"/>
              </a:cxn>
              <a:cxn ang="0">
                <a:pos x="215" y="497"/>
              </a:cxn>
              <a:cxn ang="0">
                <a:pos x="166" y="468"/>
              </a:cxn>
              <a:cxn ang="0">
                <a:pos x="176" y="439"/>
              </a:cxn>
              <a:cxn ang="0">
                <a:pos x="176" y="390"/>
              </a:cxn>
              <a:cxn ang="0">
                <a:pos x="156" y="380"/>
              </a:cxn>
              <a:cxn ang="0">
                <a:pos x="146" y="361"/>
              </a:cxn>
              <a:cxn ang="0">
                <a:pos x="136" y="351"/>
              </a:cxn>
              <a:cxn ang="0">
                <a:pos x="136" y="312"/>
              </a:cxn>
              <a:cxn ang="0">
                <a:pos x="107" y="322"/>
              </a:cxn>
              <a:cxn ang="0">
                <a:pos x="107" y="293"/>
              </a:cxn>
              <a:cxn ang="0">
                <a:pos x="97" y="273"/>
              </a:cxn>
              <a:cxn ang="0">
                <a:pos x="58" y="263"/>
              </a:cxn>
              <a:cxn ang="0">
                <a:pos x="78" y="234"/>
              </a:cxn>
              <a:cxn ang="0">
                <a:pos x="97" y="176"/>
              </a:cxn>
              <a:cxn ang="0">
                <a:pos x="58" y="156"/>
              </a:cxn>
              <a:cxn ang="0">
                <a:pos x="49" y="136"/>
              </a:cxn>
              <a:cxn ang="0">
                <a:pos x="29" y="127"/>
              </a:cxn>
              <a:cxn ang="0">
                <a:pos x="10" y="117"/>
              </a:cxn>
              <a:cxn ang="0">
                <a:pos x="0" y="78"/>
              </a:cxn>
              <a:cxn ang="0">
                <a:pos x="19" y="49"/>
              </a:cxn>
              <a:cxn ang="0">
                <a:pos x="39" y="29"/>
              </a:cxn>
              <a:cxn ang="0">
                <a:pos x="68" y="19"/>
              </a:cxn>
              <a:cxn ang="0">
                <a:pos x="88" y="0"/>
              </a:cxn>
              <a:cxn ang="0">
                <a:pos x="117" y="0"/>
              </a:cxn>
              <a:cxn ang="0">
                <a:pos x="146" y="39"/>
              </a:cxn>
              <a:cxn ang="0">
                <a:pos x="195" y="58"/>
              </a:cxn>
              <a:cxn ang="0">
                <a:pos x="195" y="88"/>
              </a:cxn>
              <a:cxn ang="0">
                <a:pos x="215" y="97"/>
              </a:cxn>
              <a:cxn ang="0">
                <a:pos x="244" y="117"/>
              </a:cxn>
              <a:cxn ang="0">
                <a:pos x="263" y="146"/>
              </a:cxn>
              <a:cxn ang="0">
                <a:pos x="302" y="146"/>
              </a:cxn>
            </a:cxnLst>
            <a:rect l="0" t="0" r="r" b="b"/>
            <a:pathLst>
              <a:path w="458" h="497">
                <a:moveTo>
                  <a:pt x="312" y="156"/>
                </a:moveTo>
                <a:lnTo>
                  <a:pt x="322" y="166"/>
                </a:lnTo>
                <a:lnTo>
                  <a:pt x="332" y="176"/>
                </a:lnTo>
                <a:lnTo>
                  <a:pt x="332" y="185"/>
                </a:lnTo>
                <a:lnTo>
                  <a:pt x="361" y="205"/>
                </a:lnTo>
                <a:lnTo>
                  <a:pt x="380" y="195"/>
                </a:lnTo>
                <a:lnTo>
                  <a:pt x="380" y="215"/>
                </a:lnTo>
                <a:lnTo>
                  <a:pt x="400" y="224"/>
                </a:lnTo>
                <a:lnTo>
                  <a:pt x="410" y="234"/>
                </a:lnTo>
                <a:lnTo>
                  <a:pt x="429" y="254"/>
                </a:lnTo>
                <a:lnTo>
                  <a:pt x="419" y="263"/>
                </a:lnTo>
                <a:lnTo>
                  <a:pt x="429" y="273"/>
                </a:lnTo>
                <a:lnTo>
                  <a:pt x="419" y="283"/>
                </a:lnTo>
                <a:lnTo>
                  <a:pt x="429" y="293"/>
                </a:lnTo>
                <a:lnTo>
                  <a:pt x="429" y="302"/>
                </a:lnTo>
                <a:lnTo>
                  <a:pt x="429" y="322"/>
                </a:lnTo>
                <a:lnTo>
                  <a:pt x="439" y="322"/>
                </a:lnTo>
                <a:lnTo>
                  <a:pt x="439" y="351"/>
                </a:lnTo>
                <a:lnTo>
                  <a:pt x="439" y="361"/>
                </a:lnTo>
                <a:lnTo>
                  <a:pt x="449" y="400"/>
                </a:lnTo>
                <a:lnTo>
                  <a:pt x="458" y="439"/>
                </a:lnTo>
                <a:lnTo>
                  <a:pt x="439" y="449"/>
                </a:lnTo>
                <a:lnTo>
                  <a:pt x="439" y="439"/>
                </a:lnTo>
                <a:lnTo>
                  <a:pt x="429" y="439"/>
                </a:lnTo>
                <a:lnTo>
                  <a:pt x="419" y="449"/>
                </a:lnTo>
                <a:lnTo>
                  <a:pt x="390" y="449"/>
                </a:lnTo>
                <a:lnTo>
                  <a:pt x="380" y="439"/>
                </a:lnTo>
                <a:lnTo>
                  <a:pt x="351" y="439"/>
                </a:lnTo>
                <a:lnTo>
                  <a:pt x="341" y="439"/>
                </a:lnTo>
                <a:lnTo>
                  <a:pt x="341" y="429"/>
                </a:lnTo>
                <a:lnTo>
                  <a:pt x="332" y="429"/>
                </a:lnTo>
                <a:lnTo>
                  <a:pt x="322" y="439"/>
                </a:lnTo>
                <a:lnTo>
                  <a:pt x="312" y="439"/>
                </a:lnTo>
                <a:lnTo>
                  <a:pt x="283" y="439"/>
                </a:lnTo>
                <a:lnTo>
                  <a:pt x="273" y="439"/>
                </a:lnTo>
                <a:lnTo>
                  <a:pt x="254" y="439"/>
                </a:lnTo>
                <a:lnTo>
                  <a:pt x="254" y="419"/>
                </a:lnTo>
                <a:lnTo>
                  <a:pt x="234" y="429"/>
                </a:lnTo>
                <a:lnTo>
                  <a:pt x="224" y="439"/>
                </a:lnTo>
                <a:lnTo>
                  <a:pt x="215" y="468"/>
                </a:lnTo>
                <a:lnTo>
                  <a:pt x="205" y="468"/>
                </a:lnTo>
                <a:lnTo>
                  <a:pt x="215" y="497"/>
                </a:lnTo>
                <a:lnTo>
                  <a:pt x="166" y="478"/>
                </a:lnTo>
                <a:lnTo>
                  <a:pt x="166" y="468"/>
                </a:lnTo>
                <a:lnTo>
                  <a:pt x="176" y="458"/>
                </a:lnTo>
                <a:lnTo>
                  <a:pt x="176" y="439"/>
                </a:lnTo>
                <a:lnTo>
                  <a:pt x="176" y="410"/>
                </a:lnTo>
                <a:lnTo>
                  <a:pt x="176" y="390"/>
                </a:lnTo>
                <a:lnTo>
                  <a:pt x="166" y="380"/>
                </a:lnTo>
                <a:lnTo>
                  <a:pt x="156" y="380"/>
                </a:lnTo>
                <a:lnTo>
                  <a:pt x="146" y="371"/>
                </a:lnTo>
                <a:lnTo>
                  <a:pt x="146" y="361"/>
                </a:lnTo>
                <a:lnTo>
                  <a:pt x="146" y="351"/>
                </a:lnTo>
                <a:lnTo>
                  <a:pt x="136" y="351"/>
                </a:lnTo>
                <a:lnTo>
                  <a:pt x="146" y="332"/>
                </a:lnTo>
                <a:lnTo>
                  <a:pt x="136" y="312"/>
                </a:lnTo>
                <a:lnTo>
                  <a:pt x="117" y="322"/>
                </a:lnTo>
                <a:lnTo>
                  <a:pt x="107" y="322"/>
                </a:lnTo>
                <a:lnTo>
                  <a:pt x="97" y="302"/>
                </a:lnTo>
                <a:lnTo>
                  <a:pt x="107" y="293"/>
                </a:lnTo>
                <a:lnTo>
                  <a:pt x="107" y="283"/>
                </a:lnTo>
                <a:lnTo>
                  <a:pt x="97" y="273"/>
                </a:lnTo>
                <a:lnTo>
                  <a:pt x="78" y="283"/>
                </a:lnTo>
                <a:lnTo>
                  <a:pt x="58" y="263"/>
                </a:lnTo>
                <a:lnTo>
                  <a:pt x="58" y="254"/>
                </a:lnTo>
                <a:lnTo>
                  <a:pt x="78" y="234"/>
                </a:lnTo>
                <a:lnTo>
                  <a:pt x="107" y="195"/>
                </a:lnTo>
                <a:lnTo>
                  <a:pt x="97" y="176"/>
                </a:lnTo>
                <a:lnTo>
                  <a:pt x="68" y="146"/>
                </a:lnTo>
                <a:lnTo>
                  <a:pt x="58" y="156"/>
                </a:lnTo>
                <a:lnTo>
                  <a:pt x="39" y="146"/>
                </a:lnTo>
                <a:lnTo>
                  <a:pt x="49" y="136"/>
                </a:lnTo>
                <a:lnTo>
                  <a:pt x="58" y="136"/>
                </a:lnTo>
                <a:lnTo>
                  <a:pt x="29" y="127"/>
                </a:lnTo>
                <a:lnTo>
                  <a:pt x="19" y="127"/>
                </a:lnTo>
                <a:lnTo>
                  <a:pt x="10" y="117"/>
                </a:lnTo>
                <a:lnTo>
                  <a:pt x="10" y="97"/>
                </a:lnTo>
                <a:lnTo>
                  <a:pt x="0" y="78"/>
                </a:lnTo>
                <a:lnTo>
                  <a:pt x="19" y="58"/>
                </a:lnTo>
                <a:lnTo>
                  <a:pt x="19" y="49"/>
                </a:lnTo>
                <a:lnTo>
                  <a:pt x="29" y="29"/>
                </a:lnTo>
                <a:lnTo>
                  <a:pt x="39" y="29"/>
                </a:lnTo>
                <a:lnTo>
                  <a:pt x="58" y="29"/>
                </a:lnTo>
                <a:lnTo>
                  <a:pt x="68" y="19"/>
                </a:lnTo>
                <a:lnTo>
                  <a:pt x="78" y="19"/>
                </a:lnTo>
                <a:lnTo>
                  <a:pt x="88" y="0"/>
                </a:lnTo>
                <a:lnTo>
                  <a:pt x="107" y="0"/>
                </a:lnTo>
                <a:lnTo>
                  <a:pt x="117" y="0"/>
                </a:lnTo>
                <a:lnTo>
                  <a:pt x="117" y="29"/>
                </a:lnTo>
                <a:lnTo>
                  <a:pt x="146" y="39"/>
                </a:lnTo>
                <a:lnTo>
                  <a:pt x="166" y="68"/>
                </a:lnTo>
                <a:lnTo>
                  <a:pt x="195" y="58"/>
                </a:lnTo>
                <a:lnTo>
                  <a:pt x="205" y="78"/>
                </a:lnTo>
                <a:lnTo>
                  <a:pt x="195" y="88"/>
                </a:lnTo>
                <a:lnTo>
                  <a:pt x="195" y="107"/>
                </a:lnTo>
                <a:lnTo>
                  <a:pt x="215" y="97"/>
                </a:lnTo>
                <a:lnTo>
                  <a:pt x="224" y="117"/>
                </a:lnTo>
                <a:lnTo>
                  <a:pt x="244" y="117"/>
                </a:lnTo>
                <a:lnTo>
                  <a:pt x="254" y="146"/>
                </a:lnTo>
                <a:lnTo>
                  <a:pt x="263" y="146"/>
                </a:lnTo>
                <a:lnTo>
                  <a:pt x="273" y="127"/>
                </a:lnTo>
                <a:lnTo>
                  <a:pt x="302" y="146"/>
                </a:lnTo>
                <a:lnTo>
                  <a:pt x="312" y="15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en-US" sz="1100">
              <a:latin typeface="Polo" pitchFamily="2" charset="0"/>
              <a:cs typeface="+mn-cs"/>
            </a:endParaRPr>
          </a:p>
        </p:txBody>
      </p:sp>
      <p:sp>
        <p:nvSpPr>
          <p:cNvPr id="215" name="Freeform 154"/>
          <p:cNvSpPr>
            <a:spLocks/>
          </p:cNvSpPr>
          <p:nvPr>
            <p:custDataLst>
              <p:tags r:id="rId163"/>
            </p:custDataLst>
          </p:nvPr>
        </p:nvSpPr>
        <p:spPr bwMode="auto">
          <a:xfrm>
            <a:off x="3624263" y="4391025"/>
            <a:ext cx="222250" cy="265113"/>
          </a:xfrm>
          <a:custGeom>
            <a:avLst/>
            <a:gdLst/>
            <a:ahLst/>
            <a:cxnLst>
              <a:cxn ang="0">
                <a:pos x="215" y="361"/>
              </a:cxn>
              <a:cxn ang="0">
                <a:pos x="234" y="351"/>
              </a:cxn>
              <a:cxn ang="0">
                <a:pos x="244" y="303"/>
              </a:cxn>
              <a:cxn ang="0">
                <a:pos x="263" y="283"/>
              </a:cxn>
              <a:cxn ang="0">
                <a:pos x="283" y="273"/>
              </a:cxn>
              <a:cxn ang="0">
                <a:pos x="312" y="244"/>
              </a:cxn>
              <a:cxn ang="0">
                <a:pos x="322" y="215"/>
              </a:cxn>
              <a:cxn ang="0">
                <a:pos x="302" y="176"/>
              </a:cxn>
              <a:cxn ang="0">
                <a:pos x="322" y="117"/>
              </a:cxn>
              <a:cxn ang="0">
                <a:pos x="273" y="108"/>
              </a:cxn>
              <a:cxn ang="0">
                <a:pos x="273" y="69"/>
              </a:cxn>
              <a:cxn ang="0">
                <a:pos x="263" y="29"/>
              </a:cxn>
              <a:cxn ang="0">
                <a:pos x="234" y="39"/>
              </a:cxn>
              <a:cxn ang="0">
                <a:pos x="215" y="20"/>
              </a:cxn>
              <a:cxn ang="0">
                <a:pos x="195" y="10"/>
              </a:cxn>
              <a:cxn ang="0">
                <a:pos x="176" y="39"/>
              </a:cxn>
              <a:cxn ang="0">
                <a:pos x="185" y="88"/>
              </a:cxn>
              <a:cxn ang="0">
                <a:pos x="176" y="69"/>
              </a:cxn>
              <a:cxn ang="0">
                <a:pos x="156" y="59"/>
              </a:cxn>
              <a:cxn ang="0">
                <a:pos x="117" y="69"/>
              </a:cxn>
              <a:cxn ang="0">
                <a:pos x="98" y="69"/>
              </a:cxn>
              <a:cxn ang="0">
                <a:pos x="68" y="88"/>
              </a:cxn>
              <a:cxn ang="0">
                <a:pos x="59" y="59"/>
              </a:cxn>
              <a:cxn ang="0">
                <a:pos x="49" y="49"/>
              </a:cxn>
              <a:cxn ang="0">
                <a:pos x="29" y="29"/>
              </a:cxn>
              <a:cxn ang="0">
                <a:pos x="10" y="29"/>
              </a:cxn>
              <a:cxn ang="0">
                <a:pos x="10" y="49"/>
              </a:cxn>
              <a:cxn ang="0">
                <a:pos x="10" y="88"/>
              </a:cxn>
              <a:cxn ang="0">
                <a:pos x="0" y="127"/>
              </a:cxn>
              <a:cxn ang="0">
                <a:pos x="10" y="166"/>
              </a:cxn>
              <a:cxn ang="0">
                <a:pos x="20" y="205"/>
              </a:cxn>
              <a:cxn ang="0">
                <a:pos x="20" y="254"/>
              </a:cxn>
              <a:cxn ang="0">
                <a:pos x="20" y="322"/>
              </a:cxn>
              <a:cxn ang="0">
                <a:pos x="10" y="361"/>
              </a:cxn>
              <a:cxn ang="0">
                <a:pos x="39" y="361"/>
              </a:cxn>
              <a:cxn ang="0">
                <a:pos x="59" y="390"/>
              </a:cxn>
              <a:cxn ang="0">
                <a:pos x="88" y="390"/>
              </a:cxn>
              <a:cxn ang="0">
                <a:pos x="127" y="381"/>
              </a:cxn>
              <a:cxn ang="0">
                <a:pos x="137" y="332"/>
              </a:cxn>
              <a:cxn ang="0">
                <a:pos x="146" y="303"/>
              </a:cxn>
              <a:cxn ang="0">
                <a:pos x="107" y="332"/>
              </a:cxn>
              <a:cxn ang="0">
                <a:pos x="68" y="361"/>
              </a:cxn>
              <a:cxn ang="0">
                <a:pos x="59" y="342"/>
              </a:cxn>
              <a:cxn ang="0">
                <a:pos x="68" y="312"/>
              </a:cxn>
              <a:cxn ang="0">
                <a:pos x="88" y="322"/>
              </a:cxn>
              <a:cxn ang="0">
                <a:pos x="107" y="303"/>
              </a:cxn>
              <a:cxn ang="0">
                <a:pos x="146" y="273"/>
              </a:cxn>
              <a:cxn ang="0">
                <a:pos x="127" y="225"/>
              </a:cxn>
              <a:cxn ang="0">
                <a:pos x="98" y="195"/>
              </a:cxn>
              <a:cxn ang="0">
                <a:pos x="98" y="186"/>
              </a:cxn>
              <a:cxn ang="0">
                <a:pos x="137" y="225"/>
              </a:cxn>
              <a:cxn ang="0">
                <a:pos x="166" y="244"/>
              </a:cxn>
              <a:cxn ang="0">
                <a:pos x="176" y="303"/>
              </a:cxn>
              <a:cxn ang="0">
                <a:pos x="146" y="351"/>
              </a:cxn>
              <a:cxn ang="0">
                <a:pos x="146" y="400"/>
              </a:cxn>
              <a:cxn ang="0">
                <a:pos x="166" y="420"/>
              </a:cxn>
              <a:cxn ang="0">
                <a:pos x="215" y="400"/>
              </a:cxn>
            </a:cxnLst>
            <a:rect l="0" t="0" r="r" b="b"/>
            <a:pathLst>
              <a:path w="332" h="430">
                <a:moveTo>
                  <a:pt x="215" y="400"/>
                </a:moveTo>
                <a:lnTo>
                  <a:pt x="205" y="381"/>
                </a:lnTo>
                <a:lnTo>
                  <a:pt x="215" y="361"/>
                </a:lnTo>
                <a:lnTo>
                  <a:pt x="224" y="371"/>
                </a:lnTo>
                <a:lnTo>
                  <a:pt x="244" y="361"/>
                </a:lnTo>
                <a:lnTo>
                  <a:pt x="234" y="351"/>
                </a:lnTo>
                <a:lnTo>
                  <a:pt x="244" y="322"/>
                </a:lnTo>
                <a:lnTo>
                  <a:pt x="254" y="312"/>
                </a:lnTo>
                <a:lnTo>
                  <a:pt x="244" y="303"/>
                </a:lnTo>
                <a:lnTo>
                  <a:pt x="254" y="303"/>
                </a:lnTo>
                <a:lnTo>
                  <a:pt x="254" y="283"/>
                </a:lnTo>
                <a:lnTo>
                  <a:pt x="263" y="283"/>
                </a:lnTo>
                <a:lnTo>
                  <a:pt x="263" y="264"/>
                </a:lnTo>
                <a:lnTo>
                  <a:pt x="283" y="264"/>
                </a:lnTo>
                <a:lnTo>
                  <a:pt x="283" y="273"/>
                </a:lnTo>
                <a:lnTo>
                  <a:pt x="302" y="273"/>
                </a:lnTo>
                <a:lnTo>
                  <a:pt x="312" y="264"/>
                </a:lnTo>
                <a:lnTo>
                  <a:pt x="312" y="244"/>
                </a:lnTo>
                <a:lnTo>
                  <a:pt x="322" y="244"/>
                </a:lnTo>
                <a:lnTo>
                  <a:pt x="332" y="234"/>
                </a:lnTo>
                <a:lnTo>
                  <a:pt x="322" y="215"/>
                </a:lnTo>
                <a:lnTo>
                  <a:pt x="302" y="195"/>
                </a:lnTo>
                <a:lnTo>
                  <a:pt x="302" y="176"/>
                </a:lnTo>
                <a:lnTo>
                  <a:pt x="312" y="156"/>
                </a:lnTo>
                <a:lnTo>
                  <a:pt x="322" y="147"/>
                </a:lnTo>
                <a:lnTo>
                  <a:pt x="322" y="117"/>
                </a:lnTo>
                <a:lnTo>
                  <a:pt x="302" y="88"/>
                </a:lnTo>
                <a:lnTo>
                  <a:pt x="293" y="98"/>
                </a:lnTo>
                <a:lnTo>
                  <a:pt x="273" y="108"/>
                </a:lnTo>
                <a:lnTo>
                  <a:pt x="263" y="98"/>
                </a:lnTo>
                <a:lnTo>
                  <a:pt x="263" y="78"/>
                </a:lnTo>
                <a:lnTo>
                  <a:pt x="273" y="69"/>
                </a:lnTo>
                <a:lnTo>
                  <a:pt x="273" y="49"/>
                </a:lnTo>
                <a:lnTo>
                  <a:pt x="263" y="39"/>
                </a:lnTo>
                <a:lnTo>
                  <a:pt x="263" y="29"/>
                </a:lnTo>
                <a:lnTo>
                  <a:pt x="244" y="29"/>
                </a:lnTo>
                <a:lnTo>
                  <a:pt x="244" y="49"/>
                </a:lnTo>
                <a:lnTo>
                  <a:pt x="234" y="39"/>
                </a:lnTo>
                <a:lnTo>
                  <a:pt x="234" y="29"/>
                </a:lnTo>
                <a:lnTo>
                  <a:pt x="224" y="29"/>
                </a:lnTo>
                <a:lnTo>
                  <a:pt x="215" y="20"/>
                </a:lnTo>
                <a:lnTo>
                  <a:pt x="205" y="10"/>
                </a:lnTo>
                <a:lnTo>
                  <a:pt x="205" y="0"/>
                </a:lnTo>
                <a:lnTo>
                  <a:pt x="195" y="10"/>
                </a:lnTo>
                <a:lnTo>
                  <a:pt x="185" y="20"/>
                </a:lnTo>
                <a:lnTo>
                  <a:pt x="176" y="29"/>
                </a:lnTo>
                <a:lnTo>
                  <a:pt x="176" y="39"/>
                </a:lnTo>
                <a:lnTo>
                  <a:pt x="185" y="59"/>
                </a:lnTo>
                <a:lnTo>
                  <a:pt x="185" y="78"/>
                </a:lnTo>
                <a:lnTo>
                  <a:pt x="185" y="88"/>
                </a:lnTo>
                <a:lnTo>
                  <a:pt x="176" y="88"/>
                </a:lnTo>
                <a:lnTo>
                  <a:pt x="176" y="78"/>
                </a:lnTo>
                <a:lnTo>
                  <a:pt x="176" y="69"/>
                </a:lnTo>
                <a:lnTo>
                  <a:pt x="166" y="69"/>
                </a:lnTo>
                <a:lnTo>
                  <a:pt x="156" y="69"/>
                </a:lnTo>
                <a:lnTo>
                  <a:pt x="156" y="59"/>
                </a:lnTo>
                <a:lnTo>
                  <a:pt x="146" y="59"/>
                </a:lnTo>
                <a:lnTo>
                  <a:pt x="137" y="59"/>
                </a:lnTo>
                <a:lnTo>
                  <a:pt x="117" y="69"/>
                </a:lnTo>
                <a:lnTo>
                  <a:pt x="107" y="59"/>
                </a:lnTo>
                <a:lnTo>
                  <a:pt x="98" y="59"/>
                </a:lnTo>
                <a:lnTo>
                  <a:pt x="98" y="69"/>
                </a:lnTo>
                <a:lnTo>
                  <a:pt x="88" y="88"/>
                </a:lnTo>
                <a:lnTo>
                  <a:pt x="78" y="88"/>
                </a:lnTo>
                <a:lnTo>
                  <a:pt x="68" y="88"/>
                </a:lnTo>
                <a:lnTo>
                  <a:pt x="68" y="78"/>
                </a:lnTo>
                <a:lnTo>
                  <a:pt x="59" y="69"/>
                </a:lnTo>
                <a:lnTo>
                  <a:pt x="59" y="59"/>
                </a:lnTo>
                <a:lnTo>
                  <a:pt x="39" y="59"/>
                </a:lnTo>
                <a:lnTo>
                  <a:pt x="49" y="49"/>
                </a:lnTo>
                <a:lnTo>
                  <a:pt x="39" y="39"/>
                </a:lnTo>
                <a:lnTo>
                  <a:pt x="39" y="29"/>
                </a:lnTo>
                <a:lnTo>
                  <a:pt x="29" y="29"/>
                </a:lnTo>
                <a:lnTo>
                  <a:pt x="29" y="39"/>
                </a:lnTo>
                <a:lnTo>
                  <a:pt x="20" y="39"/>
                </a:lnTo>
                <a:lnTo>
                  <a:pt x="10" y="29"/>
                </a:lnTo>
                <a:lnTo>
                  <a:pt x="0" y="29"/>
                </a:lnTo>
                <a:lnTo>
                  <a:pt x="10" y="49"/>
                </a:lnTo>
                <a:lnTo>
                  <a:pt x="10" y="69"/>
                </a:lnTo>
                <a:lnTo>
                  <a:pt x="10" y="88"/>
                </a:lnTo>
                <a:lnTo>
                  <a:pt x="10" y="98"/>
                </a:lnTo>
                <a:lnTo>
                  <a:pt x="0" y="108"/>
                </a:lnTo>
                <a:lnTo>
                  <a:pt x="0" y="127"/>
                </a:lnTo>
                <a:lnTo>
                  <a:pt x="10" y="137"/>
                </a:lnTo>
                <a:lnTo>
                  <a:pt x="10" y="166"/>
                </a:lnTo>
                <a:lnTo>
                  <a:pt x="10" y="176"/>
                </a:lnTo>
                <a:lnTo>
                  <a:pt x="10" y="195"/>
                </a:lnTo>
                <a:lnTo>
                  <a:pt x="20" y="205"/>
                </a:lnTo>
                <a:lnTo>
                  <a:pt x="29" y="225"/>
                </a:lnTo>
                <a:lnTo>
                  <a:pt x="20" y="234"/>
                </a:lnTo>
                <a:lnTo>
                  <a:pt x="20" y="254"/>
                </a:lnTo>
                <a:lnTo>
                  <a:pt x="20" y="273"/>
                </a:lnTo>
                <a:lnTo>
                  <a:pt x="20" y="283"/>
                </a:lnTo>
                <a:lnTo>
                  <a:pt x="20" y="322"/>
                </a:lnTo>
                <a:lnTo>
                  <a:pt x="20" y="342"/>
                </a:lnTo>
                <a:lnTo>
                  <a:pt x="10" y="351"/>
                </a:lnTo>
                <a:lnTo>
                  <a:pt x="10" y="361"/>
                </a:lnTo>
                <a:lnTo>
                  <a:pt x="10" y="371"/>
                </a:lnTo>
                <a:lnTo>
                  <a:pt x="20" y="361"/>
                </a:lnTo>
                <a:lnTo>
                  <a:pt x="39" y="361"/>
                </a:lnTo>
                <a:lnTo>
                  <a:pt x="49" y="371"/>
                </a:lnTo>
                <a:lnTo>
                  <a:pt x="49" y="381"/>
                </a:lnTo>
                <a:lnTo>
                  <a:pt x="59" y="390"/>
                </a:lnTo>
                <a:lnTo>
                  <a:pt x="59" y="400"/>
                </a:lnTo>
                <a:lnTo>
                  <a:pt x="68" y="410"/>
                </a:lnTo>
                <a:lnTo>
                  <a:pt x="88" y="390"/>
                </a:lnTo>
                <a:lnTo>
                  <a:pt x="107" y="390"/>
                </a:lnTo>
                <a:lnTo>
                  <a:pt x="127" y="381"/>
                </a:lnTo>
                <a:lnTo>
                  <a:pt x="137" y="351"/>
                </a:lnTo>
                <a:lnTo>
                  <a:pt x="137" y="342"/>
                </a:lnTo>
                <a:lnTo>
                  <a:pt x="137" y="332"/>
                </a:lnTo>
                <a:lnTo>
                  <a:pt x="146" y="322"/>
                </a:lnTo>
                <a:lnTo>
                  <a:pt x="156" y="303"/>
                </a:lnTo>
                <a:lnTo>
                  <a:pt x="146" y="303"/>
                </a:lnTo>
                <a:lnTo>
                  <a:pt x="137" y="312"/>
                </a:lnTo>
                <a:lnTo>
                  <a:pt x="127" y="322"/>
                </a:lnTo>
                <a:lnTo>
                  <a:pt x="107" y="332"/>
                </a:lnTo>
                <a:lnTo>
                  <a:pt x="98" y="351"/>
                </a:lnTo>
                <a:lnTo>
                  <a:pt x="78" y="361"/>
                </a:lnTo>
                <a:lnTo>
                  <a:pt x="68" y="361"/>
                </a:lnTo>
                <a:lnTo>
                  <a:pt x="68" y="351"/>
                </a:lnTo>
                <a:lnTo>
                  <a:pt x="68" y="342"/>
                </a:lnTo>
                <a:lnTo>
                  <a:pt x="59" y="342"/>
                </a:lnTo>
                <a:lnTo>
                  <a:pt x="49" y="332"/>
                </a:lnTo>
                <a:lnTo>
                  <a:pt x="49" y="322"/>
                </a:lnTo>
                <a:lnTo>
                  <a:pt x="68" y="312"/>
                </a:lnTo>
                <a:lnTo>
                  <a:pt x="78" y="303"/>
                </a:lnTo>
                <a:lnTo>
                  <a:pt x="78" y="312"/>
                </a:lnTo>
                <a:lnTo>
                  <a:pt x="88" y="322"/>
                </a:lnTo>
                <a:lnTo>
                  <a:pt x="98" y="322"/>
                </a:lnTo>
                <a:lnTo>
                  <a:pt x="98" y="303"/>
                </a:lnTo>
                <a:lnTo>
                  <a:pt x="107" y="303"/>
                </a:lnTo>
                <a:lnTo>
                  <a:pt x="117" y="293"/>
                </a:lnTo>
                <a:lnTo>
                  <a:pt x="127" y="283"/>
                </a:lnTo>
                <a:lnTo>
                  <a:pt x="146" y="273"/>
                </a:lnTo>
                <a:lnTo>
                  <a:pt x="146" y="264"/>
                </a:lnTo>
                <a:lnTo>
                  <a:pt x="146" y="254"/>
                </a:lnTo>
                <a:lnTo>
                  <a:pt x="127" y="225"/>
                </a:lnTo>
                <a:lnTo>
                  <a:pt x="117" y="225"/>
                </a:lnTo>
                <a:lnTo>
                  <a:pt x="98" y="205"/>
                </a:lnTo>
                <a:lnTo>
                  <a:pt x="98" y="195"/>
                </a:lnTo>
                <a:lnTo>
                  <a:pt x="88" y="186"/>
                </a:lnTo>
                <a:lnTo>
                  <a:pt x="98" y="176"/>
                </a:lnTo>
                <a:lnTo>
                  <a:pt x="98" y="186"/>
                </a:lnTo>
                <a:lnTo>
                  <a:pt x="117" y="205"/>
                </a:lnTo>
                <a:lnTo>
                  <a:pt x="127" y="215"/>
                </a:lnTo>
                <a:lnTo>
                  <a:pt x="137" y="225"/>
                </a:lnTo>
                <a:lnTo>
                  <a:pt x="156" y="225"/>
                </a:lnTo>
                <a:lnTo>
                  <a:pt x="166" y="234"/>
                </a:lnTo>
                <a:lnTo>
                  <a:pt x="166" y="244"/>
                </a:lnTo>
                <a:lnTo>
                  <a:pt x="185" y="273"/>
                </a:lnTo>
                <a:lnTo>
                  <a:pt x="176" y="293"/>
                </a:lnTo>
                <a:lnTo>
                  <a:pt x="176" y="303"/>
                </a:lnTo>
                <a:lnTo>
                  <a:pt x="176" y="322"/>
                </a:lnTo>
                <a:lnTo>
                  <a:pt x="156" y="342"/>
                </a:lnTo>
                <a:lnTo>
                  <a:pt x="146" y="351"/>
                </a:lnTo>
                <a:lnTo>
                  <a:pt x="137" y="351"/>
                </a:lnTo>
                <a:lnTo>
                  <a:pt x="127" y="381"/>
                </a:lnTo>
                <a:lnTo>
                  <a:pt x="146" y="400"/>
                </a:lnTo>
                <a:lnTo>
                  <a:pt x="137" y="420"/>
                </a:lnTo>
                <a:lnTo>
                  <a:pt x="146" y="430"/>
                </a:lnTo>
                <a:lnTo>
                  <a:pt x="166" y="420"/>
                </a:lnTo>
                <a:lnTo>
                  <a:pt x="185" y="420"/>
                </a:lnTo>
                <a:lnTo>
                  <a:pt x="185" y="400"/>
                </a:lnTo>
                <a:lnTo>
                  <a:pt x="215" y="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en-US" sz="1100">
              <a:latin typeface="Polo" pitchFamily="2" charset="0"/>
              <a:cs typeface="+mn-cs"/>
            </a:endParaRPr>
          </a:p>
        </p:txBody>
      </p:sp>
      <p:sp>
        <p:nvSpPr>
          <p:cNvPr id="216" name="Freeform 153"/>
          <p:cNvSpPr>
            <a:spLocks/>
          </p:cNvSpPr>
          <p:nvPr>
            <p:custDataLst>
              <p:tags r:id="rId164"/>
            </p:custDataLst>
          </p:nvPr>
        </p:nvSpPr>
        <p:spPr bwMode="auto">
          <a:xfrm>
            <a:off x="2251075" y="4548188"/>
            <a:ext cx="211138" cy="266700"/>
          </a:xfrm>
          <a:custGeom>
            <a:avLst/>
            <a:gdLst/>
            <a:ahLst/>
            <a:cxnLst>
              <a:cxn ang="0">
                <a:pos x="39" y="273"/>
              </a:cxn>
              <a:cxn ang="0">
                <a:pos x="39" y="293"/>
              </a:cxn>
              <a:cxn ang="0">
                <a:pos x="69" y="312"/>
              </a:cxn>
              <a:cxn ang="0">
                <a:pos x="98" y="322"/>
              </a:cxn>
              <a:cxn ang="0">
                <a:pos x="117" y="341"/>
              </a:cxn>
              <a:cxn ang="0">
                <a:pos x="117" y="361"/>
              </a:cxn>
              <a:cxn ang="0">
                <a:pos x="127" y="390"/>
              </a:cxn>
              <a:cxn ang="0">
                <a:pos x="166" y="390"/>
              </a:cxn>
              <a:cxn ang="0">
                <a:pos x="166" y="419"/>
              </a:cxn>
              <a:cxn ang="0">
                <a:pos x="195" y="419"/>
              </a:cxn>
              <a:cxn ang="0">
                <a:pos x="215" y="410"/>
              </a:cxn>
              <a:cxn ang="0">
                <a:pos x="186" y="380"/>
              </a:cxn>
              <a:cxn ang="0">
                <a:pos x="215" y="390"/>
              </a:cxn>
              <a:cxn ang="0">
                <a:pos x="225" y="371"/>
              </a:cxn>
              <a:cxn ang="0">
                <a:pos x="234" y="351"/>
              </a:cxn>
              <a:cxn ang="0">
                <a:pos x="273" y="371"/>
              </a:cxn>
              <a:cxn ang="0">
                <a:pos x="293" y="351"/>
              </a:cxn>
              <a:cxn ang="0">
                <a:pos x="313" y="322"/>
              </a:cxn>
              <a:cxn ang="0">
                <a:pos x="264" y="234"/>
              </a:cxn>
              <a:cxn ang="0">
                <a:pos x="273" y="195"/>
              </a:cxn>
              <a:cxn ang="0">
                <a:pos x="264" y="156"/>
              </a:cxn>
              <a:cxn ang="0">
                <a:pos x="254" y="127"/>
              </a:cxn>
              <a:cxn ang="0">
                <a:pos x="244" y="97"/>
              </a:cxn>
              <a:cxn ang="0">
                <a:pos x="205" y="88"/>
              </a:cxn>
              <a:cxn ang="0">
                <a:pos x="205" y="78"/>
              </a:cxn>
              <a:cxn ang="0">
                <a:pos x="186" y="68"/>
              </a:cxn>
              <a:cxn ang="0">
                <a:pos x="166" y="58"/>
              </a:cxn>
              <a:cxn ang="0">
                <a:pos x="127" y="0"/>
              </a:cxn>
              <a:cxn ang="0">
                <a:pos x="98" y="19"/>
              </a:cxn>
              <a:cxn ang="0">
                <a:pos x="78" y="10"/>
              </a:cxn>
              <a:cxn ang="0">
                <a:pos x="59" y="29"/>
              </a:cxn>
              <a:cxn ang="0">
                <a:pos x="59" y="49"/>
              </a:cxn>
              <a:cxn ang="0">
                <a:pos x="59" y="68"/>
              </a:cxn>
              <a:cxn ang="0">
                <a:pos x="59" y="107"/>
              </a:cxn>
              <a:cxn ang="0">
                <a:pos x="30" y="107"/>
              </a:cxn>
              <a:cxn ang="0">
                <a:pos x="20" y="146"/>
              </a:cxn>
              <a:cxn ang="0">
                <a:pos x="30" y="185"/>
              </a:cxn>
              <a:cxn ang="0">
                <a:pos x="49" y="195"/>
              </a:cxn>
              <a:cxn ang="0">
                <a:pos x="30" y="215"/>
              </a:cxn>
              <a:cxn ang="0">
                <a:pos x="0" y="215"/>
              </a:cxn>
              <a:cxn ang="0">
                <a:pos x="20" y="234"/>
              </a:cxn>
              <a:cxn ang="0">
                <a:pos x="20" y="263"/>
              </a:cxn>
            </a:cxnLst>
            <a:rect l="0" t="0" r="r" b="b"/>
            <a:pathLst>
              <a:path w="313" h="429">
                <a:moveTo>
                  <a:pt x="20" y="263"/>
                </a:moveTo>
                <a:lnTo>
                  <a:pt x="39" y="273"/>
                </a:lnTo>
                <a:lnTo>
                  <a:pt x="49" y="283"/>
                </a:lnTo>
                <a:lnTo>
                  <a:pt x="39" y="293"/>
                </a:lnTo>
                <a:lnTo>
                  <a:pt x="59" y="302"/>
                </a:lnTo>
                <a:lnTo>
                  <a:pt x="69" y="312"/>
                </a:lnTo>
                <a:lnTo>
                  <a:pt x="69" y="322"/>
                </a:lnTo>
                <a:lnTo>
                  <a:pt x="98" y="322"/>
                </a:lnTo>
                <a:lnTo>
                  <a:pt x="98" y="332"/>
                </a:lnTo>
                <a:lnTo>
                  <a:pt x="117" y="341"/>
                </a:lnTo>
                <a:lnTo>
                  <a:pt x="117" y="351"/>
                </a:lnTo>
                <a:lnTo>
                  <a:pt x="117" y="361"/>
                </a:lnTo>
                <a:lnTo>
                  <a:pt x="137" y="371"/>
                </a:lnTo>
                <a:lnTo>
                  <a:pt x="127" y="390"/>
                </a:lnTo>
                <a:lnTo>
                  <a:pt x="137" y="410"/>
                </a:lnTo>
                <a:lnTo>
                  <a:pt x="166" y="390"/>
                </a:lnTo>
                <a:lnTo>
                  <a:pt x="176" y="410"/>
                </a:lnTo>
                <a:lnTo>
                  <a:pt x="166" y="419"/>
                </a:lnTo>
                <a:lnTo>
                  <a:pt x="176" y="429"/>
                </a:lnTo>
                <a:lnTo>
                  <a:pt x="195" y="419"/>
                </a:lnTo>
                <a:lnTo>
                  <a:pt x="205" y="429"/>
                </a:lnTo>
                <a:lnTo>
                  <a:pt x="215" y="410"/>
                </a:lnTo>
                <a:lnTo>
                  <a:pt x="195" y="400"/>
                </a:lnTo>
                <a:lnTo>
                  <a:pt x="186" y="380"/>
                </a:lnTo>
                <a:lnTo>
                  <a:pt x="205" y="380"/>
                </a:lnTo>
                <a:lnTo>
                  <a:pt x="215" y="390"/>
                </a:lnTo>
                <a:lnTo>
                  <a:pt x="225" y="371"/>
                </a:lnTo>
                <a:lnTo>
                  <a:pt x="225" y="351"/>
                </a:lnTo>
                <a:lnTo>
                  <a:pt x="234" y="351"/>
                </a:lnTo>
                <a:lnTo>
                  <a:pt x="254" y="371"/>
                </a:lnTo>
                <a:lnTo>
                  <a:pt x="273" y="371"/>
                </a:lnTo>
                <a:lnTo>
                  <a:pt x="283" y="361"/>
                </a:lnTo>
                <a:lnTo>
                  <a:pt x="293" y="351"/>
                </a:lnTo>
                <a:lnTo>
                  <a:pt x="313" y="332"/>
                </a:lnTo>
                <a:lnTo>
                  <a:pt x="313" y="322"/>
                </a:lnTo>
                <a:lnTo>
                  <a:pt x="293" y="293"/>
                </a:lnTo>
                <a:lnTo>
                  <a:pt x="264" y="234"/>
                </a:lnTo>
                <a:lnTo>
                  <a:pt x="264" y="215"/>
                </a:lnTo>
                <a:lnTo>
                  <a:pt x="273" y="195"/>
                </a:lnTo>
                <a:lnTo>
                  <a:pt x="273" y="176"/>
                </a:lnTo>
                <a:lnTo>
                  <a:pt x="264" y="156"/>
                </a:lnTo>
                <a:lnTo>
                  <a:pt x="254" y="146"/>
                </a:lnTo>
                <a:lnTo>
                  <a:pt x="254" y="127"/>
                </a:lnTo>
                <a:lnTo>
                  <a:pt x="254" y="117"/>
                </a:lnTo>
                <a:lnTo>
                  <a:pt x="244" y="97"/>
                </a:lnTo>
                <a:lnTo>
                  <a:pt x="225" y="97"/>
                </a:lnTo>
                <a:lnTo>
                  <a:pt x="205" y="88"/>
                </a:lnTo>
                <a:lnTo>
                  <a:pt x="195" y="88"/>
                </a:lnTo>
                <a:lnTo>
                  <a:pt x="205" y="78"/>
                </a:lnTo>
                <a:lnTo>
                  <a:pt x="195" y="68"/>
                </a:lnTo>
                <a:lnTo>
                  <a:pt x="186" y="68"/>
                </a:lnTo>
                <a:lnTo>
                  <a:pt x="176" y="78"/>
                </a:lnTo>
                <a:lnTo>
                  <a:pt x="166" y="58"/>
                </a:lnTo>
                <a:lnTo>
                  <a:pt x="156" y="39"/>
                </a:lnTo>
                <a:lnTo>
                  <a:pt x="127" y="0"/>
                </a:lnTo>
                <a:lnTo>
                  <a:pt x="117" y="10"/>
                </a:lnTo>
                <a:lnTo>
                  <a:pt x="98" y="19"/>
                </a:lnTo>
                <a:lnTo>
                  <a:pt x="98" y="0"/>
                </a:lnTo>
                <a:lnTo>
                  <a:pt x="78" y="10"/>
                </a:lnTo>
                <a:lnTo>
                  <a:pt x="69" y="29"/>
                </a:lnTo>
                <a:lnTo>
                  <a:pt x="59" y="29"/>
                </a:lnTo>
                <a:lnTo>
                  <a:pt x="59" y="49"/>
                </a:lnTo>
                <a:lnTo>
                  <a:pt x="69" y="58"/>
                </a:lnTo>
                <a:lnTo>
                  <a:pt x="59" y="68"/>
                </a:lnTo>
                <a:lnTo>
                  <a:pt x="49" y="97"/>
                </a:lnTo>
                <a:lnTo>
                  <a:pt x="59" y="107"/>
                </a:lnTo>
                <a:lnTo>
                  <a:pt x="39" y="127"/>
                </a:lnTo>
                <a:lnTo>
                  <a:pt x="30" y="107"/>
                </a:lnTo>
                <a:lnTo>
                  <a:pt x="20" y="127"/>
                </a:lnTo>
                <a:lnTo>
                  <a:pt x="20" y="146"/>
                </a:lnTo>
                <a:lnTo>
                  <a:pt x="20" y="166"/>
                </a:lnTo>
                <a:lnTo>
                  <a:pt x="30" y="185"/>
                </a:lnTo>
                <a:lnTo>
                  <a:pt x="39" y="185"/>
                </a:lnTo>
                <a:lnTo>
                  <a:pt x="49" y="195"/>
                </a:lnTo>
                <a:lnTo>
                  <a:pt x="49" y="215"/>
                </a:lnTo>
                <a:lnTo>
                  <a:pt x="30" y="215"/>
                </a:lnTo>
                <a:lnTo>
                  <a:pt x="10" y="215"/>
                </a:lnTo>
                <a:lnTo>
                  <a:pt x="0" y="215"/>
                </a:lnTo>
                <a:lnTo>
                  <a:pt x="10" y="224"/>
                </a:lnTo>
                <a:lnTo>
                  <a:pt x="20" y="234"/>
                </a:lnTo>
                <a:lnTo>
                  <a:pt x="20" y="254"/>
                </a:lnTo>
                <a:lnTo>
                  <a:pt x="20" y="26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en-US" sz="1100">
              <a:latin typeface="Polo" pitchFamily="2" charset="0"/>
              <a:cs typeface="+mn-cs"/>
            </a:endParaRPr>
          </a:p>
        </p:txBody>
      </p:sp>
      <p:sp>
        <p:nvSpPr>
          <p:cNvPr id="217" name="Freeform 152"/>
          <p:cNvSpPr>
            <a:spLocks/>
          </p:cNvSpPr>
          <p:nvPr>
            <p:custDataLst>
              <p:tags r:id="rId165"/>
            </p:custDataLst>
          </p:nvPr>
        </p:nvSpPr>
        <p:spPr bwMode="auto">
          <a:xfrm>
            <a:off x="2357438" y="4560888"/>
            <a:ext cx="287337" cy="266700"/>
          </a:xfrm>
          <a:custGeom>
            <a:avLst/>
            <a:gdLst/>
            <a:ahLst/>
            <a:cxnLst>
              <a:cxn ang="0">
                <a:pos x="157" y="313"/>
              </a:cxn>
              <a:cxn ang="0">
                <a:pos x="137" y="274"/>
              </a:cxn>
              <a:cxn ang="0">
                <a:pos x="108" y="196"/>
              </a:cxn>
              <a:cxn ang="0">
                <a:pos x="117" y="157"/>
              </a:cxn>
              <a:cxn ang="0">
                <a:pos x="98" y="137"/>
              </a:cxn>
              <a:cxn ang="0">
                <a:pos x="98" y="98"/>
              </a:cxn>
              <a:cxn ang="0">
                <a:pos x="69" y="78"/>
              </a:cxn>
              <a:cxn ang="0">
                <a:pos x="39" y="69"/>
              </a:cxn>
              <a:cxn ang="0">
                <a:pos x="39" y="49"/>
              </a:cxn>
              <a:cxn ang="0">
                <a:pos x="20" y="59"/>
              </a:cxn>
              <a:cxn ang="0">
                <a:pos x="0" y="30"/>
              </a:cxn>
              <a:cxn ang="0">
                <a:pos x="30" y="10"/>
              </a:cxn>
              <a:cxn ang="0">
                <a:pos x="69" y="30"/>
              </a:cxn>
              <a:cxn ang="0">
                <a:pos x="78" y="0"/>
              </a:cxn>
              <a:cxn ang="0">
                <a:pos x="88" y="39"/>
              </a:cxn>
              <a:cxn ang="0">
                <a:pos x="108" y="69"/>
              </a:cxn>
              <a:cxn ang="0">
                <a:pos x="117" y="117"/>
              </a:cxn>
              <a:cxn ang="0">
                <a:pos x="157" y="137"/>
              </a:cxn>
              <a:cxn ang="0">
                <a:pos x="186" y="117"/>
              </a:cxn>
              <a:cxn ang="0">
                <a:pos x="196" y="98"/>
              </a:cxn>
              <a:cxn ang="0">
                <a:pos x="235" y="98"/>
              </a:cxn>
              <a:cxn ang="0">
                <a:pos x="283" y="69"/>
              </a:cxn>
              <a:cxn ang="0">
                <a:pos x="264" y="49"/>
              </a:cxn>
              <a:cxn ang="0">
                <a:pos x="235" y="49"/>
              </a:cxn>
              <a:cxn ang="0">
                <a:pos x="264" y="30"/>
              </a:cxn>
              <a:cxn ang="0">
                <a:pos x="283" y="20"/>
              </a:cxn>
              <a:cxn ang="0">
                <a:pos x="313" y="39"/>
              </a:cxn>
              <a:cxn ang="0">
                <a:pos x="322" y="10"/>
              </a:cxn>
              <a:cxn ang="0">
                <a:pos x="342" y="30"/>
              </a:cxn>
              <a:cxn ang="0">
                <a:pos x="371" y="39"/>
              </a:cxn>
              <a:cxn ang="0">
                <a:pos x="391" y="78"/>
              </a:cxn>
              <a:cxn ang="0">
                <a:pos x="391" y="98"/>
              </a:cxn>
              <a:cxn ang="0">
                <a:pos x="381" y="147"/>
              </a:cxn>
              <a:cxn ang="0">
                <a:pos x="391" y="176"/>
              </a:cxn>
              <a:cxn ang="0">
                <a:pos x="430" y="196"/>
              </a:cxn>
              <a:cxn ang="0">
                <a:pos x="430" y="205"/>
              </a:cxn>
              <a:cxn ang="0">
                <a:pos x="391" y="196"/>
              </a:cxn>
              <a:cxn ang="0">
                <a:pos x="371" y="244"/>
              </a:cxn>
              <a:cxn ang="0">
                <a:pos x="381" y="283"/>
              </a:cxn>
              <a:cxn ang="0">
                <a:pos x="342" y="283"/>
              </a:cxn>
              <a:cxn ang="0">
                <a:pos x="322" y="283"/>
              </a:cxn>
              <a:cxn ang="0">
                <a:pos x="313" y="293"/>
              </a:cxn>
              <a:cxn ang="0">
                <a:pos x="313" y="332"/>
              </a:cxn>
              <a:cxn ang="0">
                <a:pos x="274" y="352"/>
              </a:cxn>
              <a:cxn ang="0">
                <a:pos x="293" y="381"/>
              </a:cxn>
              <a:cxn ang="0">
                <a:pos x="283" y="410"/>
              </a:cxn>
              <a:cxn ang="0">
                <a:pos x="254" y="420"/>
              </a:cxn>
              <a:cxn ang="0">
                <a:pos x="215" y="430"/>
              </a:cxn>
              <a:cxn ang="0">
                <a:pos x="196" y="420"/>
              </a:cxn>
              <a:cxn ang="0">
                <a:pos x="205" y="410"/>
              </a:cxn>
              <a:cxn ang="0">
                <a:pos x="186" y="400"/>
              </a:cxn>
              <a:cxn ang="0">
                <a:pos x="137" y="332"/>
              </a:cxn>
            </a:cxnLst>
            <a:rect l="0" t="0" r="r" b="b"/>
            <a:pathLst>
              <a:path w="430" h="430">
                <a:moveTo>
                  <a:pt x="137" y="332"/>
                </a:moveTo>
                <a:lnTo>
                  <a:pt x="157" y="313"/>
                </a:lnTo>
                <a:lnTo>
                  <a:pt x="157" y="303"/>
                </a:lnTo>
                <a:lnTo>
                  <a:pt x="137" y="274"/>
                </a:lnTo>
                <a:lnTo>
                  <a:pt x="117" y="225"/>
                </a:lnTo>
                <a:lnTo>
                  <a:pt x="108" y="196"/>
                </a:lnTo>
                <a:lnTo>
                  <a:pt x="117" y="176"/>
                </a:lnTo>
                <a:lnTo>
                  <a:pt x="117" y="157"/>
                </a:lnTo>
                <a:lnTo>
                  <a:pt x="117" y="147"/>
                </a:lnTo>
                <a:lnTo>
                  <a:pt x="98" y="137"/>
                </a:lnTo>
                <a:lnTo>
                  <a:pt x="98" y="117"/>
                </a:lnTo>
                <a:lnTo>
                  <a:pt x="98" y="98"/>
                </a:lnTo>
                <a:lnTo>
                  <a:pt x="88" y="78"/>
                </a:lnTo>
                <a:lnTo>
                  <a:pt x="69" y="78"/>
                </a:lnTo>
                <a:lnTo>
                  <a:pt x="49" y="78"/>
                </a:lnTo>
                <a:lnTo>
                  <a:pt x="39" y="69"/>
                </a:lnTo>
                <a:lnTo>
                  <a:pt x="49" y="59"/>
                </a:lnTo>
                <a:lnTo>
                  <a:pt x="39" y="49"/>
                </a:lnTo>
                <a:lnTo>
                  <a:pt x="30" y="59"/>
                </a:lnTo>
                <a:lnTo>
                  <a:pt x="20" y="59"/>
                </a:lnTo>
                <a:lnTo>
                  <a:pt x="10" y="39"/>
                </a:lnTo>
                <a:lnTo>
                  <a:pt x="0" y="30"/>
                </a:lnTo>
                <a:lnTo>
                  <a:pt x="20" y="10"/>
                </a:lnTo>
                <a:lnTo>
                  <a:pt x="30" y="10"/>
                </a:lnTo>
                <a:lnTo>
                  <a:pt x="59" y="20"/>
                </a:lnTo>
                <a:lnTo>
                  <a:pt x="69" y="30"/>
                </a:lnTo>
                <a:lnTo>
                  <a:pt x="78" y="10"/>
                </a:lnTo>
                <a:lnTo>
                  <a:pt x="78" y="0"/>
                </a:lnTo>
                <a:lnTo>
                  <a:pt x="88" y="30"/>
                </a:lnTo>
                <a:lnTo>
                  <a:pt x="88" y="39"/>
                </a:lnTo>
                <a:lnTo>
                  <a:pt x="108" y="49"/>
                </a:lnTo>
                <a:lnTo>
                  <a:pt x="108" y="69"/>
                </a:lnTo>
                <a:lnTo>
                  <a:pt x="117" y="98"/>
                </a:lnTo>
                <a:lnTo>
                  <a:pt x="117" y="117"/>
                </a:lnTo>
                <a:lnTo>
                  <a:pt x="157" y="117"/>
                </a:lnTo>
                <a:lnTo>
                  <a:pt x="157" y="137"/>
                </a:lnTo>
                <a:lnTo>
                  <a:pt x="166" y="137"/>
                </a:lnTo>
                <a:lnTo>
                  <a:pt x="186" y="117"/>
                </a:lnTo>
                <a:lnTo>
                  <a:pt x="176" y="108"/>
                </a:lnTo>
                <a:lnTo>
                  <a:pt x="196" y="98"/>
                </a:lnTo>
                <a:lnTo>
                  <a:pt x="215" y="108"/>
                </a:lnTo>
                <a:lnTo>
                  <a:pt x="235" y="98"/>
                </a:lnTo>
                <a:lnTo>
                  <a:pt x="264" y="88"/>
                </a:lnTo>
                <a:lnTo>
                  <a:pt x="283" y="69"/>
                </a:lnTo>
                <a:lnTo>
                  <a:pt x="274" y="59"/>
                </a:lnTo>
                <a:lnTo>
                  <a:pt x="264" y="49"/>
                </a:lnTo>
                <a:lnTo>
                  <a:pt x="244" y="59"/>
                </a:lnTo>
                <a:lnTo>
                  <a:pt x="235" y="49"/>
                </a:lnTo>
                <a:lnTo>
                  <a:pt x="244" y="39"/>
                </a:lnTo>
                <a:lnTo>
                  <a:pt x="264" y="30"/>
                </a:lnTo>
                <a:lnTo>
                  <a:pt x="264" y="10"/>
                </a:lnTo>
                <a:lnTo>
                  <a:pt x="283" y="20"/>
                </a:lnTo>
                <a:lnTo>
                  <a:pt x="303" y="30"/>
                </a:lnTo>
                <a:lnTo>
                  <a:pt x="313" y="39"/>
                </a:lnTo>
                <a:lnTo>
                  <a:pt x="322" y="30"/>
                </a:lnTo>
                <a:lnTo>
                  <a:pt x="322" y="10"/>
                </a:lnTo>
                <a:lnTo>
                  <a:pt x="342" y="10"/>
                </a:lnTo>
                <a:lnTo>
                  <a:pt x="342" y="30"/>
                </a:lnTo>
                <a:lnTo>
                  <a:pt x="352" y="39"/>
                </a:lnTo>
                <a:lnTo>
                  <a:pt x="371" y="39"/>
                </a:lnTo>
                <a:lnTo>
                  <a:pt x="371" y="59"/>
                </a:lnTo>
                <a:lnTo>
                  <a:pt x="391" y="78"/>
                </a:lnTo>
                <a:lnTo>
                  <a:pt x="381" y="88"/>
                </a:lnTo>
                <a:lnTo>
                  <a:pt x="391" y="98"/>
                </a:lnTo>
                <a:lnTo>
                  <a:pt x="381" y="117"/>
                </a:lnTo>
                <a:lnTo>
                  <a:pt x="381" y="147"/>
                </a:lnTo>
                <a:lnTo>
                  <a:pt x="381" y="166"/>
                </a:lnTo>
                <a:lnTo>
                  <a:pt x="391" y="176"/>
                </a:lnTo>
                <a:lnTo>
                  <a:pt x="410" y="176"/>
                </a:lnTo>
                <a:lnTo>
                  <a:pt x="430" y="196"/>
                </a:lnTo>
                <a:lnTo>
                  <a:pt x="430" y="205"/>
                </a:lnTo>
                <a:lnTo>
                  <a:pt x="410" y="196"/>
                </a:lnTo>
                <a:lnTo>
                  <a:pt x="391" y="196"/>
                </a:lnTo>
                <a:lnTo>
                  <a:pt x="381" y="225"/>
                </a:lnTo>
                <a:lnTo>
                  <a:pt x="371" y="244"/>
                </a:lnTo>
                <a:lnTo>
                  <a:pt x="371" y="264"/>
                </a:lnTo>
                <a:lnTo>
                  <a:pt x="381" y="283"/>
                </a:lnTo>
                <a:lnTo>
                  <a:pt x="361" y="283"/>
                </a:lnTo>
                <a:lnTo>
                  <a:pt x="342" y="283"/>
                </a:lnTo>
                <a:lnTo>
                  <a:pt x="332" y="293"/>
                </a:lnTo>
                <a:lnTo>
                  <a:pt x="322" y="283"/>
                </a:lnTo>
                <a:lnTo>
                  <a:pt x="303" y="283"/>
                </a:lnTo>
                <a:lnTo>
                  <a:pt x="313" y="293"/>
                </a:lnTo>
                <a:lnTo>
                  <a:pt x="303" y="313"/>
                </a:lnTo>
                <a:lnTo>
                  <a:pt x="313" y="332"/>
                </a:lnTo>
                <a:lnTo>
                  <a:pt x="293" y="342"/>
                </a:lnTo>
                <a:lnTo>
                  <a:pt x="274" y="352"/>
                </a:lnTo>
                <a:lnTo>
                  <a:pt x="274" y="371"/>
                </a:lnTo>
                <a:lnTo>
                  <a:pt x="293" y="381"/>
                </a:lnTo>
                <a:lnTo>
                  <a:pt x="293" y="400"/>
                </a:lnTo>
                <a:lnTo>
                  <a:pt x="283" y="410"/>
                </a:lnTo>
                <a:lnTo>
                  <a:pt x="274" y="420"/>
                </a:lnTo>
                <a:lnTo>
                  <a:pt x="254" y="420"/>
                </a:lnTo>
                <a:lnTo>
                  <a:pt x="235" y="430"/>
                </a:lnTo>
                <a:lnTo>
                  <a:pt x="215" y="430"/>
                </a:lnTo>
                <a:lnTo>
                  <a:pt x="215" y="420"/>
                </a:lnTo>
                <a:lnTo>
                  <a:pt x="196" y="420"/>
                </a:lnTo>
                <a:lnTo>
                  <a:pt x="205" y="410"/>
                </a:lnTo>
                <a:lnTo>
                  <a:pt x="196" y="391"/>
                </a:lnTo>
                <a:lnTo>
                  <a:pt x="186" y="400"/>
                </a:lnTo>
                <a:lnTo>
                  <a:pt x="166" y="352"/>
                </a:lnTo>
                <a:lnTo>
                  <a:pt x="137" y="33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en-US" sz="1100">
              <a:latin typeface="Polo" pitchFamily="2" charset="0"/>
              <a:cs typeface="+mn-cs"/>
            </a:endParaRPr>
          </a:p>
        </p:txBody>
      </p:sp>
      <p:sp>
        <p:nvSpPr>
          <p:cNvPr id="18600" name="Freeform 151"/>
          <p:cNvSpPr>
            <a:spLocks noChangeAspect="1"/>
          </p:cNvSpPr>
          <p:nvPr>
            <p:custDataLst>
              <p:tags r:id="rId166"/>
            </p:custDataLst>
          </p:nvPr>
        </p:nvSpPr>
        <p:spPr bwMode="auto">
          <a:xfrm>
            <a:off x="2541588" y="4578350"/>
            <a:ext cx="161925" cy="254000"/>
          </a:xfrm>
          <a:custGeom>
            <a:avLst/>
            <a:gdLst>
              <a:gd name="T0" fmla="*/ 25988 w 243"/>
              <a:gd name="T1" fmla="*/ 217980 h 409"/>
              <a:gd name="T2" fmla="*/ 31985 w 243"/>
              <a:gd name="T3" fmla="*/ 224191 h 409"/>
              <a:gd name="T4" fmla="*/ 45312 w 243"/>
              <a:gd name="T5" fmla="*/ 229780 h 409"/>
              <a:gd name="T6" fmla="*/ 57973 w 243"/>
              <a:gd name="T7" fmla="*/ 242200 h 409"/>
              <a:gd name="T8" fmla="*/ 77964 w 243"/>
              <a:gd name="T9" fmla="*/ 242200 h 409"/>
              <a:gd name="T10" fmla="*/ 90625 w 243"/>
              <a:gd name="T11" fmla="*/ 248411 h 409"/>
              <a:gd name="T12" fmla="*/ 97288 w 243"/>
              <a:gd name="T13" fmla="*/ 248411 h 409"/>
              <a:gd name="T14" fmla="*/ 123276 w 243"/>
              <a:gd name="T15" fmla="*/ 248411 h 409"/>
              <a:gd name="T16" fmla="*/ 129940 w 243"/>
              <a:gd name="T17" fmla="*/ 235990 h 409"/>
              <a:gd name="T18" fmla="*/ 109949 w 243"/>
              <a:gd name="T19" fmla="*/ 217980 h 409"/>
              <a:gd name="T20" fmla="*/ 116613 w 243"/>
              <a:gd name="T21" fmla="*/ 205560 h 409"/>
              <a:gd name="T22" fmla="*/ 123276 w 243"/>
              <a:gd name="T23" fmla="*/ 211770 h 409"/>
              <a:gd name="T24" fmla="*/ 135937 w 243"/>
              <a:gd name="T25" fmla="*/ 217980 h 409"/>
              <a:gd name="T26" fmla="*/ 149264 w 243"/>
              <a:gd name="T27" fmla="*/ 199971 h 409"/>
              <a:gd name="T28" fmla="*/ 155928 w 243"/>
              <a:gd name="T29" fmla="*/ 157120 h 409"/>
              <a:gd name="T30" fmla="*/ 155928 w 243"/>
              <a:gd name="T31" fmla="*/ 139110 h 409"/>
              <a:gd name="T32" fmla="*/ 142601 w 243"/>
              <a:gd name="T33" fmla="*/ 114890 h 409"/>
              <a:gd name="T34" fmla="*/ 129940 w 243"/>
              <a:gd name="T35" fmla="*/ 114890 h 409"/>
              <a:gd name="T36" fmla="*/ 129940 w 243"/>
              <a:gd name="T37" fmla="*/ 103090 h 409"/>
              <a:gd name="T38" fmla="*/ 142601 w 243"/>
              <a:gd name="T39" fmla="*/ 90670 h 409"/>
              <a:gd name="T40" fmla="*/ 149264 w 243"/>
              <a:gd name="T41" fmla="*/ 72660 h 409"/>
              <a:gd name="T42" fmla="*/ 142601 w 243"/>
              <a:gd name="T43" fmla="*/ 48440 h 409"/>
              <a:gd name="T44" fmla="*/ 155928 w 243"/>
              <a:gd name="T45" fmla="*/ 42230 h 409"/>
              <a:gd name="T46" fmla="*/ 155928 w 243"/>
              <a:gd name="T47" fmla="*/ 29809 h 409"/>
              <a:gd name="T48" fmla="*/ 123276 w 243"/>
              <a:gd name="T49" fmla="*/ 18010 h 409"/>
              <a:gd name="T50" fmla="*/ 97288 w 243"/>
              <a:gd name="T51" fmla="*/ 5589 h 409"/>
              <a:gd name="T52" fmla="*/ 90625 w 243"/>
              <a:gd name="T53" fmla="*/ 5589 h 409"/>
              <a:gd name="T54" fmla="*/ 77964 w 243"/>
              <a:gd name="T55" fmla="*/ 0 h 409"/>
              <a:gd name="T56" fmla="*/ 71300 w 243"/>
              <a:gd name="T57" fmla="*/ 36020 h 409"/>
              <a:gd name="T58" fmla="*/ 71300 w 243"/>
              <a:gd name="T59" fmla="*/ 54029 h 409"/>
              <a:gd name="T60" fmla="*/ 71300 w 243"/>
              <a:gd name="T61" fmla="*/ 84460 h 409"/>
              <a:gd name="T62" fmla="*/ 90625 w 243"/>
              <a:gd name="T63" fmla="*/ 90670 h 409"/>
              <a:gd name="T64" fmla="*/ 103952 w 243"/>
              <a:gd name="T65" fmla="*/ 108680 h 409"/>
              <a:gd name="T66" fmla="*/ 90625 w 243"/>
              <a:gd name="T67" fmla="*/ 103090 h 409"/>
              <a:gd name="T68" fmla="*/ 71300 w 243"/>
              <a:gd name="T69" fmla="*/ 114890 h 409"/>
              <a:gd name="T70" fmla="*/ 64637 w 243"/>
              <a:gd name="T71" fmla="*/ 145320 h 409"/>
              <a:gd name="T72" fmla="*/ 57973 w 243"/>
              <a:gd name="T73" fmla="*/ 157120 h 409"/>
              <a:gd name="T74" fmla="*/ 38649 w 243"/>
              <a:gd name="T75" fmla="*/ 157120 h 409"/>
              <a:gd name="T76" fmla="*/ 19324 w 243"/>
              <a:gd name="T77" fmla="*/ 151531 h 409"/>
              <a:gd name="T78" fmla="*/ 19324 w 243"/>
              <a:gd name="T79" fmla="*/ 175751 h 409"/>
              <a:gd name="T80" fmla="*/ 12661 w 243"/>
              <a:gd name="T81" fmla="*/ 193760 h 409"/>
              <a:gd name="T82" fmla="*/ 0 w 243"/>
              <a:gd name="T83" fmla="*/ 211770 h 409"/>
              <a:gd name="T84" fmla="*/ 12661 w 243"/>
              <a:gd name="T85" fmla="*/ 229780 h 409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43"/>
              <a:gd name="T130" fmla="*/ 0 h 409"/>
              <a:gd name="T131" fmla="*/ 243 w 243"/>
              <a:gd name="T132" fmla="*/ 409 h 409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43" h="409">
                <a:moveTo>
                  <a:pt x="29" y="351"/>
                </a:moveTo>
                <a:lnTo>
                  <a:pt x="39" y="351"/>
                </a:lnTo>
                <a:lnTo>
                  <a:pt x="39" y="370"/>
                </a:lnTo>
                <a:lnTo>
                  <a:pt x="48" y="361"/>
                </a:lnTo>
                <a:lnTo>
                  <a:pt x="48" y="380"/>
                </a:lnTo>
                <a:lnTo>
                  <a:pt x="68" y="370"/>
                </a:lnTo>
                <a:lnTo>
                  <a:pt x="68" y="380"/>
                </a:lnTo>
                <a:lnTo>
                  <a:pt x="87" y="390"/>
                </a:lnTo>
                <a:lnTo>
                  <a:pt x="97" y="390"/>
                </a:lnTo>
                <a:lnTo>
                  <a:pt x="117" y="390"/>
                </a:lnTo>
                <a:lnTo>
                  <a:pt x="126" y="409"/>
                </a:lnTo>
                <a:lnTo>
                  <a:pt x="136" y="400"/>
                </a:lnTo>
                <a:lnTo>
                  <a:pt x="136" y="390"/>
                </a:lnTo>
                <a:lnTo>
                  <a:pt x="146" y="400"/>
                </a:lnTo>
                <a:lnTo>
                  <a:pt x="165" y="400"/>
                </a:lnTo>
                <a:lnTo>
                  <a:pt x="185" y="400"/>
                </a:lnTo>
                <a:lnTo>
                  <a:pt x="195" y="390"/>
                </a:lnTo>
                <a:lnTo>
                  <a:pt x="195" y="380"/>
                </a:lnTo>
                <a:lnTo>
                  <a:pt x="185" y="370"/>
                </a:lnTo>
                <a:lnTo>
                  <a:pt x="165" y="351"/>
                </a:lnTo>
                <a:lnTo>
                  <a:pt x="165" y="341"/>
                </a:lnTo>
                <a:lnTo>
                  <a:pt x="175" y="331"/>
                </a:lnTo>
                <a:lnTo>
                  <a:pt x="185" y="331"/>
                </a:lnTo>
                <a:lnTo>
                  <a:pt x="185" y="341"/>
                </a:lnTo>
                <a:lnTo>
                  <a:pt x="195" y="351"/>
                </a:lnTo>
                <a:lnTo>
                  <a:pt x="204" y="351"/>
                </a:lnTo>
                <a:lnTo>
                  <a:pt x="214" y="341"/>
                </a:lnTo>
                <a:lnTo>
                  <a:pt x="224" y="322"/>
                </a:lnTo>
                <a:lnTo>
                  <a:pt x="224" y="292"/>
                </a:lnTo>
                <a:lnTo>
                  <a:pt x="234" y="253"/>
                </a:lnTo>
                <a:lnTo>
                  <a:pt x="234" y="234"/>
                </a:lnTo>
                <a:lnTo>
                  <a:pt x="234" y="224"/>
                </a:lnTo>
                <a:lnTo>
                  <a:pt x="214" y="205"/>
                </a:lnTo>
                <a:lnTo>
                  <a:pt x="214" y="185"/>
                </a:lnTo>
                <a:lnTo>
                  <a:pt x="204" y="185"/>
                </a:lnTo>
                <a:lnTo>
                  <a:pt x="195" y="185"/>
                </a:lnTo>
                <a:lnTo>
                  <a:pt x="195" y="175"/>
                </a:lnTo>
                <a:lnTo>
                  <a:pt x="195" y="166"/>
                </a:lnTo>
                <a:lnTo>
                  <a:pt x="204" y="156"/>
                </a:lnTo>
                <a:lnTo>
                  <a:pt x="214" y="146"/>
                </a:lnTo>
                <a:lnTo>
                  <a:pt x="224" y="136"/>
                </a:lnTo>
                <a:lnTo>
                  <a:pt x="224" y="117"/>
                </a:lnTo>
                <a:lnTo>
                  <a:pt x="214" y="97"/>
                </a:lnTo>
                <a:lnTo>
                  <a:pt x="214" y="78"/>
                </a:lnTo>
                <a:lnTo>
                  <a:pt x="224" y="78"/>
                </a:lnTo>
                <a:lnTo>
                  <a:pt x="234" y="68"/>
                </a:lnTo>
                <a:lnTo>
                  <a:pt x="243" y="58"/>
                </a:lnTo>
                <a:lnTo>
                  <a:pt x="234" y="48"/>
                </a:lnTo>
                <a:lnTo>
                  <a:pt x="204" y="29"/>
                </a:lnTo>
                <a:lnTo>
                  <a:pt x="185" y="29"/>
                </a:lnTo>
                <a:lnTo>
                  <a:pt x="165" y="9"/>
                </a:lnTo>
                <a:lnTo>
                  <a:pt x="146" y="9"/>
                </a:lnTo>
                <a:lnTo>
                  <a:pt x="136" y="9"/>
                </a:lnTo>
                <a:lnTo>
                  <a:pt x="126" y="0"/>
                </a:lnTo>
                <a:lnTo>
                  <a:pt x="117" y="0"/>
                </a:lnTo>
                <a:lnTo>
                  <a:pt x="117" y="39"/>
                </a:lnTo>
                <a:lnTo>
                  <a:pt x="107" y="58"/>
                </a:lnTo>
                <a:lnTo>
                  <a:pt x="117" y="68"/>
                </a:lnTo>
                <a:lnTo>
                  <a:pt x="107" y="87"/>
                </a:lnTo>
                <a:lnTo>
                  <a:pt x="107" y="107"/>
                </a:lnTo>
                <a:lnTo>
                  <a:pt x="107" y="136"/>
                </a:lnTo>
                <a:lnTo>
                  <a:pt x="117" y="146"/>
                </a:lnTo>
                <a:lnTo>
                  <a:pt x="136" y="146"/>
                </a:lnTo>
                <a:lnTo>
                  <a:pt x="156" y="166"/>
                </a:lnTo>
                <a:lnTo>
                  <a:pt x="156" y="175"/>
                </a:lnTo>
                <a:lnTo>
                  <a:pt x="146" y="175"/>
                </a:lnTo>
                <a:lnTo>
                  <a:pt x="136" y="166"/>
                </a:lnTo>
                <a:lnTo>
                  <a:pt x="117" y="166"/>
                </a:lnTo>
                <a:lnTo>
                  <a:pt x="107" y="185"/>
                </a:lnTo>
                <a:lnTo>
                  <a:pt x="97" y="214"/>
                </a:lnTo>
                <a:lnTo>
                  <a:pt x="97" y="234"/>
                </a:lnTo>
                <a:lnTo>
                  <a:pt x="97" y="244"/>
                </a:lnTo>
                <a:lnTo>
                  <a:pt x="87" y="253"/>
                </a:lnTo>
                <a:lnTo>
                  <a:pt x="68" y="244"/>
                </a:lnTo>
                <a:lnTo>
                  <a:pt x="58" y="253"/>
                </a:lnTo>
                <a:lnTo>
                  <a:pt x="48" y="244"/>
                </a:lnTo>
                <a:lnTo>
                  <a:pt x="29" y="244"/>
                </a:lnTo>
                <a:lnTo>
                  <a:pt x="39" y="263"/>
                </a:lnTo>
                <a:lnTo>
                  <a:pt x="29" y="283"/>
                </a:lnTo>
                <a:lnTo>
                  <a:pt x="39" y="292"/>
                </a:lnTo>
                <a:lnTo>
                  <a:pt x="19" y="312"/>
                </a:lnTo>
                <a:lnTo>
                  <a:pt x="0" y="322"/>
                </a:lnTo>
                <a:lnTo>
                  <a:pt x="0" y="341"/>
                </a:lnTo>
                <a:lnTo>
                  <a:pt x="19" y="351"/>
                </a:lnTo>
                <a:lnTo>
                  <a:pt x="19" y="370"/>
                </a:lnTo>
                <a:lnTo>
                  <a:pt x="29" y="351"/>
                </a:lnTo>
                <a:close/>
              </a:path>
            </a:pathLst>
          </a:custGeom>
          <a:solidFill>
            <a:srgbClr val="CCECFF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grpSp>
        <p:nvGrpSpPr>
          <p:cNvPr id="18601" name="Group 148"/>
          <p:cNvGrpSpPr>
            <a:grpSpLocks noChangeAspect="1"/>
          </p:cNvGrpSpPr>
          <p:nvPr>
            <p:custDataLst>
              <p:tags r:id="rId167"/>
            </p:custDataLst>
          </p:nvPr>
        </p:nvGrpSpPr>
        <p:grpSpPr bwMode="auto">
          <a:xfrm>
            <a:off x="2541588" y="4578350"/>
            <a:ext cx="161925" cy="254000"/>
            <a:chOff x="1327" y="2781"/>
            <a:chExt cx="243" cy="409"/>
          </a:xfrm>
        </p:grpSpPr>
        <p:sp>
          <p:nvSpPr>
            <p:cNvPr id="18764" name="Freeform 150"/>
            <p:cNvSpPr>
              <a:spLocks noChangeAspect="1"/>
            </p:cNvSpPr>
            <p:nvPr/>
          </p:nvSpPr>
          <p:spPr bwMode="auto">
            <a:xfrm>
              <a:off x="1327" y="2781"/>
              <a:ext cx="243" cy="409"/>
            </a:xfrm>
            <a:custGeom>
              <a:avLst/>
              <a:gdLst>
                <a:gd name="T0" fmla="*/ 39 w 243"/>
                <a:gd name="T1" fmla="*/ 351 h 409"/>
                <a:gd name="T2" fmla="*/ 48 w 243"/>
                <a:gd name="T3" fmla="*/ 361 h 409"/>
                <a:gd name="T4" fmla="*/ 68 w 243"/>
                <a:gd name="T5" fmla="*/ 380 h 409"/>
                <a:gd name="T6" fmla="*/ 87 w 243"/>
                <a:gd name="T7" fmla="*/ 390 h 409"/>
                <a:gd name="T8" fmla="*/ 117 w 243"/>
                <a:gd name="T9" fmla="*/ 390 h 409"/>
                <a:gd name="T10" fmla="*/ 136 w 243"/>
                <a:gd name="T11" fmla="*/ 400 h 409"/>
                <a:gd name="T12" fmla="*/ 146 w 243"/>
                <a:gd name="T13" fmla="*/ 400 h 409"/>
                <a:gd name="T14" fmla="*/ 185 w 243"/>
                <a:gd name="T15" fmla="*/ 400 h 409"/>
                <a:gd name="T16" fmla="*/ 195 w 243"/>
                <a:gd name="T17" fmla="*/ 380 h 409"/>
                <a:gd name="T18" fmla="*/ 165 w 243"/>
                <a:gd name="T19" fmla="*/ 351 h 409"/>
                <a:gd name="T20" fmla="*/ 175 w 243"/>
                <a:gd name="T21" fmla="*/ 331 h 409"/>
                <a:gd name="T22" fmla="*/ 185 w 243"/>
                <a:gd name="T23" fmla="*/ 341 h 409"/>
                <a:gd name="T24" fmla="*/ 204 w 243"/>
                <a:gd name="T25" fmla="*/ 351 h 409"/>
                <a:gd name="T26" fmla="*/ 224 w 243"/>
                <a:gd name="T27" fmla="*/ 322 h 409"/>
                <a:gd name="T28" fmla="*/ 234 w 243"/>
                <a:gd name="T29" fmla="*/ 253 h 409"/>
                <a:gd name="T30" fmla="*/ 234 w 243"/>
                <a:gd name="T31" fmla="*/ 224 h 409"/>
                <a:gd name="T32" fmla="*/ 214 w 243"/>
                <a:gd name="T33" fmla="*/ 185 h 409"/>
                <a:gd name="T34" fmla="*/ 195 w 243"/>
                <a:gd name="T35" fmla="*/ 185 h 409"/>
                <a:gd name="T36" fmla="*/ 195 w 243"/>
                <a:gd name="T37" fmla="*/ 166 h 409"/>
                <a:gd name="T38" fmla="*/ 214 w 243"/>
                <a:gd name="T39" fmla="*/ 146 h 409"/>
                <a:gd name="T40" fmla="*/ 224 w 243"/>
                <a:gd name="T41" fmla="*/ 117 h 409"/>
                <a:gd name="T42" fmla="*/ 214 w 243"/>
                <a:gd name="T43" fmla="*/ 78 h 409"/>
                <a:gd name="T44" fmla="*/ 243 w 243"/>
                <a:gd name="T45" fmla="*/ 68 h 409"/>
                <a:gd name="T46" fmla="*/ 234 w 243"/>
                <a:gd name="T47" fmla="*/ 48 h 409"/>
                <a:gd name="T48" fmla="*/ 185 w 243"/>
                <a:gd name="T49" fmla="*/ 29 h 409"/>
                <a:gd name="T50" fmla="*/ 146 w 243"/>
                <a:gd name="T51" fmla="*/ 9 h 409"/>
                <a:gd name="T52" fmla="*/ 136 w 243"/>
                <a:gd name="T53" fmla="*/ 9 h 409"/>
                <a:gd name="T54" fmla="*/ 117 w 243"/>
                <a:gd name="T55" fmla="*/ 0 h 409"/>
                <a:gd name="T56" fmla="*/ 107 w 243"/>
                <a:gd name="T57" fmla="*/ 58 h 409"/>
                <a:gd name="T58" fmla="*/ 107 w 243"/>
                <a:gd name="T59" fmla="*/ 87 h 409"/>
                <a:gd name="T60" fmla="*/ 107 w 243"/>
                <a:gd name="T61" fmla="*/ 136 h 409"/>
                <a:gd name="T62" fmla="*/ 136 w 243"/>
                <a:gd name="T63" fmla="*/ 146 h 409"/>
                <a:gd name="T64" fmla="*/ 156 w 243"/>
                <a:gd name="T65" fmla="*/ 175 h 409"/>
                <a:gd name="T66" fmla="*/ 136 w 243"/>
                <a:gd name="T67" fmla="*/ 166 h 409"/>
                <a:gd name="T68" fmla="*/ 107 w 243"/>
                <a:gd name="T69" fmla="*/ 185 h 409"/>
                <a:gd name="T70" fmla="*/ 97 w 243"/>
                <a:gd name="T71" fmla="*/ 234 h 409"/>
                <a:gd name="T72" fmla="*/ 87 w 243"/>
                <a:gd name="T73" fmla="*/ 253 h 409"/>
                <a:gd name="T74" fmla="*/ 58 w 243"/>
                <a:gd name="T75" fmla="*/ 263 h 409"/>
                <a:gd name="T76" fmla="*/ 29 w 243"/>
                <a:gd name="T77" fmla="*/ 244 h 409"/>
                <a:gd name="T78" fmla="*/ 29 w 243"/>
                <a:gd name="T79" fmla="*/ 283 h 409"/>
                <a:gd name="T80" fmla="*/ 19 w 243"/>
                <a:gd name="T81" fmla="*/ 312 h 409"/>
                <a:gd name="T82" fmla="*/ 0 w 243"/>
                <a:gd name="T83" fmla="*/ 341 h 409"/>
                <a:gd name="T84" fmla="*/ 19 w 243"/>
                <a:gd name="T85" fmla="*/ 370 h 40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43"/>
                <a:gd name="T130" fmla="*/ 0 h 409"/>
                <a:gd name="T131" fmla="*/ 243 w 243"/>
                <a:gd name="T132" fmla="*/ 409 h 409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43" h="409">
                  <a:moveTo>
                    <a:pt x="29" y="351"/>
                  </a:moveTo>
                  <a:lnTo>
                    <a:pt x="39" y="351"/>
                  </a:lnTo>
                  <a:lnTo>
                    <a:pt x="39" y="370"/>
                  </a:lnTo>
                  <a:lnTo>
                    <a:pt x="48" y="361"/>
                  </a:lnTo>
                  <a:lnTo>
                    <a:pt x="48" y="380"/>
                  </a:lnTo>
                  <a:lnTo>
                    <a:pt x="68" y="380"/>
                  </a:lnTo>
                  <a:lnTo>
                    <a:pt x="87" y="390"/>
                  </a:lnTo>
                  <a:lnTo>
                    <a:pt x="97" y="390"/>
                  </a:lnTo>
                  <a:lnTo>
                    <a:pt x="117" y="390"/>
                  </a:lnTo>
                  <a:lnTo>
                    <a:pt x="126" y="409"/>
                  </a:lnTo>
                  <a:lnTo>
                    <a:pt x="136" y="400"/>
                  </a:lnTo>
                  <a:lnTo>
                    <a:pt x="136" y="390"/>
                  </a:lnTo>
                  <a:lnTo>
                    <a:pt x="146" y="400"/>
                  </a:lnTo>
                  <a:lnTo>
                    <a:pt x="165" y="400"/>
                  </a:lnTo>
                  <a:lnTo>
                    <a:pt x="185" y="400"/>
                  </a:lnTo>
                  <a:lnTo>
                    <a:pt x="195" y="400"/>
                  </a:lnTo>
                  <a:lnTo>
                    <a:pt x="195" y="380"/>
                  </a:lnTo>
                  <a:lnTo>
                    <a:pt x="185" y="370"/>
                  </a:lnTo>
                  <a:lnTo>
                    <a:pt x="165" y="351"/>
                  </a:lnTo>
                  <a:lnTo>
                    <a:pt x="165" y="341"/>
                  </a:lnTo>
                  <a:lnTo>
                    <a:pt x="175" y="331"/>
                  </a:lnTo>
                  <a:lnTo>
                    <a:pt x="185" y="331"/>
                  </a:lnTo>
                  <a:lnTo>
                    <a:pt x="185" y="341"/>
                  </a:lnTo>
                  <a:lnTo>
                    <a:pt x="195" y="351"/>
                  </a:lnTo>
                  <a:lnTo>
                    <a:pt x="204" y="351"/>
                  </a:lnTo>
                  <a:lnTo>
                    <a:pt x="214" y="341"/>
                  </a:lnTo>
                  <a:lnTo>
                    <a:pt x="224" y="322"/>
                  </a:lnTo>
                  <a:lnTo>
                    <a:pt x="224" y="302"/>
                  </a:lnTo>
                  <a:lnTo>
                    <a:pt x="234" y="253"/>
                  </a:lnTo>
                  <a:lnTo>
                    <a:pt x="243" y="234"/>
                  </a:lnTo>
                  <a:lnTo>
                    <a:pt x="234" y="224"/>
                  </a:lnTo>
                  <a:lnTo>
                    <a:pt x="214" y="205"/>
                  </a:lnTo>
                  <a:lnTo>
                    <a:pt x="214" y="185"/>
                  </a:lnTo>
                  <a:lnTo>
                    <a:pt x="204" y="185"/>
                  </a:lnTo>
                  <a:lnTo>
                    <a:pt x="195" y="185"/>
                  </a:lnTo>
                  <a:lnTo>
                    <a:pt x="195" y="175"/>
                  </a:lnTo>
                  <a:lnTo>
                    <a:pt x="195" y="166"/>
                  </a:lnTo>
                  <a:lnTo>
                    <a:pt x="204" y="156"/>
                  </a:lnTo>
                  <a:lnTo>
                    <a:pt x="214" y="146"/>
                  </a:lnTo>
                  <a:lnTo>
                    <a:pt x="224" y="136"/>
                  </a:lnTo>
                  <a:lnTo>
                    <a:pt x="224" y="117"/>
                  </a:lnTo>
                  <a:lnTo>
                    <a:pt x="214" y="107"/>
                  </a:lnTo>
                  <a:lnTo>
                    <a:pt x="214" y="78"/>
                  </a:lnTo>
                  <a:lnTo>
                    <a:pt x="224" y="78"/>
                  </a:lnTo>
                  <a:lnTo>
                    <a:pt x="243" y="68"/>
                  </a:lnTo>
                  <a:lnTo>
                    <a:pt x="243" y="58"/>
                  </a:lnTo>
                  <a:lnTo>
                    <a:pt x="234" y="48"/>
                  </a:lnTo>
                  <a:lnTo>
                    <a:pt x="204" y="29"/>
                  </a:lnTo>
                  <a:lnTo>
                    <a:pt x="185" y="29"/>
                  </a:lnTo>
                  <a:lnTo>
                    <a:pt x="165" y="9"/>
                  </a:lnTo>
                  <a:lnTo>
                    <a:pt x="146" y="9"/>
                  </a:lnTo>
                  <a:lnTo>
                    <a:pt x="136" y="9"/>
                  </a:lnTo>
                  <a:lnTo>
                    <a:pt x="126" y="0"/>
                  </a:lnTo>
                  <a:lnTo>
                    <a:pt x="117" y="0"/>
                  </a:lnTo>
                  <a:lnTo>
                    <a:pt x="117" y="48"/>
                  </a:lnTo>
                  <a:lnTo>
                    <a:pt x="107" y="58"/>
                  </a:lnTo>
                  <a:lnTo>
                    <a:pt x="117" y="68"/>
                  </a:lnTo>
                  <a:lnTo>
                    <a:pt x="107" y="87"/>
                  </a:lnTo>
                  <a:lnTo>
                    <a:pt x="107" y="107"/>
                  </a:lnTo>
                  <a:lnTo>
                    <a:pt x="107" y="136"/>
                  </a:lnTo>
                  <a:lnTo>
                    <a:pt x="117" y="146"/>
                  </a:lnTo>
                  <a:lnTo>
                    <a:pt x="136" y="146"/>
                  </a:lnTo>
                  <a:lnTo>
                    <a:pt x="156" y="166"/>
                  </a:lnTo>
                  <a:lnTo>
                    <a:pt x="156" y="175"/>
                  </a:lnTo>
                  <a:lnTo>
                    <a:pt x="146" y="175"/>
                  </a:lnTo>
                  <a:lnTo>
                    <a:pt x="136" y="166"/>
                  </a:lnTo>
                  <a:lnTo>
                    <a:pt x="117" y="166"/>
                  </a:lnTo>
                  <a:lnTo>
                    <a:pt x="107" y="185"/>
                  </a:lnTo>
                  <a:lnTo>
                    <a:pt x="97" y="214"/>
                  </a:lnTo>
                  <a:lnTo>
                    <a:pt x="97" y="234"/>
                  </a:lnTo>
                  <a:lnTo>
                    <a:pt x="97" y="244"/>
                  </a:lnTo>
                  <a:lnTo>
                    <a:pt x="87" y="253"/>
                  </a:lnTo>
                  <a:lnTo>
                    <a:pt x="68" y="244"/>
                  </a:lnTo>
                  <a:lnTo>
                    <a:pt x="58" y="263"/>
                  </a:lnTo>
                  <a:lnTo>
                    <a:pt x="48" y="244"/>
                  </a:lnTo>
                  <a:lnTo>
                    <a:pt x="29" y="244"/>
                  </a:lnTo>
                  <a:lnTo>
                    <a:pt x="39" y="263"/>
                  </a:lnTo>
                  <a:lnTo>
                    <a:pt x="29" y="283"/>
                  </a:lnTo>
                  <a:lnTo>
                    <a:pt x="39" y="302"/>
                  </a:lnTo>
                  <a:lnTo>
                    <a:pt x="19" y="312"/>
                  </a:lnTo>
                  <a:lnTo>
                    <a:pt x="0" y="322"/>
                  </a:lnTo>
                  <a:lnTo>
                    <a:pt x="0" y="341"/>
                  </a:lnTo>
                  <a:lnTo>
                    <a:pt x="19" y="351"/>
                  </a:lnTo>
                  <a:lnTo>
                    <a:pt x="19" y="370"/>
                  </a:lnTo>
                  <a:lnTo>
                    <a:pt x="29" y="351"/>
                  </a:lnTo>
                  <a:close/>
                </a:path>
              </a:pathLst>
            </a:custGeom>
            <a:solidFill>
              <a:srgbClr val="548DD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21" name="Freeform 149"/>
            <p:cNvSpPr>
              <a:spLocks/>
            </p:cNvSpPr>
            <p:nvPr/>
          </p:nvSpPr>
          <p:spPr bwMode="auto">
            <a:xfrm>
              <a:off x="1325" y="2781"/>
              <a:ext cx="238" cy="409"/>
            </a:xfrm>
            <a:custGeom>
              <a:avLst/>
              <a:gdLst/>
              <a:ahLst/>
              <a:cxnLst>
                <a:cxn ang="0">
                  <a:pos x="39" y="351"/>
                </a:cxn>
                <a:cxn ang="0">
                  <a:pos x="48" y="361"/>
                </a:cxn>
                <a:cxn ang="0">
                  <a:pos x="68" y="380"/>
                </a:cxn>
                <a:cxn ang="0">
                  <a:pos x="87" y="390"/>
                </a:cxn>
                <a:cxn ang="0">
                  <a:pos x="117" y="390"/>
                </a:cxn>
                <a:cxn ang="0">
                  <a:pos x="136" y="400"/>
                </a:cxn>
                <a:cxn ang="0">
                  <a:pos x="146" y="400"/>
                </a:cxn>
                <a:cxn ang="0">
                  <a:pos x="185" y="400"/>
                </a:cxn>
                <a:cxn ang="0">
                  <a:pos x="195" y="380"/>
                </a:cxn>
                <a:cxn ang="0">
                  <a:pos x="165" y="351"/>
                </a:cxn>
                <a:cxn ang="0">
                  <a:pos x="175" y="331"/>
                </a:cxn>
                <a:cxn ang="0">
                  <a:pos x="185" y="341"/>
                </a:cxn>
                <a:cxn ang="0">
                  <a:pos x="204" y="351"/>
                </a:cxn>
                <a:cxn ang="0">
                  <a:pos x="224" y="322"/>
                </a:cxn>
                <a:cxn ang="0">
                  <a:pos x="234" y="253"/>
                </a:cxn>
                <a:cxn ang="0">
                  <a:pos x="234" y="224"/>
                </a:cxn>
                <a:cxn ang="0">
                  <a:pos x="214" y="185"/>
                </a:cxn>
                <a:cxn ang="0">
                  <a:pos x="195" y="185"/>
                </a:cxn>
                <a:cxn ang="0">
                  <a:pos x="195" y="166"/>
                </a:cxn>
                <a:cxn ang="0">
                  <a:pos x="214" y="146"/>
                </a:cxn>
                <a:cxn ang="0">
                  <a:pos x="224" y="117"/>
                </a:cxn>
                <a:cxn ang="0">
                  <a:pos x="214" y="78"/>
                </a:cxn>
                <a:cxn ang="0">
                  <a:pos x="243" y="68"/>
                </a:cxn>
                <a:cxn ang="0">
                  <a:pos x="234" y="48"/>
                </a:cxn>
                <a:cxn ang="0">
                  <a:pos x="185" y="29"/>
                </a:cxn>
                <a:cxn ang="0">
                  <a:pos x="146" y="9"/>
                </a:cxn>
                <a:cxn ang="0">
                  <a:pos x="136" y="9"/>
                </a:cxn>
                <a:cxn ang="0">
                  <a:pos x="117" y="0"/>
                </a:cxn>
                <a:cxn ang="0">
                  <a:pos x="107" y="58"/>
                </a:cxn>
                <a:cxn ang="0">
                  <a:pos x="107" y="87"/>
                </a:cxn>
                <a:cxn ang="0">
                  <a:pos x="107" y="136"/>
                </a:cxn>
                <a:cxn ang="0">
                  <a:pos x="136" y="146"/>
                </a:cxn>
                <a:cxn ang="0">
                  <a:pos x="156" y="175"/>
                </a:cxn>
                <a:cxn ang="0">
                  <a:pos x="136" y="166"/>
                </a:cxn>
                <a:cxn ang="0">
                  <a:pos x="107" y="185"/>
                </a:cxn>
                <a:cxn ang="0">
                  <a:pos x="97" y="234"/>
                </a:cxn>
                <a:cxn ang="0">
                  <a:pos x="87" y="253"/>
                </a:cxn>
                <a:cxn ang="0">
                  <a:pos x="58" y="263"/>
                </a:cxn>
                <a:cxn ang="0">
                  <a:pos x="29" y="244"/>
                </a:cxn>
                <a:cxn ang="0">
                  <a:pos x="29" y="283"/>
                </a:cxn>
                <a:cxn ang="0">
                  <a:pos x="19" y="312"/>
                </a:cxn>
                <a:cxn ang="0">
                  <a:pos x="0" y="341"/>
                </a:cxn>
                <a:cxn ang="0">
                  <a:pos x="19" y="370"/>
                </a:cxn>
              </a:cxnLst>
              <a:rect l="0" t="0" r="r" b="b"/>
              <a:pathLst>
                <a:path w="243" h="409">
                  <a:moveTo>
                    <a:pt x="29" y="351"/>
                  </a:moveTo>
                  <a:lnTo>
                    <a:pt x="39" y="351"/>
                  </a:lnTo>
                  <a:lnTo>
                    <a:pt x="39" y="370"/>
                  </a:lnTo>
                  <a:lnTo>
                    <a:pt x="48" y="361"/>
                  </a:lnTo>
                  <a:lnTo>
                    <a:pt x="48" y="380"/>
                  </a:lnTo>
                  <a:lnTo>
                    <a:pt x="68" y="380"/>
                  </a:lnTo>
                  <a:lnTo>
                    <a:pt x="87" y="390"/>
                  </a:lnTo>
                  <a:lnTo>
                    <a:pt x="97" y="390"/>
                  </a:lnTo>
                  <a:lnTo>
                    <a:pt x="117" y="390"/>
                  </a:lnTo>
                  <a:lnTo>
                    <a:pt x="126" y="409"/>
                  </a:lnTo>
                  <a:lnTo>
                    <a:pt x="136" y="400"/>
                  </a:lnTo>
                  <a:lnTo>
                    <a:pt x="136" y="390"/>
                  </a:lnTo>
                  <a:lnTo>
                    <a:pt x="146" y="400"/>
                  </a:lnTo>
                  <a:lnTo>
                    <a:pt x="165" y="400"/>
                  </a:lnTo>
                  <a:lnTo>
                    <a:pt x="185" y="400"/>
                  </a:lnTo>
                  <a:lnTo>
                    <a:pt x="195" y="400"/>
                  </a:lnTo>
                  <a:lnTo>
                    <a:pt x="195" y="380"/>
                  </a:lnTo>
                  <a:lnTo>
                    <a:pt x="185" y="370"/>
                  </a:lnTo>
                  <a:lnTo>
                    <a:pt x="165" y="351"/>
                  </a:lnTo>
                  <a:lnTo>
                    <a:pt x="165" y="341"/>
                  </a:lnTo>
                  <a:lnTo>
                    <a:pt x="175" y="331"/>
                  </a:lnTo>
                  <a:lnTo>
                    <a:pt x="185" y="331"/>
                  </a:lnTo>
                  <a:lnTo>
                    <a:pt x="185" y="341"/>
                  </a:lnTo>
                  <a:lnTo>
                    <a:pt x="195" y="351"/>
                  </a:lnTo>
                  <a:lnTo>
                    <a:pt x="204" y="351"/>
                  </a:lnTo>
                  <a:lnTo>
                    <a:pt x="214" y="341"/>
                  </a:lnTo>
                  <a:lnTo>
                    <a:pt x="224" y="322"/>
                  </a:lnTo>
                  <a:lnTo>
                    <a:pt x="224" y="302"/>
                  </a:lnTo>
                  <a:lnTo>
                    <a:pt x="234" y="253"/>
                  </a:lnTo>
                  <a:lnTo>
                    <a:pt x="243" y="234"/>
                  </a:lnTo>
                  <a:lnTo>
                    <a:pt x="234" y="224"/>
                  </a:lnTo>
                  <a:lnTo>
                    <a:pt x="214" y="205"/>
                  </a:lnTo>
                  <a:lnTo>
                    <a:pt x="214" y="185"/>
                  </a:lnTo>
                  <a:lnTo>
                    <a:pt x="204" y="185"/>
                  </a:lnTo>
                  <a:lnTo>
                    <a:pt x="195" y="185"/>
                  </a:lnTo>
                  <a:lnTo>
                    <a:pt x="195" y="175"/>
                  </a:lnTo>
                  <a:lnTo>
                    <a:pt x="195" y="166"/>
                  </a:lnTo>
                  <a:lnTo>
                    <a:pt x="204" y="156"/>
                  </a:lnTo>
                  <a:lnTo>
                    <a:pt x="214" y="146"/>
                  </a:lnTo>
                  <a:lnTo>
                    <a:pt x="224" y="136"/>
                  </a:lnTo>
                  <a:lnTo>
                    <a:pt x="224" y="117"/>
                  </a:lnTo>
                  <a:lnTo>
                    <a:pt x="214" y="107"/>
                  </a:lnTo>
                  <a:lnTo>
                    <a:pt x="214" y="78"/>
                  </a:lnTo>
                  <a:lnTo>
                    <a:pt x="224" y="78"/>
                  </a:lnTo>
                  <a:lnTo>
                    <a:pt x="243" y="68"/>
                  </a:lnTo>
                  <a:lnTo>
                    <a:pt x="243" y="58"/>
                  </a:lnTo>
                  <a:lnTo>
                    <a:pt x="234" y="48"/>
                  </a:lnTo>
                  <a:lnTo>
                    <a:pt x="204" y="29"/>
                  </a:lnTo>
                  <a:lnTo>
                    <a:pt x="185" y="29"/>
                  </a:lnTo>
                  <a:lnTo>
                    <a:pt x="165" y="9"/>
                  </a:lnTo>
                  <a:lnTo>
                    <a:pt x="146" y="9"/>
                  </a:lnTo>
                  <a:lnTo>
                    <a:pt x="136" y="9"/>
                  </a:lnTo>
                  <a:lnTo>
                    <a:pt x="126" y="0"/>
                  </a:lnTo>
                  <a:lnTo>
                    <a:pt x="117" y="0"/>
                  </a:lnTo>
                  <a:lnTo>
                    <a:pt x="117" y="48"/>
                  </a:lnTo>
                  <a:lnTo>
                    <a:pt x="107" y="58"/>
                  </a:lnTo>
                  <a:lnTo>
                    <a:pt x="117" y="68"/>
                  </a:lnTo>
                  <a:lnTo>
                    <a:pt x="107" y="87"/>
                  </a:lnTo>
                  <a:lnTo>
                    <a:pt x="107" y="107"/>
                  </a:lnTo>
                  <a:lnTo>
                    <a:pt x="107" y="136"/>
                  </a:lnTo>
                  <a:lnTo>
                    <a:pt x="117" y="146"/>
                  </a:lnTo>
                  <a:lnTo>
                    <a:pt x="136" y="146"/>
                  </a:lnTo>
                  <a:lnTo>
                    <a:pt x="156" y="166"/>
                  </a:lnTo>
                  <a:lnTo>
                    <a:pt x="156" y="175"/>
                  </a:lnTo>
                  <a:lnTo>
                    <a:pt x="146" y="175"/>
                  </a:lnTo>
                  <a:lnTo>
                    <a:pt x="136" y="166"/>
                  </a:lnTo>
                  <a:lnTo>
                    <a:pt x="117" y="166"/>
                  </a:lnTo>
                  <a:lnTo>
                    <a:pt x="107" y="185"/>
                  </a:lnTo>
                  <a:lnTo>
                    <a:pt x="97" y="214"/>
                  </a:lnTo>
                  <a:lnTo>
                    <a:pt x="97" y="234"/>
                  </a:lnTo>
                  <a:lnTo>
                    <a:pt x="97" y="244"/>
                  </a:lnTo>
                  <a:lnTo>
                    <a:pt x="87" y="253"/>
                  </a:lnTo>
                  <a:lnTo>
                    <a:pt x="68" y="244"/>
                  </a:lnTo>
                  <a:lnTo>
                    <a:pt x="58" y="263"/>
                  </a:lnTo>
                  <a:lnTo>
                    <a:pt x="48" y="244"/>
                  </a:lnTo>
                  <a:lnTo>
                    <a:pt x="29" y="244"/>
                  </a:lnTo>
                  <a:lnTo>
                    <a:pt x="39" y="263"/>
                  </a:lnTo>
                  <a:lnTo>
                    <a:pt x="29" y="283"/>
                  </a:lnTo>
                  <a:lnTo>
                    <a:pt x="39" y="302"/>
                  </a:lnTo>
                  <a:lnTo>
                    <a:pt x="19" y="312"/>
                  </a:lnTo>
                  <a:lnTo>
                    <a:pt x="0" y="322"/>
                  </a:lnTo>
                  <a:lnTo>
                    <a:pt x="0" y="341"/>
                  </a:lnTo>
                  <a:lnTo>
                    <a:pt x="19" y="351"/>
                  </a:lnTo>
                  <a:lnTo>
                    <a:pt x="19" y="370"/>
                  </a:lnTo>
                  <a:lnTo>
                    <a:pt x="29" y="351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US" sz="1100">
                <a:latin typeface="Polo" pitchFamily="2" charset="0"/>
                <a:cs typeface="+mn-cs"/>
              </a:endParaRPr>
            </a:p>
          </p:txBody>
        </p:sp>
      </p:grpSp>
      <p:sp>
        <p:nvSpPr>
          <p:cNvPr id="222" name="Freeform 146"/>
          <p:cNvSpPr>
            <a:spLocks/>
          </p:cNvSpPr>
          <p:nvPr>
            <p:custDataLst>
              <p:tags r:id="rId168"/>
            </p:custDataLst>
          </p:nvPr>
        </p:nvSpPr>
        <p:spPr bwMode="auto">
          <a:xfrm>
            <a:off x="2214563" y="4710113"/>
            <a:ext cx="117475" cy="82550"/>
          </a:xfrm>
          <a:custGeom>
            <a:avLst/>
            <a:gdLst/>
            <a:ahLst/>
            <a:cxnLst>
              <a:cxn ang="0">
                <a:pos x="39" y="98"/>
              </a:cxn>
              <a:cxn ang="0">
                <a:pos x="39" y="69"/>
              </a:cxn>
              <a:cxn ang="0">
                <a:pos x="29" y="49"/>
              </a:cxn>
              <a:cxn ang="0">
                <a:pos x="10" y="39"/>
              </a:cxn>
              <a:cxn ang="0">
                <a:pos x="10" y="20"/>
              </a:cxn>
              <a:cxn ang="0">
                <a:pos x="0" y="10"/>
              </a:cxn>
              <a:cxn ang="0">
                <a:pos x="29" y="0"/>
              </a:cxn>
              <a:cxn ang="0">
                <a:pos x="49" y="0"/>
              </a:cxn>
              <a:cxn ang="0">
                <a:pos x="78" y="0"/>
              </a:cxn>
              <a:cxn ang="0">
                <a:pos x="97" y="10"/>
              </a:cxn>
              <a:cxn ang="0">
                <a:pos x="107" y="20"/>
              </a:cxn>
              <a:cxn ang="0">
                <a:pos x="97" y="30"/>
              </a:cxn>
              <a:cxn ang="0">
                <a:pos x="127" y="39"/>
              </a:cxn>
              <a:cxn ang="0">
                <a:pos x="127" y="49"/>
              </a:cxn>
              <a:cxn ang="0">
                <a:pos x="127" y="59"/>
              </a:cxn>
              <a:cxn ang="0">
                <a:pos x="156" y="49"/>
              </a:cxn>
              <a:cxn ang="0">
                <a:pos x="156" y="69"/>
              </a:cxn>
              <a:cxn ang="0">
                <a:pos x="175" y="69"/>
              </a:cxn>
              <a:cxn ang="0">
                <a:pos x="175" y="88"/>
              </a:cxn>
              <a:cxn ang="0">
                <a:pos x="175" y="98"/>
              </a:cxn>
              <a:cxn ang="0">
                <a:pos x="156" y="117"/>
              </a:cxn>
              <a:cxn ang="0">
                <a:pos x="146" y="117"/>
              </a:cxn>
              <a:cxn ang="0">
                <a:pos x="127" y="127"/>
              </a:cxn>
              <a:cxn ang="0">
                <a:pos x="107" y="117"/>
              </a:cxn>
              <a:cxn ang="0">
                <a:pos x="97" y="117"/>
              </a:cxn>
              <a:cxn ang="0">
                <a:pos x="78" y="117"/>
              </a:cxn>
              <a:cxn ang="0">
                <a:pos x="49" y="117"/>
              </a:cxn>
              <a:cxn ang="0">
                <a:pos x="39" y="117"/>
              </a:cxn>
              <a:cxn ang="0">
                <a:pos x="39" y="98"/>
              </a:cxn>
            </a:cxnLst>
            <a:rect l="0" t="0" r="r" b="b"/>
            <a:pathLst>
              <a:path w="175" h="127">
                <a:moveTo>
                  <a:pt x="39" y="98"/>
                </a:moveTo>
                <a:lnTo>
                  <a:pt x="39" y="69"/>
                </a:lnTo>
                <a:lnTo>
                  <a:pt x="29" y="49"/>
                </a:lnTo>
                <a:lnTo>
                  <a:pt x="10" y="39"/>
                </a:lnTo>
                <a:lnTo>
                  <a:pt x="10" y="20"/>
                </a:lnTo>
                <a:lnTo>
                  <a:pt x="0" y="10"/>
                </a:lnTo>
                <a:lnTo>
                  <a:pt x="29" y="0"/>
                </a:lnTo>
                <a:lnTo>
                  <a:pt x="49" y="0"/>
                </a:lnTo>
                <a:lnTo>
                  <a:pt x="78" y="0"/>
                </a:lnTo>
                <a:lnTo>
                  <a:pt x="97" y="10"/>
                </a:lnTo>
                <a:lnTo>
                  <a:pt x="107" y="20"/>
                </a:lnTo>
                <a:lnTo>
                  <a:pt x="97" y="30"/>
                </a:lnTo>
                <a:lnTo>
                  <a:pt x="127" y="39"/>
                </a:lnTo>
                <a:lnTo>
                  <a:pt x="127" y="49"/>
                </a:lnTo>
                <a:lnTo>
                  <a:pt x="127" y="59"/>
                </a:lnTo>
                <a:lnTo>
                  <a:pt x="156" y="49"/>
                </a:lnTo>
                <a:lnTo>
                  <a:pt x="156" y="69"/>
                </a:lnTo>
                <a:lnTo>
                  <a:pt x="175" y="69"/>
                </a:lnTo>
                <a:lnTo>
                  <a:pt x="175" y="88"/>
                </a:lnTo>
                <a:lnTo>
                  <a:pt x="175" y="98"/>
                </a:lnTo>
                <a:lnTo>
                  <a:pt x="156" y="117"/>
                </a:lnTo>
                <a:lnTo>
                  <a:pt x="146" y="117"/>
                </a:lnTo>
                <a:lnTo>
                  <a:pt x="127" y="127"/>
                </a:lnTo>
                <a:lnTo>
                  <a:pt x="107" y="117"/>
                </a:lnTo>
                <a:lnTo>
                  <a:pt x="97" y="117"/>
                </a:lnTo>
                <a:lnTo>
                  <a:pt x="78" y="117"/>
                </a:lnTo>
                <a:lnTo>
                  <a:pt x="49" y="117"/>
                </a:lnTo>
                <a:lnTo>
                  <a:pt x="39" y="117"/>
                </a:lnTo>
                <a:lnTo>
                  <a:pt x="39" y="98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en-US" sz="1100">
              <a:latin typeface="Polo" pitchFamily="2" charset="0"/>
              <a:cs typeface="+mn-cs"/>
            </a:endParaRPr>
          </a:p>
        </p:txBody>
      </p:sp>
      <p:grpSp>
        <p:nvGrpSpPr>
          <p:cNvPr id="18603" name="Group 143"/>
          <p:cNvGrpSpPr>
            <a:grpSpLocks noChangeAspect="1"/>
          </p:cNvGrpSpPr>
          <p:nvPr>
            <p:custDataLst>
              <p:tags r:id="rId169"/>
            </p:custDataLst>
          </p:nvPr>
        </p:nvGrpSpPr>
        <p:grpSpPr bwMode="auto">
          <a:xfrm>
            <a:off x="2214563" y="4711700"/>
            <a:ext cx="117475" cy="79375"/>
            <a:chOff x="839" y="2995"/>
            <a:chExt cx="175" cy="127"/>
          </a:xfrm>
        </p:grpSpPr>
        <p:sp>
          <p:nvSpPr>
            <p:cNvPr id="18762" name="Freeform 145"/>
            <p:cNvSpPr>
              <a:spLocks noChangeAspect="1"/>
            </p:cNvSpPr>
            <p:nvPr/>
          </p:nvSpPr>
          <p:spPr bwMode="auto">
            <a:xfrm>
              <a:off x="839" y="2995"/>
              <a:ext cx="175" cy="127"/>
            </a:xfrm>
            <a:custGeom>
              <a:avLst/>
              <a:gdLst>
                <a:gd name="T0" fmla="*/ 39 w 175"/>
                <a:gd name="T1" fmla="*/ 98 h 127"/>
                <a:gd name="T2" fmla="*/ 39 w 175"/>
                <a:gd name="T3" fmla="*/ 69 h 127"/>
                <a:gd name="T4" fmla="*/ 29 w 175"/>
                <a:gd name="T5" fmla="*/ 59 h 127"/>
                <a:gd name="T6" fmla="*/ 10 w 175"/>
                <a:gd name="T7" fmla="*/ 39 h 127"/>
                <a:gd name="T8" fmla="*/ 10 w 175"/>
                <a:gd name="T9" fmla="*/ 20 h 127"/>
                <a:gd name="T10" fmla="*/ 0 w 175"/>
                <a:gd name="T11" fmla="*/ 20 h 127"/>
                <a:gd name="T12" fmla="*/ 29 w 175"/>
                <a:gd name="T13" fmla="*/ 0 h 127"/>
                <a:gd name="T14" fmla="*/ 49 w 175"/>
                <a:gd name="T15" fmla="*/ 0 h 127"/>
                <a:gd name="T16" fmla="*/ 78 w 175"/>
                <a:gd name="T17" fmla="*/ 0 h 127"/>
                <a:gd name="T18" fmla="*/ 97 w 175"/>
                <a:gd name="T19" fmla="*/ 10 h 127"/>
                <a:gd name="T20" fmla="*/ 107 w 175"/>
                <a:gd name="T21" fmla="*/ 20 h 127"/>
                <a:gd name="T22" fmla="*/ 97 w 175"/>
                <a:gd name="T23" fmla="*/ 30 h 127"/>
                <a:gd name="T24" fmla="*/ 127 w 175"/>
                <a:gd name="T25" fmla="*/ 39 h 127"/>
                <a:gd name="T26" fmla="*/ 127 w 175"/>
                <a:gd name="T27" fmla="*/ 49 h 127"/>
                <a:gd name="T28" fmla="*/ 127 w 175"/>
                <a:gd name="T29" fmla="*/ 59 h 127"/>
                <a:gd name="T30" fmla="*/ 156 w 175"/>
                <a:gd name="T31" fmla="*/ 59 h 127"/>
                <a:gd name="T32" fmla="*/ 156 w 175"/>
                <a:gd name="T33" fmla="*/ 69 h 127"/>
                <a:gd name="T34" fmla="*/ 175 w 175"/>
                <a:gd name="T35" fmla="*/ 78 h 127"/>
                <a:gd name="T36" fmla="*/ 175 w 175"/>
                <a:gd name="T37" fmla="*/ 88 h 127"/>
                <a:gd name="T38" fmla="*/ 175 w 175"/>
                <a:gd name="T39" fmla="*/ 98 h 127"/>
                <a:gd name="T40" fmla="*/ 156 w 175"/>
                <a:gd name="T41" fmla="*/ 108 h 127"/>
                <a:gd name="T42" fmla="*/ 146 w 175"/>
                <a:gd name="T43" fmla="*/ 117 h 127"/>
                <a:gd name="T44" fmla="*/ 127 w 175"/>
                <a:gd name="T45" fmla="*/ 127 h 127"/>
                <a:gd name="T46" fmla="*/ 107 w 175"/>
                <a:gd name="T47" fmla="*/ 117 h 127"/>
                <a:gd name="T48" fmla="*/ 97 w 175"/>
                <a:gd name="T49" fmla="*/ 108 h 127"/>
                <a:gd name="T50" fmla="*/ 78 w 175"/>
                <a:gd name="T51" fmla="*/ 117 h 127"/>
                <a:gd name="T52" fmla="*/ 49 w 175"/>
                <a:gd name="T53" fmla="*/ 117 h 127"/>
                <a:gd name="T54" fmla="*/ 39 w 175"/>
                <a:gd name="T55" fmla="*/ 117 h 127"/>
                <a:gd name="T56" fmla="*/ 39 w 175"/>
                <a:gd name="T57" fmla="*/ 98 h 12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5"/>
                <a:gd name="T88" fmla="*/ 0 h 127"/>
                <a:gd name="T89" fmla="*/ 175 w 175"/>
                <a:gd name="T90" fmla="*/ 127 h 127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5" h="127">
                  <a:moveTo>
                    <a:pt x="39" y="98"/>
                  </a:moveTo>
                  <a:lnTo>
                    <a:pt x="39" y="69"/>
                  </a:lnTo>
                  <a:lnTo>
                    <a:pt x="29" y="59"/>
                  </a:lnTo>
                  <a:lnTo>
                    <a:pt x="10" y="39"/>
                  </a:lnTo>
                  <a:lnTo>
                    <a:pt x="10" y="20"/>
                  </a:lnTo>
                  <a:lnTo>
                    <a:pt x="0" y="20"/>
                  </a:lnTo>
                  <a:lnTo>
                    <a:pt x="29" y="0"/>
                  </a:lnTo>
                  <a:lnTo>
                    <a:pt x="49" y="0"/>
                  </a:lnTo>
                  <a:lnTo>
                    <a:pt x="78" y="0"/>
                  </a:lnTo>
                  <a:lnTo>
                    <a:pt x="97" y="10"/>
                  </a:lnTo>
                  <a:lnTo>
                    <a:pt x="107" y="20"/>
                  </a:lnTo>
                  <a:lnTo>
                    <a:pt x="97" y="30"/>
                  </a:lnTo>
                  <a:lnTo>
                    <a:pt x="127" y="39"/>
                  </a:lnTo>
                  <a:lnTo>
                    <a:pt x="127" y="49"/>
                  </a:lnTo>
                  <a:lnTo>
                    <a:pt x="127" y="59"/>
                  </a:lnTo>
                  <a:lnTo>
                    <a:pt x="156" y="59"/>
                  </a:lnTo>
                  <a:lnTo>
                    <a:pt x="156" y="69"/>
                  </a:lnTo>
                  <a:lnTo>
                    <a:pt x="175" y="78"/>
                  </a:lnTo>
                  <a:lnTo>
                    <a:pt x="175" y="88"/>
                  </a:lnTo>
                  <a:lnTo>
                    <a:pt x="175" y="98"/>
                  </a:lnTo>
                  <a:lnTo>
                    <a:pt x="156" y="108"/>
                  </a:lnTo>
                  <a:lnTo>
                    <a:pt x="146" y="117"/>
                  </a:lnTo>
                  <a:lnTo>
                    <a:pt x="127" y="127"/>
                  </a:lnTo>
                  <a:lnTo>
                    <a:pt x="107" y="117"/>
                  </a:lnTo>
                  <a:lnTo>
                    <a:pt x="97" y="108"/>
                  </a:lnTo>
                  <a:lnTo>
                    <a:pt x="78" y="117"/>
                  </a:lnTo>
                  <a:lnTo>
                    <a:pt x="49" y="117"/>
                  </a:lnTo>
                  <a:lnTo>
                    <a:pt x="39" y="117"/>
                  </a:lnTo>
                  <a:lnTo>
                    <a:pt x="39" y="98"/>
                  </a:lnTo>
                  <a:close/>
                </a:path>
              </a:pathLst>
            </a:custGeom>
            <a:solidFill>
              <a:srgbClr val="548DD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25" name="Freeform 144"/>
            <p:cNvSpPr>
              <a:spLocks/>
            </p:cNvSpPr>
            <p:nvPr/>
          </p:nvSpPr>
          <p:spPr bwMode="auto">
            <a:xfrm>
              <a:off x="839" y="2992"/>
              <a:ext cx="173" cy="130"/>
            </a:xfrm>
            <a:custGeom>
              <a:avLst/>
              <a:gdLst/>
              <a:ahLst/>
              <a:cxnLst>
                <a:cxn ang="0">
                  <a:pos x="39" y="98"/>
                </a:cxn>
                <a:cxn ang="0">
                  <a:pos x="39" y="69"/>
                </a:cxn>
                <a:cxn ang="0">
                  <a:pos x="29" y="59"/>
                </a:cxn>
                <a:cxn ang="0">
                  <a:pos x="10" y="39"/>
                </a:cxn>
                <a:cxn ang="0">
                  <a:pos x="10" y="20"/>
                </a:cxn>
                <a:cxn ang="0">
                  <a:pos x="0" y="20"/>
                </a:cxn>
                <a:cxn ang="0">
                  <a:pos x="29" y="0"/>
                </a:cxn>
                <a:cxn ang="0">
                  <a:pos x="49" y="0"/>
                </a:cxn>
                <a:cxn ang="0">
                  <a:pos x="78" y="0"/>
                </a:cxn>
                <a:cxn ang="0">
                  <a:pos x="97" y="10"/>
                </a:cxn>
                <a:cxn ang="0">
                  <a:pos x="107" y="20"/>
                </a:cxn>
                <a:cxn ang="0">
                  <a:pos x="97" y="30"/>
                </a:cxn>
                <a:cxn ang="0">
                  <a:pos x="127" y="39"/>
                </a:cxn>
                <a:cxn ang="0">
                  <a:pos x="127" y="49"/>
                </a:cxn>
                <a:cxn ang="0">
                  <a:pos x="127" y="59"/>
                </a:cxn>
                <a:cxn ang="0">
                  <a:pos x="156" y="59"/>
                </a:cxn>
                <a:cxn ang="0">
                  <a:pos x="156" y="69"/>
                </a:cxn>
                <a:cxn ang="0">
                  <a:pos x="175" y="78"/>
                </a:cxn>
                <a:cxn ang="0">
                  <a:pos x="175" y="88"/>
                </a:cxn>
                <a:cxn ang="0">
                  <a:pos x="175" y="98"/>
                </a:cxn>
                <a:cxn ang="0">
                  <a:pos x="156" y="108"/>
                </a:cxn>
                <a:cxn ang="0">
                  <a:pos x="146" y="117"/>
                </a:cxn>
                <a:cxn ang="0">
                  <a:pos x="127" y="127"/>
                </a:cxn>
                <a:cxn ang="0">
                  <a:pos x="107" y="117"/>
                </a:cxn>
                <a:cxn ang="0">
                  <a:pos x="97" y="108"/>
                </a:cxn>
                <a:cxn ang="0">
                  <a:pos x="78" y="117"/>
                </a:cxn>
                <a:cxn ang="0">
                  <a:pos x="49" y="117"/>
                </a:cxn>
                <a:cxn ang="0">
                  <a:pos x="39" y="117"/>
                </a:cxn>
                <a:cxn ang="0">
                  <a:pos x="39" y="98"/>
                </a:cxn>
              </a:cxnLst>
              <a:rect l="0" t="0" r="r" b="b"/>
              <a:pathLst>
                <a:path w="175" h="127">
                  <a:moveTo>
                    <a:pt x="39" y="98"/>
                  </a:moveTo>
                  <a:lnTo>
                    <a:pt x="39" y="69"/>
                  </a:lnTo>
                  <a:lnTo>
                    <a:pt x="29" y="59"/>
                  </a:lnTo>
                  <a:lnTo>
                    <a:pt x="10" y="39"/>
                  </a:lnTo>
                  <a:lnTo>
                    <a:pt x="10" y="20"/>
                  </a:lnTo>
                  <a:lnTo>
                    <a:pt x="0" y="20"/>
                  </a:lnTo>
                  <a:lnTo>
                    <a:pt x="29" y="0"/>
                  </a:lnTo>
                  <a:lnTo>
                    <a:pt x="49" y="0"/>
                  </a:lnTo>
                  <a:lnTo>
                    <a:pt x="78" y="0"/>
                  </a:lnTo>
                  <a:lnTo>
                    <a:pt x="97" y="10"/>
                  </a:lnTo>
                  <a:lnTo>
                    <a:pt x="107" y="20"/>
                  </a:lnTo>
                  <a:lnTo>
                    <a:pt x="97" y="30"/>
                  </a:lnTo>
                  <a:lnTo>
                    <a:pt x="127" y="39"/>
                  </a:lnTo>
                  <a:lnTo>
                    <a:pt x="127" y="49"/>
                  </a:lnTo>
                  <a:lnTo>
                    <a:pt x="127" y="59"/>
                  </a:lnTo>
                  <a:lnTo>
                    <a:pt x="156" y="59"/>
                  </a:lnTo>
                  <a:lnTo>
                    <a:pt x="156" y="69"/>
                  </a:lnTo>
                  <a:lnTo>
                    <a:pt x="175" y="78"/>
                  </a:lnTo>
                  <a:lnTo>
                    <a:pt x="175" y="88"/>
                  </a:lnTo>
                  <a:lnTo>
                    <a:pt x="175" y="98"/>
                  </a:lnTo>
                  <a:lnTo>
                    <a:pt x="156" y="108"/>
                  </a:lnTo>
                  <a:lnTo>
                    <a:pt x="146" y="117"/>
                  </a:lnTo>
                  <a:lnTo>
                    <a:pt x="127" y="127"/>
                  </a:lnTo>
                  <a:lnTo>
                    <a:pt x="107" y="117"/>
                  </a:lnTo>
                  <a:lnTo>
                    <a:pt x="97" y="108"/>
                  </a:lnTo>
                  <a:lnTo>
                    <a:pt x="78" y="117"/>
                  </a:lnTo>
                  <a:lnTo>
                    <a:pt x="49" y="117"/>
                  </a:lnTo>
                  <a:lnTo>
                    <a:pt x="39" y="117"/>
                  </a:lnTo>
                  <a:lnTo>
                    <a:pt x="39" y="98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US" sz="1100">
                <a:latin typeface="Polo" pitchFamily="2" charset="0"/>
                <a:cs typeface="+mn-cs"/>
              </a:endParaRPr>
            </a:p>
          </p:txBody>
        </p:sp>
      </p:grpSp>
      <p:sp>
        <p:nvSpPr>
          <p:cNvPr id="18604" name="Freeform 142"/>
          <p:cNvSpPr>
            <a:spLocks noChangeAspect="1"/>
          </p:cNvSpPr>
          <p:nvPr>
            <p:custDataLst>
              <p:tags r:id="rId170"/>
            </p:custDataLst>
          </p:nvPr>
        </p:nvSpPr>
        <p:spPr bwMode="auto">
          <a:xfrm>
            <a:off x="2241550" y="4772025"/>
            <a:ext cx="103188" cy="66675"/>
          </a:xfrm>
          <a:custGeom>
            <a:avLst/>
            <a:gdLst>
              <a:gd name="T0" fmla="*/ 96573 w 156"/>
              <a:gd name="T1" fmla="*/ 18071 h 107"/>
              <a:gd name="T2" fmla="*/ 96573 w 156"/>
              <a:gd name="T3" fmla="*/ 24302 h 107"/>
              <a:gd name="T4" fmla="*/ 89959 w 156"/>
              <a:gd name="T5" fmla="*/ 24302 h 107"/>
              <a:gd name="T6" fmla="*/ 89959 w 156"/>
              <a:gd name="T7" fmla="*/ 18071 h 107"/>
              <a:gd name="T8" fmla="*/ 84006 w 156"/>
              <a:gd name="T9" fmla="*/ 18071 h 107"/>
              <a:gd name="T10" fmla="*/ 77391 w 156"/>
              <a:gd name="T11" fmla="*/ 18071 h 107"/>
              <a:gd name="T12" fmla="*/ 70776 w 156"/>
              <a:gd name="T13" fmla="*/ 24302 h 107"/>
              <a:gd name="T14" fmla="*/ 77391 w 156"/>
              <a:gd name="T15" fmla="*/ 36142 h 107"/>
              <a:gd name="T16" fmla="*/ 70776 w 156"/>
              <a:gd name="T17" fmla="*/ 36142 h 107"/>
              <a:gd name="T18" fmla="*/ 70776 w 156"/>
              <a:gd name="T19" fmla="*/ 48604 h 107"/>
              <a:gd name="T20" fmla="*/ 64162 w 156"/>
              <a:gd name="T21" fmla="*/ 60444 h 107"/>
              <a:gd name="T22" fmla="*/ 58209 w 156"/>
              <a:gd name="T23" fmla="*/ 66675 h 107"/>
              <a:gd name="T24" fmla="*/ 44979 w 156"/>
              <a:gd name="T25" fmla="*/ 60444 h 107"/>
              <a:gd name="T26" fmla="*/ 32412 w 156"/>
              <a:gd name="T27" fmla="*/ 60444 h 107"/>
              <a:gd name="T28" fmla="*/ 25797 w 156"/>
              <a:gd name="T29" fmla="*/ 54836 h 107"/>
              <a:gd name="T30" fmla="*/ 19182 w 156"/>
              <a:gd name="T31" fmla="*/ 48604 h 107"/>
              <a:gd name="T32" fmla="*/ 12568 w 156"/>
              <a:gd name="T33" fmla="*/ 54836 h 107"/>
              <a:gd name="T34" fmla="*/ 0 w 156"/>
              <a:gd name="T35" fmla="*/ 48604 h 107"/>
              <a:gd name="T36" fmla="*/ 0 w 156"/>
              <a:gd name="T37" fmla="*/ 36142 h 107"/>
              <a:gd name="T38" fmla="*/ 6615 w 156"/>
              <a:gd name="T39" fmla="*/ 30533 h 107"/>
              <a:gd name="T40" fmla="*/ 6615 w 156"/>
              <a:gd name="T41" fmla="*/ 18071 h 107"/>
              <a:gd name="T42" fmla="*/ 0 w 156"/>
              <a:gd name="T43" fmla="*/ 11839 h 107"/>
              <a:gd name="T44" fmla="*/ 12568 w 156"/>
              <a:gd name="T45" fmla="*/ 11839 h 107"/>
              <a:gd name="T46" fmla="*/ 25797 w 156"/>
              <a:gd name="T47" fmla="*/ 11839 h 107"/>
              <a:gd name="T48" fmla="*/ 38365 w 156"/>
              <a:gd name="T49" fmla="*/ 11839 h 107"/>
              <a:gd name="T50" fmla="*/ 44979 w 156"/>
              <a:gd name="T51" fmla="*/ 11839 h 107"/>
              <a:gd name="T52" fmla="*/ 58209 w 156"/>
              <a:gd name="T53" fmla="*/ 18071 h 107"/>
              <a:gd name="T54" fmla="*/ 70776 w 156"/>
              <a:gd name="T55" fmla="*/ 11839 h 107"/>
              <a:gd name="T56" fmla="*/ 77391 w 156"/>
              <a:gd name="T57" fmla="*/ 11839 h 107"/>
              <a:gd name="T58" fmla="*/ 89959 w 156"/>
              <a:gd name="T59" fmla="*/ 0 h 107"/>
              <a:gd name="T60" fmla="*/ 103188 w 156"/>
              <a:gd name="T61" fmla="*/ 6231 h 107"/>
              <a:gd name="T62" fmla="*/ 96573 w 156"/>
              <a:gd name="T63" fmla="*/ 11839 h 107"/>
              <a:gd name="T64" fmla="*/ 96573 w 156"/>
              <a:gd name="T65" fmla="*/ 18071 h 10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56"/>
              <a:gd name="T100" fmla="*/ 0 h 107"/>
              <a:gd name="T101" fmla="*/ 156 w 156"/>
              <a:gd name="T102" fmla="*/ 107 h 107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56" h="107">
                <a:moveTo>
                  <a:pt x="146" y="29"/>
                </a:moveTo>
                <a:lnTo>
                  <a:pt x="146" y="39"/>
                </a:lnTo>
                <a:lnTo>
                  <a:pt x="136" y="39"/>
                </a:lnTo>
                <a:lnTo>
                  <a:pt x="136" y="29"/>
                </a:lnTo>
                <a:lnTo>
                  <a:pt x="127" y="29"/>
                </a:lnTo>
                <a:lnTo>
                  <a:pt x="117" y="29"/>
                </a:lnTo>
                <a:lnTo>
                  <a:pt x="107" y="39"/>
                </a:lnTo>
                <a:lnTo>
                  <a:pt x="117" y="58"/>
                </a:lnTo>
                <a:lnTo>
                  <a:pt x="107" y="58"/>
                </a:lnTo>
                <a:lnTo>
                  <a:pt x="107" y="78"/>
                </a:lnTo>
                <a:lnTo>
                  <a:pt x="97" y="97"/>
                </a:lnTo>
                <a:lnTo>
                  <a:pt x="88" y="107"/>
                </a:lnTo>
                <a:lnTo>
                  <a:pt x="68" y="97"/>
                </a:lnTo>
                <a:lnTo>
                  <a:pt x="49" y="97"/>
                </a:lnTo>
                <a:lnTo>
                  <a:pt x="39" y="88"/>
                </a:lnTo>
                <a:lnTo>
                  <a:pt x="29" y="78"/>
                </a:lnTo>
                <a:lnTo>
                  <a:pt x="19" y="88"/>
                </a:lnTo>
                <a:lnTo>
                  <a:pt x="0" y="78"/>
                </a:lnTo>
                <a:lnTo>
                  <a:pt x="0" y="58"/>
                </a:lnTo>
                <a:lnTo>
                  <a:pt x="10" y="49"/>
                </a:lnTo>
                <a:lnTo>
                  <a:pt x="10" y="29"/>
                </a:lnTo>
                <a:lnTo>
                  <a:pt x="0" y="19"/>
                </a:lnTo>
                <a:lnTo>
                  <a:pt x="19" y="19"/>
                </a:lnTo>
                <a:lnTo>
                  <a:pt x="39" y="19"/>
                </a:lnTo>
                <a:lnTo>
                  <a:pt x="58" y="19"/>
                </a:lnTo>
                <a:lnTo>
                  <a:pt x="68" y="19"/>
                </a:lnTo>
                <a:lnTo>
                  <a:pt x="88" y="29"/>
                </a:lnTo>
                <a:lnTo>
                  <a:pt x="107" y="19"/>
                </a:lnTo>
                <a:lnTo>
                  <a:pt x="117" y="19"/>
                </a:lnTo>
                <a:lnTo>
                  <a:pt x="136" y="0"/>
                </a:lnTo>
                <a:lnTo>
                  <a:pt x="156" y="10"/>
                </a:lnTo>
                <a:lnTo>
                  <a:pt x="146" y="19"/>
                </a:lnTo>
                <a:lnTo>
                  <a:pt x="146" y="29"/>
                </a:lnTo>
                <a:close/>
              </a:path>
            </a:pathLst>
          </a:custGeom>
          <a:solidFill>
            <a:srgbClr val="CCECFF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grpSp>
        <p:nvGrpSpPr>
          <p:cNvPr id="18605" name="Group 139"/>
          <p:cNvGrpSpPr>
            <a:grpSpLocks noChangeAspect="1"/>
          </p:cNvGrpSpPr>
          <p:nvPr>
            <p:custDataLst>
              <p:tags r:id="rId171"/>
            </p:custDataLst>
          </p:nvPr>
        </p:nvGrpSpPr>
        <p:grpSpPr bwMode="auto">
          <a:xfrm>
            <a:off x="2241550" y="4772025"/>
            <a:ext cx="103188" cy="66675"/>
            <a:chOff x="878" y="3093"/>
            <a:chExt cx="156" cy="107"/>
          </a:xfrm>
        </p:grpSpPr>
        <p:sp>
          <p:nvSpPr>
            <p:cNvPr id="18760" name="Freeform 141"/>
            <p:cNvSpPr>
              <a:spLocks noChangeAspect="1"/>
            </p:cNvSpPr>
            <p:nvPr/>
          </p:nvSpPr>
          <p:spPr bwMode="auto">
            <a:xfrm>
              <a:off x="878" y="3093"/>
              <a:ext cx="156" cy="107"/>
            </a:xfrm>
            <a:custGeom>
              <a:avLst/>
              <a:gdLst>
                <a:gd name="T0" fmla="*/ 146 w 156"/>
                <a:gd name="T1" fmla="*/ 39 h 107"/>
                <a:gd name="T2" fmla="*/ 136 w 156"/>
                <a:gd name="T3" fmla="*/ 39 h 107"/>
                <a:gd name="T4" fmla="*/ 136 w 156"/>
                <a:gd name="T5" fmla="*/ 39 h 107"/>
                <a:gd name="T6" fmla="*/ 136 w 156"/>
                <a:gd name="T7" fmla="*/ 29 h 107"/>
                <a:gd name="T8" fmla="*/ 127 w 156"/>
                <a:gd name="T9" fmla="*/ 29 h 107"/>
                <a:gd name="T10" fmla="*/ 117 w 156"/>
                <a:gd name="T11" fmla="*/ 39 h 107"/>
                <a:gd name="T12" fmla="*/ 107 w 156"/>
                <a:gd name="T13" fmla="*/ 39 h 107"/>
                <a:gd name="T14" fmla="*/ 117 w 156"/>
                <a:gd name="T15" fmla="*/ 58 h 107"/>
                <a:gd name="T16" fmla="*/ 107 w 156"/>
                <a:gd name="T17" fmla="*/ 58 h 107"/>
                <a:gd name="T18" fmla="*/ 107 w 156"/>
                <a:gd name="T19" fmla="*/ 78 h 107"/>
                <a:gd name="T20" fmla="*/ 97 w 156"/>
                <a:gd name="T21" fmla="*/ 97 h 107"/>
                <a:gd name="T22" fmla="*/ 88 w 156"/>
                <a:gd name="T23" fmla="*/ 107 h 107"/>
                <a:gd name="T24" fmla="*/ 68 w 156"/>
                <a:gd name="T25" fmla="*/ 97 h 107"/>
                <a:gd name="T26" fmla="*/ 49 w 156"/>
                <a:gd name="T27" fmla="*/ 97 h 107"/>
                <a:gd name="T28" fmla="*/ 39 w 156"/>
                <a:gd name="T29" fmla="*/ 88 h 107"/>
                <a:gd name="T30" fmla="*/ 29 w 156"/>
                <a:gd name="T31" fmla="*/ 78 h 107"/>
                <a:gd name="T32" fmla="*/ 19 w 156"/>
                <a:gd name="T33" fmla="*/ 88 h 107"/>
                <a:gd name="T34" fmla="*/ 0 w 156"/>
                <a:gd name="T35" fmla="*/ 78 h 107"/>
                <a:gd name="T36" fmla="*/ 0 w 156"/>
                <a:gd name="T37" fmla="*/ 58 h 107"/>
                <a:gd name="T38" fmla="*/ 10 w 156"/>
                <a:gd name="T39" fmla="*/ 49 h 107"/>
                <a:gd name="T40" fmla="*/ 10 w 156"/>
                <a:gd name="T41" fmla="*/ 29 h 107"/>
                <a:gd name="T42" fmla="*/ 0 w 156"/>
                <a:gd name="T43" fmla="*/ 19 h 107"/>
                <a:gd name="T44" fmla="*/ 19 w 156"/>
                <a:gd name="T45" fmla="*/ 19 h 107"/>
                <a:gd name="T46" fmla="*/ 39 w 156"/>
                <a:gd name="T47" fmla="*/ 19 h 107"/>
                <a:gd name="T48" fmla="*/ 58 w 156"/>
                <a:gd name="T49" fmla="*/ 19 h 107"/>
                <a:gd name="T50" fmla="*/ 68 w 156"/>
                <a:gd name="T51" fmla="*/ 19 h 107"/>
                <a:gd name="T52" fmla="*/ 88 w 156"/>
                <a:gd name="T53" fmla="*/ 29 h 107"/>
                <a:gd name="T54" fmla="*/ 107 w 156"/>
                <a:gd name="T55" fmla="*/ 19 h 107"/>
                <a:gd name="T56" fmla="*/ 117 w 156"/>
                <a:gd name="T57" fmla="*/ 19 h 107"/>
                <a:gd name="T58" fmla="*/ 136 w 156"/>
                <a:gd name="T59" fmla="*/ 0 h 107"/>
                <a:gd name="T60" fmla="*/ 156 w 156"/>
                <a:gd name="T61" fmla="*/ 10 h 107"/>
                <a:gd name="T62" fmla="*/ 146 w 156"/>
                <a:gd name="T63" fmla="*/ 19 h 107"/>
                <a:gd name="T64" fmla="*/ 146 w 156"/>
                <a:gd name="T65" fmla="*/ 39 h 10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56"/>
                <a:gd name="T100" fmla="*/ 0 h 107"/>
                <a:gd name="T101" fmla="*/ 156 w 156"/>
                <a:gd name="T102" fmla="*/ 107 h 10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56" h="107">
                  <a:moveTo>
                    <a:pt x="146" y="39"/>
                  </a:moveTo>
                  <a:lnTo>
                    <a:pt x="136" y="39"/>
                  </a:lnTo>
                  <a:lnTo>
                    <a:pt x="136" y="29"/>
                  </a:lnTo>
                  <a:lnTo>
                    <a:pt x="127" y="29"/>
                  </a:lnTo>
                  <a:lnTo>
                    <a:pt x="117" y="39"/>
                  </a:lnTo>
                  <a:lnTo>
                    <a:pt x="107" y="39"/>
                  </a:lnTo>
                  <a:lnTo>
                    <a:pt x="117" y="58"/>
                  </a:lnTo>
                  <a:lnTo>
                    <a:pt x="107" y="58"/>
                  </a:lnTo>
                  <a:lnTo>
                    <a:pt x="107" y="78"/>
                  </a:lnTo>
                  <a:lnTo>
                    <a:pt x="97" y="97"/>
                  </a:lnTo>
                  <a:lnTo>
                    <a:pt x="88" y="107"/>
                  </a:lnTo>
                  <a:lnTo>
                    <a:pt x="68" y="97"/>
                  </a:lnTo>
                  <a:lnTo>
                    <a:pt x="49" y="97"/>
                  </a:lnTo>
                  <a:lnTo>
                    <a:pt x="39" y="88"/>
                  </a:lnTo>
                  <a:lnTo>
                    <a:pt x="29" y="78"/>
                  </a:lnTo>
                  <a:lnTo>
                    <a:pt x="19" y="88"/>
                  </a:lnTo>
                  <a:lnTo>
                    <a:pt x="0" y="78"/>
                  </a:lnTo>
                  <a:lnTo>
                    <a:pt x="0" y="58"/>
                  </a:lnTo>
                  <a:lnTo>
                    <a:pt x="10" y="49"/>
                  </a:lnTo>
                  <a:lnTo>
                    <a:pt x="10" y="29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9" y="19"/>
                  </a:lnTo>
                  <a:lnTo>
                    <a:pt x="58" y="19"/>
                  </a:lnTo>
                  <a:lnTo>
                    <a:pt x="68" y="19"/>
                  </a:lnTo>
                  <a:lnTo>
                    <a:pt x="88" y="29"/>
                  </a:lnTo>
                  <a:lnTo>
                    <a:pt x="107" y="19"/>
                  </a:lnTo>
                  <a:lnTo>
                    <a:pt x="117" y="19"/>
                  </a:lnTo>
                  <a:lnTo>
                    <a:pt x="136" y="0"/>
                  </a:lnTo>
                  <a:lnTo>
                    <a:pt x="156" y="10"/>
                  </a:lnTo>
                  <a:lnTo>
                    <a:pt x="146" y="19"/>
                  </a:lnTo>
                  <a:lnTo>
                    <a:pt x="146" y="39"/>
                  </a:lnTo>
                  <a:close/>
                </a:path>
              </a:pathLst>
            </a:custGeom>
            <a:solidFill>
              <a:srgbClr val="548DD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29" name="Freeform 140"/>
            <p:cNvSpPr>
              <a:spLocks/>
            </p:cNvSpPr>
            <p:nvPr/>
          </p:nvSpPr>
          <p:spPr bwMode="auto">
            <a:xfrm>
              <a:off x="878" y="3093"/>
              <a:ext cx="156" cy="107"/>
            </a:xfrm>
            <a:custGeom>
              <a:avLst/>
              <a:gdLst/>
              <a:ahLst/>
              <a:cxnLst>
                <a:cxn ang="0">
                  <a:pos x="146" y="39"/>
                </a:cxn>
                <a:cxn ang="0">
                  <a:pos x="136" y="39"/>
                </a:cxn>
                <a:cxn ang="0">
                  <a:pos x="136" y="39"/>
                </a:cxn>
                <a:cxn ang="0">
                  <a:pos x="136" y="29"/>
                </a:cxn>
                <a:cxn ang="0">
                  <a:pos x="127" y="29"/>
                </a:cxn>
                <a:cxn ang="0">
                  <a:pos x="117" y="39"/>
                </a:cxn>
                <a:cxn ang="0">
                  <a:pos x="107" y="39"/>
                </a:cxn>
                <a:cxn ang="0">
                  <a:pos x="117" y="58"/>
                </a:cxn>
                <a:cxn ang="0">
                  <a:pos x="107" y="58"/>
                </a:cxn>
                <a:cxn ang="0">
                  <a:pos x="107" y="78"/>
                </a:cxn>
                <a:cxn ang="0">
                  <a:pos x="97" y="97"/>
                </a:cxn>
                <a:cxn ang="0">
                  <a:pos x="88" y="107"/>
                </a:cxn>
                <a:cxn ang="0">
                  <a:pos x="68" y="97"/>
                </a:cxn>
                <a:cxn ang="0">
                  <a:pos x="49" y="97"/>
                </a:cxn>
                <a:cxn ang="0">
                  <a:pos x="39" y="88"/>
                </a:cxn>
                <a:cxn ang="0">
                  <a:pos x="29" y="78"/>
                </a:cxn>
                <a:cxn ang="0">
                  <a:pos x="19" y="88"/>
                </a:cxn>
                <a:cxn ang="0">
                  <a:pos x="0" y="78"/>
                </a:cxn>
                <a:cxn ang="0">
                  <a:pos x="0" y="58"/>
                </a:cxn>
                <a:cxn ang="0">
                  <a:pos x="10" y="49"/>
                </a:cxn>
                <a:cxn ang="0">
                  <a:pos x="10" y="29"/>
                </a:cxn>
                <a:cxn ang="0">
                  <a:pos x="0" y="19"/>
                </a:cxn>
                <a:cxn ang="0">
                  <a:pos x="19" y="19"/>
                </a:cxn>
                <a:cxn ang="0">
                  <a:pos x="39" y="19"/>
                </a:cxn>
                <a:cxn ang="0">
                  <a:pos x="58" y="19"/>
                </a:cxn>
                <a:cxn ang="0">
                  <a:pos x="68" y="19"/>
                </a:cxn>
                <a:cxn ang="0">
                  <a:pos x="88" y="29"/>
                </a:cxn>
                <a:cxn ang="0">
                  <a:pos x="107" y="19"/>
                </a:cxn>
                <a:cxn ang="0">
                  <a:pos x="117" y="19"/>
                </a:cxn>
                <a:cxn ang="0">
                  <a:pos x="136" y="0"/>
                </a:cxn>
                <a:cxn ang="0">
                  <a:pos x="156" y="10"/>
                </a:cxn>
                <a:cxn ang="0">
                  <a:pos x="146" y="19"/>
                </a:cxn>
              </a:cxnLst>
              <a:rect l="0" t="0" r="r" b="b"/>
              <a:pathLst>
                <a:path w="156" h="107">
                  <a:moveTo>
                    <a:pt x="146" y="39"/>
                  </a:moveTo>
                  <a:lnTo>
                    <a:pt x="136" y="39"/>
                  </a:lnTo>
                  <a:lnTo>
                    <a:pt x="136" y="29"/>
                  </a:lnTo>
                  <a:lnTo>
                    <a:pt x="127" y="29"/>
                  </a:lnTo>
                  <a:lnTo>
                    <a:pt x="117" y="39"/>
                  </a:lnTo>
                  <a:lnTo>
                    <a:pt x="107" y="39"/>
                  </a:lnTo>
                  <a:lnTo>
                    <a:pt x="117" y="58"/>
                  </a:lnTo>
                  <a:lnTo>
                    <a:pt x="107" y="58"/>
                  </a:lnTo>
                  <a:lnTo>
                    <a:pt x="107" y="78"/>
                  </a:lnTo>
                  <a:lnTo>
                    <a:pt x="97" y="97"/>
                  </a:lnTo>
                  <a:lnTo>
                    <a:pt x="88" y="107"/>
                  </a:lnTo>
                  <a:lnTo>
                    <a:pt x="68" y="97"/>
                  </a:lnTo>
                  <a:lnTo>
                    <a:pt x="49" y="97"/>
                  </a:lnTo>
                  <a:lnTo>
                    <a:pt x="39" y="88"/>
                  </a:lnTo>
                  <a:lnTo>
                    <a:pt x="29" y="78"/>
                  </a:lnTo>
                  <a:lnTo>
                    <a:pt x="19" y="88"/>
                  </a:lnTo>
                  <a:lnTo>
                    <a:pt x="0" y="78"/>
                  </a:lnTo>
                  <a:lnTo>
                    <a:pt x="0" y="58"/>
                  </a:lnTo>
                  <a:lnTo>
                    <a:pt x="10" y="49"/>
                  </a:lnTo>
                  <a:lnTo>
                    <a:pt x="10" y="29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9" y="19"/>
                  </a:lnTo>
                  <a:lnTo>
                    <a:pt x="58" y="19"/>
                  </a:lnTo>
                  <a:lnTo>
                    <a:pt x="68" y="19"/>
                  </a:lnTo>
                  <a:lnTo>
                    <a:pt x="88" y="29"/>
                  </a:lnTo>
                  <a:lnTo>
                    <a:pt x="107" y="19"/>
                  </a:lnTo>
                  <a:lnTo>
                    <a:pt x="117" y="19"/>
                  </a:lnTo>
                  <a:lnTo>
                    <a:pt x="136" y="0"/>
                  </a:lnTo>
                  <a:lnTo>
                    <a:pt x="156" y="10"/>
                  </a:lnTo>
                  <a:lnTo>
                    <a:pt x="146" y="19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US" sz="1100">
                <a:latin typeface="Polo" pitchFamily="2" charset="0"/>
                <a:cs typeface="+mn-cs"/>
              </a:endParaRPr>
            </a:p>
          </p:txBody>
        </p:sp>
      </p:grpSp>
      <p:sp>
        <p:nvSpPr>
          <p:cNvPr id="18606" name="Freeform 138"/>
          <p:cNvSpPr>
            <a:spLocks noChangeAspect="1"/>
          </p:cNvSpPr>
          <p:nvPr>
            <p:custDataLst>
              <p:tags r:id="rId172"/>
            </p:custDataLst>
          </p:nvPr>
        </p:nvSpPr>
        <p:spPr bwMode="auto">
          <a:xfrm>
            <a:off x="2279650" y="4791075"/>
            <a:ext cx="65088" cy="73025"/>
          </a:xfrm>
          <a:custGeom>
            <a:avLst/>
            <a:gdLst>
              <a:gd name="T0" fmla="*/ 19925 w 98"/>
              <a:gd name="T1" fmla="*/ 73025 h 117"/>
              <a:gd name="T2" fmla="*/ 39186 w 98"/>
              <a:gd name="T3" fmla="*/ 66784 h 117"/>
              <a:gd name="T4" fmla="*/ 51805 w 98"/>
              <a:gd name="T5" fmla="*/ 48683 h 117"/>
              <a:gd name="T6" fmla="*/ 65088 w 98"/>
              <a:gd name="T7" fmla="*/ 30583 h 117"/>
              <a:gd name="T8" fmla="*/ 65088 w 98"/>
              <a:gd name="T9" fmla="*/ 12483 h 117"/>
              <a:gd name="T10" fmla="*/ 58446 w 98"/>
              <a:gd name="T11" fmla="*/ 0 h 117"/>
              <a:gd name="T12" fmla="*/ 58446 w 98"/>
              <a:gd name="T13" fmla="*/ 6241 h 117"/>
              <a:gd name="T14" fmla="*/ 51805 w 98"/>
              <a:gd name="T15" fmla="*/ 6241 h 117"/>
              <a:gd name="T16" fmla="*/ 51805 w 98"/>
              <a:gd name="T17" fmla="*/ 0 h 117"/>
              <a:gd name="T18" fmla="*/ 45827 w 98"/>
              <a:gd name="T19" fmla="*/ 0 h 117"/>
              <a:gd name="T20" fmla="*/ 39186 w 98"/>
              <a:gd name="T21" fmla="*/ 0 h 117"/>
              <a:gd name="T22" fmla="*/ 32544 w 98"/>
              <a:gd name="T23" fmla="*/ 6241 h 117"/>
              <a:gd name="T24" fmla="*/ 39186 w 98"/>
              <a:gd name="T25" fmla="*/ 12483 h 117"/>
              <a:gd name="T26" fmla="*/ 32544 w 98"/>
              <a:gd name="T27" fmla="*/ 18100 h 117"/>
              <a:gd name="T28" fmla="*/ 32544 w 98"/>
              <a:gd name="T29" fmla="*/ 30583 h 117"/>
              <a:gd name="T30" fmla="*/ 25902 w 98"/>
              <a:gd name="T31" fmla="*/ 42442 h 117"/>
              <a:gd name="T32" fmla="*/ 19925 w 98"/>
              <a:gd name="T33" fmla="*/ 48683 h 117"/>
              <a:gd name="T34" fmla="*/ 6642 w 98"/>
              <a:gd name="T35" fmla="*/ 42442 h 117"/>
              <a:gd name="T36" fmla="*/ 0 w 98"/>
              <a:gd name="T37" fmla="*/ 48683 h 117"/>
              <a:gd name="T38" fmla="*/ 6642 w 98"/>
              <a:gd name="T39" fmla="*/ 54925 h 117"/>
              <a:gd name="T40" fmla="*/ 19925 w 98"/>
              <a:gd name="T41" fmla="*/ 66784 h 117"/>
              <a:gd name="T42" fmla="*/ 19925 w 98"/>
              <a:gd name="T43" fmla="*/ 73025 h 117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98"/>
              <a:gd name="T67" fmla="*/ 0 h 117"/>
              <a:gd name="T68" fmla="*/ 98 w 98"/>
              <a:gd name="T69" fmla="*/ 117 h 117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98" h="117">
                <a:moveTo>
                  <a:pt x="30" y="117"/>
                </a:moveTo>
                <a:lnTo>
                  <a:pt x="59" y="107"/>
                </a:lnTo>
                <a:lnTo>
                  <a:pt x="78" y="78"/>
                </a:lnTo>
                <a:lnTo>
                  <a:pt x="98" y="49"/>
                </a:lnTo>
                <a:lnTo>
                  <a:pt x="98" y="20"/>
                </a:lnTo>
                <a:lnTo>
                  <a:pt x="88" y="0"/>
                </a:lnTo>
                <a:lnTo>
                  <a:pt x="88" y="10"/>
                </a:lnTo>
                <a:lnTo>
                  <a:pt x="78" y="10"/>
                </a:lnTo>
                <a:lnTo>
                  <a:pt x="78" y="0"/>
                </a:lnTo>
                <a:lnTo>
                  <a:pt x="69" y="0"/>
                </a:lnTo>
                <a:lnTo>
                  <a:pt x="59" y="0"/>
                </a:lnTo>
                <a:lnTo>
                  <a:pt x="49" y="10"/>
                </a:lnTo>
                <a:lnTo>
                  <a:pt x="59" y="20"/>
                </a:lnTo>
                <a:lnTo>
                  <a:pt x="49" y="29"/>
                </a:lnTo>
                <a:lnTo>
                  <a:pt x="49" y="49"/>
                </a:lnTo>
                <a:lnTo>
                  <a:pt x="39" y="68"/>
                </a:lnTo>
                <a:lnTo>
                  <a:pt x="30" y="78"/>
                </a:lnTo>
                <a:lnTo>
                  <a:pt x="10" y="68"/>
                </a:lnTo>
                <a:lnTo>
                  <a:pt x="0" y="78"/>
                </a:lnTo>
                <a:lnTo>
                  <a:pt x="10" y="88"/>
                </a:lnTo>
                <a:lnTo>
                  <a:pt x="30" y="107"/>
                </a:lnTo>
                <a:lnTo>
                  <a:pt x="30" y="117"/>
                </a:lnTo>
                <a:close/>
              </a:path>
            </a:pathLst>
          </a:custGeom>
          <a:solidFill>
            <a:srgbClr val="CCECFF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grpSp>
        <p:nvGrpSpPr>
          <p:cNvPr id="18607" name="Group 135"/>
          <p:cNvGrpSpPr>
            <a:grpSpLocks noChangeAspect="1"/>
          </p:cNvGrpSpPr>
          <p:nvPr>
            <p:custDataLst>
              <p:tags r:id="rId173"/>
            </p:custDataLst>
          </p:nvPr>
        </p:nvGrpSpPr>
        <p:grpSpPr bwMode="auto">
          <a:xfrm>
            <a:off x="2279650" y="4791075"/>
            <a:ext cx="65088" cy="73025"/>
            <a:chOff x="936" y="3122"/>
            <a:chExt cx="98" cy="117"/>
          </a:xfrm>
        </p:grpSpPr>
        <p:sp>
          <p:nvSpPr>
            <p:cNvPr id="18758" name="Freeform 137"/>
            <p:cNvSpPr>
              <a:spLocks noChangeAspect="1"/>
            </p:cNvSpPr>
            <p:nvPr/>
          </p:nvSpPr>
          <p:spPr bwMode="auto">
            <a:xfrm>
              <a:off x="936" y="3122"/>
              <a:ext cx="98" cy="117"/>
            </a:xfrm>
            <a:custGeom>
              <a:avLst/>
              <a:gdLst>
                <a:gd name="T0" fmla="*/ 30 w 98"/>
                <a:gd name="T1" fmla="*/ 117 h 117"/>
                <a:gd name="T2" fmla="*/ 59 w 98"/>
                <a:gd name="T3" fmla="*/ 107 h 117"/>
                <a:gd name="T4" fmla="*/ 78 w 98"/>
                <a:gd name="T5" fmla="*/ 78 h 117"/>
                <a:gd name="T6" fmla="*/ 98 w 98"/>
                <a:gd name="T7" fmla="*/ 49 h 117"/>
                <a:gd name="T8" fmla="*/ 98 w 98"/>
                <a:gd name="T9" fmla="*/ 20 h 117"/>
                <a:gd name="T10" fmla="*/ 88 w 98"/>
                <a:gd name="T11" fmla="*/ 0 h 117"/>
                <a:gd name="T12" fmla="*/ 88 w 98"/>
                <a:gd name="T13" fmla="*/ 10 h 117"/>
                <a:gd name="T14" fmla="*/ 78 w 98"/>
                <a:gd name="T15" fmla="*/ 10 h 117"/>
                <a:gd name="T16" fmla="*/ 78 w 98"/>
                <a:gd name="T17" fmla="*/ 0 h 117"/>
                <a:gd name="T18" fmla="*/ 69 w 98"/>
                <a:gd name="T19" fmla="*/ 0 h 117"/>
                <a:gd name="T20" fmla="*/ 59 w 98"/>
                <a:gd name="T21" fmla="*/ 0 h 117"/>
                <a:gd name="T22" fmla="*/ 49 w 98"/>
                <a:gd name="T23" fmla="*/ 10 h 117"/>
                <a:gd name="T24" fmla="*/ 59 w 98"/>
                <a:gd name="T25" fmla="*/ 20 h 117"/>
                <a:gd name="T26" fmla="*/ 49 w 98"/>
                <a:gd name="T27" fmla="*/ 29 h 117"/>
                <a:gd name="T28" fmla="*/ 49 w 98"/>
                <a:gd name="T29" fmla="*/ 49 h 117"/>
                <a:gd name="T30" fmla="*/ 49 w 98"/>
                <a:gd name="T31" fmla="*/ 68 h 117"/>
                <a:gd name="T32" fmla="*/ 30 w 98"/>
                <a:gd name="T33" fmla="*/ 78 h 117"/>
                <a:gd name="T34" fmla="*/ 10 w 98"/>
                <a:gd name="T35" fmla="*/ 68 h 117"/>
                <a:gd name="T36" fmla="*/ 0 w 98"/>
                <a:gd name="T37" fmla="*/ 78 h 117"/>
                <a:gd name="T38" fmla="*/ 10 w 98"/>
                <a:gd name="T39" fmla="*/ 88 h 117"/>
                <a:gd name="T40" fmla="*/ 30 w 98"/>
                <a:gd name="T41" fmla="*/ 98 h 117"/>
                <a:gd name="T42" fmla="*/ 30 w 98"/>
                <a:gd name="T43" fmla="*/ 117 h 117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98"/>
                <a:gd name="T67" fmla="*/ 0 h 117"/>
                <a:gd name="T68" fmla="*/ 98 w 98"/>
                <a:gd name="T69" fmla="*/ 117 h 117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98" h="117">
                  <a:moveTo>
                    <a:pt x="30" y="117"/>
                  </a:moveTo>
                  <a:lnTo>
                    <a:pt x="59" y="107"/>
                  </a:lnTo>
                  <a:lnTo>
                    <a:pt x="78" y="78"/>
                  </a:lnTo>
                  <a:lnTo>
                    <a:pt x="98" y="49"/>
                  </a:lnTo>
                  <a:lnTo>
                    <a:pt x="98" y="20"/>
                  </a:lnTo>
                  <a:lnTo>
                    <a:pt x="88" y="0"/>
                  </a:lnTo>
                  <a:lnTo>
                    <a:pt x="88" y="10"/>
                  </a:lnTo>
                  <a:lnTo>
                    <a:pt x="78" y="10"/>
                  </a:lnTo>
                  <a:lnTo>
                    <a:pt x="78" y="0"/>
                  </a:lnTo>
                  <a:lnTo>
                    <a:pt x="69" y="0"/>
                  </a:lnTo>
                  <a:lnTo>
                    <a:pt x="59" y="0"/>
                  </a:lnTo>
                  <a:lnTo>
                    <a:pt x="49" y="10"/>
                  </a:lnTo>
                  <a:lnTo>
                    <a:pt x="59" y="20"/>
                  </a:lnTo>
                  <a:lnTo>
                    <a:pt x="49" y="29"/>
                  </a:lnTo>
                  <a:lnTo>
                    <a:pt x="49" y="49"/>
                  </a:lnTo>
                  <a:lnTo>
                    <a:pt x="49" y="68"/>
                  </a:lnTo>
                  <a:lnTo>
                    <a:pt x="30" y="78"/>
                  </a:lnTo>
                  <a:lnTo>
                    <a:pt x="10" y="68"/>
                  </a:lnTo>
                  <a:lnTo>
                    <a:pt x="0" y="78"/>
                  </a:lnTo>
                  <a:lnTo>
                    <a:pt x="10" y="88"/>
                  </a:lnTo>
                  <a:lnTo>
                    <a:pt x="30" y="98"/>
                  </a:lnTo>
                  <a:lnTo>
                    <a:pt x="30" y="117"/>
                  </a:lnTo>
                  <a:close/>
                </a:path>
              </a:pathLst>
            </a:custGeom>
            <a:solidFill>
              <a:srgbClr val="E4481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33" name="Freeform 136"/>
            <p:cNvSpPr>
              <a:spLocks/>
            </p:cNvSpPr>
            <p:nvPr/>
          </p:nvSpPr>
          <p:spPr bwMode="auto">
            <a:xfrm>
              <a:off x="934" y="3122"/>
              <a:ext cx="98" cy="117"/>
            </a:xfrm>
            <a:custGeom>
              <a:avLst/>
              <a:gdLst/>
              <a:ahLst/>
              <a:cxnLst>
                <a:cxn ang="0">
                  <a:pos x="30" y="117"/>
                </a:cxn>
                <a:cxn ang="0">
                  <a:pos x="59" y="107"/>
                </a:cxn>
                <a:cxn ang="0">
                  <a:pos x="78" y="78"/>
                </a:cxn>
                <a:cxn ang="0">
                  <a:pos x="98" y="49"/>
                </a:cxn>
                <a:cxn ang="0">
                  <a:pos x="98" y="20"/>
                </a:cxn>
                <a:cxn ang="0">
                  <a:pos x="88" y="0"/>
                </a:cxn>
                <a:cxn ang="0">
                  <a:pos x="88" y="10"/>
                </a:cxn>
                <a:cxn ang="0">
                  <a:pos x="78" y="10"/>
                </a:cxn>
                <a:cxn ang="0">
                  <a:pos x="78" y="0"/>
                </a:cxn>
                <a:cxn ang="0">
                  <a:pos x="69" y="0"/>
                </a:cxn>
                <a:cxn ang="0">
                  <a:pos x="59" y="0"/>
                </a:cxn>
                <a:cxn ang="0">
                  <a:pos x="49" y="10"/>
                </a:cxn>
                <a:cxn ang="0">
                  <a:pos x="59" y="20"/>
                </a:cxn>
                <a:cxn ang="0">
                  <a:pos x="49" y="29"/>
                </a:cxn>
                <a:cxn ang="0">
                  <a:pos x="49" y="49"/>
                </a:cxn>
                <a:cxn ang="0">
                  <a:pos x="49" y="68"/>
                </a:cxn>
                <a:cxn ang="0">
                  <a:pos x="30" y="78"/>
                </a:cxn>
                <a:cxn ang="0">
                  <a:pos x="10" y="68"/>
                </a:cxn>
                <a:cxn ang="0">
                  <a:pos x="0" y="78"/>
                </a:cxn>
                <a:cxn ang="0">
                  <a:pos x="10" y="88"/>
                </a:cxn>
                <a:cxn ang="0">
                  <a:pos x="30" y="98"/>
                </a:cxn>
                <a:cxn ang="0">
                  <a:pos x="30" y="117"/>
                </a:cxn>
              </a:cxnLst>
              <a:rect l="0" t="0" r="r" b="b"/>
              <a:pathLst>
                <a:path w="98" h="117">
                  <a:moveTo>
                    <a:pt x="30" y="117"/>
                  </a:moveTo>
                  <a:lnTo>
                    <a:pt x="59" y="107"/>
                  </a:lnTo>
                  <a:lnTo>
                    <a:pt x="78" y="78"/>
                  </a:lnTo>
                  <a:lnTo>
                    <a:pt x="98" y="49"/>
                  </a:lnTo>
                  <a:lnTo>
                    <a:pt x="98" y="20"/>
                  </a:lnTo>
                  <a:lnTo>
                    <a:pt x="88" y="0"/>
                  </a:lnTo>
                  <a:lnTo>
                    <a:pt x="88" y="10"/>
                  </a:lnTo>
                  <a:lnTo>
                    <a:pt x="78" y="10"/>
                  </a:lnTo>
                  <a:lnTo>
                    <a:pt x="78" y="0"/>
                  </a:lnTo>
                  <a:lnTo>
                    <a:pt x="69" y="0"/>
                  </a:lnTo>
                  <a:lnTo>
                    <a:pt x="59" y="0"/>
                  </a:lnTo>
                  <a:lnTo>
                    <a:pt x="49" y="10"/>
                  </a:lnTo>
                  <a:lnTo>
                    <a:pt x="59" y="20"/>
                  </a:lnTo>
                  <a:lnTo>
                    <a:pt x="49" y="29"/>
                  </a:lnTo>
                  <a:lnTo>
                    <a:pt x="49" y="49"/>
                  </a:lnTo>
                  <a:lnTo>
                    <a:pt x="49" y="68"/>
                  </a:lnTo>
                  <a:lnTo>
                    <a:pt x="30" y="78"/>
                  </a:lnTo>
                  <a:lnTo>
                    <a:pt x="10" y="68"/>
                  </a:lnTo>
                  <a:lnTo>
                    <a:pt x="0" y="78"/>
                  </a:lnTo>
                  <a:lnTo>
                    <a:pt x="10" y="88"/>
                  </a:lnTo>
                  <a:lnTo>
                    <a:pt x="30" y="98"/>
                  </a:lnTo>
                  <a:lnTo>
                    <a:pt x="30" y="117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US" sz="1100">
                <a:latin typeface="Polo" pitchFamily="2" charset="0"/>
                <a:cs typeface="+mn-cs"/>
              </a:endParaRPr>
            </a:p>
          </p:txBody>
        </p:sp>
      </p:grpSp>
      <p:sp>
        <p:nvSpPr>
          <p:cNvPr id="18608" name="Freeform 134"/>
          <p:cNvSpPr>
            <a:spLocks noChangeAspect="1"/>
          </p:cNvSpPr>
          <p:nvPr>
            <p:custDataLst>
              <p:tags r:id="rId174"/>
            </p:custDataLst>
          </p:nvPr>
        </p:nvSpPr>
        <p:spPr bwMode="auto">
          <a:xfrm>
            <a:off x="2300288" y="4791075"/>
            <a:ext cx="115887" cy="109538"/>
          </a:xfrm>
          <a:custGeom>
            <a:avLst/>
            <a:gdLst>
              <a:gd name="T0" fmla="*/ 45030 w 175"/>
              <a:gd name="T1" fmla="*/ 12447 h 176"/>
              <a:gd name="T2" fmla="*/ 45030 w 175"/>
              <a:gd name="T3" fmla="*/ 30496 h 176"/>
              <a:gd name="T4" fmla="*/ 31786 w 175"/>
              <a:gd name="T5" fmla="*/ 48545 h 176"/>
              <a:gd name="T6" fmla="*/ 19204 w 175"/>
              <a:gd name="T7" fmla="*/ 66594 h 176"/>
              <a:gd name="T8" fmla="*/ 0 w 175"/>
              <a:gd name="T9" fmla="*/ 72817 h 176"/>
              <a:gd name="T10" fmla="*/ 0 w 175"/>
              <a:gd name="T11" fmla="*/ 85265 h 176"/>
              <a:gd name="T12" fmla="*/ 12582 w 175"/>
              <a:gd name="T13" fmla="*/ 97090 h 176"/>
              <a:gd name="T14" fmla="*/ 25826 w 175"/>
              <a:gd name="T15" fmla="*/ 103313 h 176"/>
              <a:gd name="T16" fmla="*/ 38408 w 175"/>
              <a:gd name="T17" fmla="*/ 97090 h 176"/>
              <a:gd name="T18" fmla="*/ 45030 w 175"/>
              <a:gd name="T19" fmla="*/ 91488 h 176"/>
              <a:gd name="T20" fmla="*/ 45030 w 175"/>
              <a:gd name="T21" fmla="*/ 97090 h 176"/>
              <a:gd name="T22" fmla="*/ 51652 w 175"/>
              <a:gd name="T23" fmla="*/ 109537 h 176"/>
              <a:gd name="T24" fmla="*/ 57612 w 175"/>
              <a:gd name="T25" fmla="*/ 109537 h 176"/>
              <a:gd name="T26" fmla="*/ 64235 w 175"/>
              <a:gd name="T27" fmla="*/ 103313 h 176"/>
              <a:gd name="T28" fmla="*/ 77479 w 175"/>
              <a:gd name="T29" fmla="*/ 97090 h 176"/>
              <a:gd name="T30" fmla="*/ 70857 w 175"/>
              <a:gd name="T31" fmla="*/ 85265 h 176"/>
              <a:gd name="T32" fmla="*/ 77479 w 175"/>
              <a:gd name="T33" fmla="*/ 79041 h 176"/>
              <a:gd name="T34" fmla="*/ 77479 w 175"/>
              <a:gd name="T35" fmla="*/ 72817 h 176"/>
              <a:gd name="T36" fmla="*/ 83439 w 175"/>
              <a:gd name="T37" fmla="*/ 79041 h 176"/>
              <a:gd name="T38" fmla="*/ 103305 w 175"/>
              <a:gd name="T39" fmla="*/ 72817 h 176"/>
              <a:gd name="T40" fmla="*/ 109265 w 175"/>
              <a:gd name="T41" fmla="*/ 72817 h 176"/>
              <a:gd name="T42" fmla="*/ 115887 w 175"/>
              <a:gd name="T43" fmla="*/ 66594 h 176"/>
              <a:gd name="T44" fmla="*/ 115887 w 175"/>
              <a:gd name="T45" fmla="*/ 54769 h 176"/>
              <a:gd name="T46" fmla="*/ 109265 w 175"/>
              <a:gd name="T47" fmla="*/ 54769 h 176"/>
              <a:gd name="T48" fmla="*/ 96683 w 175"/>
              <a:gd name="T49" fmla="*/ 54769 h 176"/>
              <a:gd name="T50" fmla="*/ 90061 w 175"/>
              <a:gd name="T51" fmla="*/ 48545 h 176"/>
              <a:gd name="T52" fmla="*/ 96683 w 175"/>
              <a:gd name="T53" fmla="*/ 36720 h 176"/>
              <a:gd name="T54" fmla="*/ 96683 w 175"/>
              <a:gd name="T55" fmla="*/ 30496 h 176"/>
              <a:gd name="T56" fmla="*/ 83439 w 175"/>
              <a:gd name="T57" fmla="*/ 30496 h 176"/>
              <a:gd name="T58" fmla="*/ 83439 w 175"/>
              <a:gd name="T59" fmla="*/ 24272 h 176"/>
              <a:gd name="T60" fmla="*/ 83439 w 175"/>
              <a:gd name="T61" fmla="*/ 18049 h 176"/>
              <a:gd name="T62" fmla="*/ 70857 w 175"/>
              <a:gd name="T63" fmla="*/ 24272 h 176"/>
              <a:gd name="T64" fmla="*/ 64235 w 175"/>
              <a:gd name="T65" fmla="*/ 18049 h 176"/>
              <a:gd name="T66" fmla="*/ 64235 w 175"/>
              <a:gd name="T67" fmla="*/ 6224 h 176"/>
              <a:gd name="T68" fmla="*/ 64235 w 175"/>
              <a:gd name="T69" fmla="*/ 0 h 176"/>
              <a:gd name="T70" fmla="*/ 45030 w 175"/>
              <a:gd name="T71" fmla="*/ 12447 h 17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175"/>
              <a:gd name="T109" fmla="*/ 0 h 176"/>
              <a:gd name="T110" fmla="*/ 175 w 175"/>
              <a:gd name="T111" fmla="*/ 176 h 17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175" h="176">
                <a:moveTo>
                  <a:pt x="68" y="20"/>
                </a:moveTo>
                <a:lnTo>
                  <a:pt x="68" y="49"/>
                </a:lnTo>
                <a:lnTo>
                  <a:pt x="48" y="78"/>
                </a:lnTo>
                <a:lnTo>
                  <a:pt x="29" y="107"/>
                </a:lnTo>
                <a:lnTo>
                  <a:pt x="0" y="117"/>
                </a:lnTo>
                <a:lnTo>
                  <a:pt x="0" y="137"/>
                </a:lnTo>
                <a:lnTo>
                  <a:pt x="19" y="156"/>
                </a:lnTo>
                <a:lnTo>
                  <a:pt x="39" y="166"/>
                </a:lnTo>
                <a:lnTo>
                  <a:pt x="58" y="156"/>
                </a:lnTo>
                <a:lnTo>
                  <a:pt x="68" y="147"/>
                </a:lnTo>
                <a:lnTo>
                  <a:pt x="68" y="156"/>
                </a:lnTo>
                <a:lnTo>
                  <a:pt x="78" y="176"/>
                </a:lnTo>
                <a:lnTo>
                  <a:pt x="87" y="176"/>
                </a:lnTo>
                <a:lnTo>
                  <a:pt x="97" y="166"/>
                </a:lnTo>
                <a:lnTo>
                  <a:pt x="117" y="156"/>
                </a:lnTo>
                <a:lnTo>
                  <a:pt x="107" y="137"/>
                </a:lnTo>
                <a:lnTo>
                  <a:pt x="117" y="127"/>
                </a:lnTo>
                <a:lnTo>
                  <a:pt x="117" y="117"/>
                </a:lnTo>
                <a:lnTo>
                  <a:pt x="126" y="127"/>
                </a:lnTo>
                <a:lnTo>
                  <a:pt x="156" y="117"/>
                </a:lnTo>
                <a:lnTo>
                  <a:pt x="165" y="117"/>
                </a:lnTo>
                <a:lnTo>
                  <a:pt x="175" y="107"/>
                </a:lnTo>
                <a:lnTo>
                  <a:pt x="175" y="88"/>
                </a:lnTo>
                <a:lnTo>
                  <a:pt x="165" y="88"/>
                </a:lnTo>
                <a:lnTo>
                  <a:pt x="146" y="88"/>
                </a:lnTo>
                <a:lnTo>
                  <a:pt x="136" y="78"/>
                </a:lnTo>
                <a:lnTo>
                  <a:pt x="146" y="59"/>
                </a:lnTo>
                <a:lnTo>
                  <a:pt x="146" y="49"/>
                </a:lnTo>
                <a:lnTo>
                  <a:pt x="126" y="49"/>
                </a:lnTo>
                <a:lnTo>
                  <a:pt x="126" y="39"/>
                </a:lnTo>
                <a:lnTo>
                  <a:pt x="126" y="29"/>
                </a:lnTo>
                <a:lnTo>
                  <a:pt x="107" y="39"/>
                </a:lnTo>
                <a:lnTo>
                  <a:pt x="97" y="29"/>
                </a:lnTo>
                <a:lnTo>
                  <a:pt x="97" y="10"/>
                </a:lnTo>
                <a:lnTo>
                  <a:pt x="97" y="0"/>
                </a:lnTo>
                <a:lnTo>
                  <a:pt x="68" y="20"/>
                </a:lnTo>
                <a:close/>
              </a:path>
            </a:pathLst>
          </a:custGeom>
          <a:solidFill>
            <a:srgbClr val="CCECFF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grpSp>
        <p:nvGrpSpPr>
          <p:cNvPr id="18609" name="Group 131"/>
          <p:cNvGrpSpPr>
            <a:grpSpLocks noChangeAspect="1"/>
          </p:cNvGrpSpPr>
          <p:nvPr>
            <p:custDataLst>
              <p:tags r:id="rId175"/>
            </p:custDataLst>
          </p:nvPr>
        </p:nvGrpSpPr>
        <p:grpSpPr bwMode="auto">
          <a:xfrm>
            <a:off x="2300288" y="4791075"/>
            <a:ext cx="115887" cy="109538"/>
            <a:chOff x="966" y="3122"/>
            <a:chExt cx="175" cy="176"/>
          </a:xfrm>
        </p:grpSpPr>
        <p:sp>
          <p:nvSpPr>
            <p:cNvPr id="18756" name="Freeform 133"/>
            <p:cNvSpPr>
              <a:spLocks noChangeAspect="1"/>
            </p:cNvSpPr>
            <p:nvPr/>
          </p:nvSpPr>
          <p:spPr bwMode="auto">
            <a:xfrm>
              <a:off x="966" y="3122"/>
              <a:ext cx="175" cy="176"/>
            </a:xfrm>
            <a:custGeom>
              <a:avLst/>
              <a:gdLst>
                <a:gd name="T0" fmla="*/ 68 w 175"/>
                <a:gd name="T1" fmla="*/ 20 h 176"/>
                <a:gd name="T2" fmla="*/ 68 w 175"/>
                <a:gd name="T3" fmla="*/ 49 h 176"/>
                <a:gd name="T4" fmla="*/ 48 w 175"/>
                <a:gd name="T5" fmla="*/ 78 h 176"/>
                <a:gd name="T6" fmla="*/ 29 w 175"/>
                <a:gd name="T7" fmla="*/ 107 h 176"/>
                <a:gd name="T8" fmla="*/ 0 w 175"/>
                <a:gd name="T9" fmla="*/ 117 h 176"/>
                <a:gd name="T10" fmla="*/ 0 w 175"/>
                <a:gd name="T11" fmla="*/ 137 h 176"/>
                <a:gd name="T12" fmla="*/ 19 w 175"/>
                <a:gd name="T13" fmla="*/ 156 h 176"/>
                <a:gd name="T14" fmla="*/ 39 w 175"/>
                <a:gd name="T15" fmla="*/ 156 h 176"/>
                <a:gd name="T16" fmla="*/ 58 w 175"/>
                <a:gd name="T17" fmla="*/ 156 h 176"/>
                <a:gd name="T18" fmla="*/ 68 w 175"/>
                <a:gd name="T19" fmla="*/ 147 h 176"/>
                <a:gd name="T20" fmla="*/ 68 w 175"/>
                <a:gd name="T21" fmla="*/ 156 h 176"/>
                <a:gd name="T22" fmla="*/ 78 w 175"/>
                <a:gd name="T23" fmla="*/ 176 h 176"/>
                <a:gd name="T24" fmla="*/ 87 w 175"/>
                <a:gd name="T25" fmla="*/ 176 h 176"/>
                <a:gd name="T26" fmla="*/ 97 w 175"/>
                <a:gd name="T27" fmla="*/ 156 h 176"/>
                <a:gd name="T28" fmla="*/ 117 w 175"/>
                <a:gd name="T29" fmla="*/ 156 h 176"/>
                <a:gd name="T30" fmla="*/ 107 w 175"/>
                <a:gd name="T31" fmla="*/ 137 h 176"/>
                <a:gd name="T32" fmla="*/ 117 w 175"/>
                <a:gd name="T33" fmla="*/ 127 h 176"/>
                <a:gd name="T34" fmla="*/ 117 w 175"/>
                <a:gd name="T35" fmla="*/ 117 h 176"/>
                <a:gd name="T36" fmla="*/ 126 w 175"/>
                <a:gd name="T37" fmla="*/ 117 h 176"/>
                <a:gd name="T38" fmla="*/ 156 w 175"/>
                <a:gd name="T39" fmla="*/ 117 h 176"/>
                <a:gd name="T40" fmla="*/ 165 w 175"/>
                <a:gd name="T41" fmla="*/ 117 h 176"/>
                <a:gd name="T42" fmla="*/ 175 w 175"/>
                <a:gd name="T43" fmla="*/ 107 h 176"/>
                <a:gd name="T44" fmla="*/ 175 w 175"/>
                <a:gd name="T45" fmla="*/ 88 h 176"/>
                <a:gd name="T46" fmla="*/ 165 w 175"/>
                <a:gd name="T47" fmla="*/ 78 h 176"/>
                <a:gd name="T48" fmla="*/ 146 w 175"/>
                <a:gd name="T49" fmla="*/ 78 h 176"/>
                <a:gd name="T50" fmla="*/ 136 w 175"/>
                <a:gd name="T51" fmla="*/ 78 h 176"/>
                <a:gd name="T52" fmla="*/ 146 w 175"/>
                <a:gd name="T53" fmla="*/ 68 h 176"/>
                <a:gd name="T54" fmla="*/ 146 w 175"/>
                <a:gd name="T55" fmla="*/ 49 h 176"/>
                <a:gd name="T56" fmla="*/ 126 w 175"/>
                <a:gd name="T57" fmla="*/ 49 h 176"/>
                <a:gd name="T58" fmla="*/ 126 w 175"/>
                <a:gd name="T59" fmla="*/ 39 h 176"/>
                <a:gd name="T60" fmla="*/ 126 w 175"/>
                <a:gd name="T61" fmla="*/ 29 h 176"/>
                <a:gd name="T62" fmla="*/ 107 w 175"/>
                <a:gd name="T63" fmla="*/ 39 h 176"/>
                <a:gd name="T64" fmla="*/ 87 w 175"/>
                <a:gd name="T65" fmla="*/ 29 h 176"/>
                <a:gd name="T66" fmla="*/ 97 w 175"/>
                <a:gd name="T67" fmla="*/ 10 h 176"/>
                <a:gd name="T68" fmla="*/ 87 w 175"/>
                <a:gd name="T69" fmla="*/ 0 h 176"/>
                <a:gd name="T70" fmla="*/ 68 w 175"/>
                <a:gd name="T71" fmla="*/ 20 h 17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75"/>
                <a:gd name="T109" fmla="*/ 0 h 176"/>
                <a:gd name="T110" fmla="*/ 175 w 175"/>
                <a:gd name="T111" fmla="*/ 176 h 17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75" h="176">
                  <a:moveTo>
                    <a:pt x="68" y="20"/>
                  </a:moveTo>
                  <a:lnTo>
                    <a:pt x="68" y="49"/>
                  </a:lnTo>
                  <a:lnTo>
                    <a:pt x="48" y="78"/>
                  </a:lnTo>
                  <a:lnTo>
                    <a:pt x="29" y="107"/>
                  </a:lnTo>
                  <a:lnTo>
                    <a:pt x="0" y="117"/>
                  </a:lnTo>
                  <a:lnTo>
                    <a:pt x="0" y="137"/>
                  </a:lnTo>
                  <a:lnTo>
                    <a:pt x="19" y="156"/>
                  </a:lnTo>
                  <a:lnTo>
                    <a:pt x="39" y="156"/>
                  </a:lnTo>
                  <a:lnTo>
                    <a:pt x="58" y="156"/>
                  </a:lnTo>
                  <a:lnTo>
                    <a:pt x="68" y="147"/>
                  </a:lnTo>
                  <a:lnTo>
                    <a:pt x="68" y="156"/>
                  </a:lnTo>
                  <a:lnTo>
                    <a:pt x="78" y="176"/>
                  </a:lnTo>
                  <a:lnTo>
                    <a:pt x="87" y="176"/>
                  </a:lnTo>
                  <a:lnTo>
                    <a:pt x="97" y="156"/>
                  </a:lnTo>
                  <a:lnTo>
                    <a:pt x="117" y="156"/>
                  </a:lnTo>
                  <a:lnTo>
                    <a:pt x="107" y="137"/>
                  </a:lnTo>
                  <a:lnTo>
                    <a:pt x="117" y="127"/>
                  </a:lnTo>
                  <a:lnTo>
                    <a:pt x="117" y="117"/>
                  </a:lnTo>
                  <a:lnTo>
                    <a:pt x="126" y="117"/>
                  </a:lnTo>
                  <a:lnTo>
                    <a:pt x="156" y="117"/>
                  </a:lnTo>
                  <a:lnTo>
                    <a:pt x="165" y="117"/>
                  </a:lnTo>
                  <a:lnTo>
                    <a:pt x="175" y="107"/>
                  </a:lnTo>
                  <a:lnTo>
                    <a:pt x="175" y="88"/>
                  </a:lnTo>
                  <a:lnTo>
                    <a:pt x="165" y="78"/>
                  </a:lnTo>
                  <a:lnTo>
                    <a:pt x="146" y="78"/>
                  </a:lnTo>
                  <a:lnTo>
                    <a:pt x="136" y="78"/>
                  </a:lnTo>
                  <a:lnTo>
                    <a:pt x="146" y="68"/>
                  </a:lnTo>
                  <a:lnTo>
                    <a:pt x="146" y="49"/>
                  </a:lnTo>
                  <a:lnTo>
                    <a:pt x="126" y="49"/>
                  </a:lnTo>
                  <a:lnTo>
                    <a:pt x="126" y="39"/>
                  </a:lnTo>
                  <a:lnTo>
                    <a:pt x="126" y="29"/>
                  </a:lnTo>
                  <a:lnTo>
                    <a:pt x="107" y="39"/>
                  </a:lnTo>
                  <a:lnTo>
                    <a:pt x="87" y="29"/>
                  </a:lnTo>
                  <a:lnTo>
                    <a:pt x="97" y="10"/>
                  </a:lnTo>
                  <a:lnTo>
                    <a:pt x="87" y="0"/>
                  </a:lnTo>
                  <a:lnTo>
                    <a:pt x="68" y="20"/>
                  </a:lnTo>
                  <a:close/>
                </a:path>
              </a:pathLst>
            </a:custGeom>
            <a:solidFill>
              <a:srgbClr val="548DD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37" name="Freeform 132"/>
            <p:cNvSpPr>
              <a:spLocks/>
            </p:cNvSpPr>
            <p:nvPr/>
          </p:nvSpPr>
          <p:spPr bwMode="auto">
            <a:xfrm>
              <a:off x="966" y="3122"/>
              <a:ext cx="175" cy="176"/>
            </a:xfrm>
            <a:custGeom>
              <a:avLst/>
              <a:gdLst/>
              <a:ahLst/>
              <a:cxnLst>
                <a:cxn ang="0">
                  <a:pos x="68" y="20"/>
                </a:cxn>
                <a:cxn ang="0">
                  <a:pos x="68" y="49"/>
                </a:cxn>
                <a:cxn ang="0">
                  <a:pos x="48" y="78"/>
                </a:cxn>
                <a:cxn ang="0">
                  <a:pos x="29" y="107"/>
                </a:cxn>
                <a:cxn ang="0">
                  <a:pos x="0" y="117"/>
                </a:cxn>
                <a:cxn ang="0">
                  <a:pos x="0" y="137"/>
                </a:cxn>
                <a:cxn ang="0">
                  <a:pos x="19" y="156"/>
                </a:cxn>
                <a:cxn ang="0">
                  <a:pos x="39" y="156"/>
                </a:cxn>
                <a:cxn ang="0">
                  <a:pos x="58" y="156"/>
                </a:cxn>
                <a:cxn ang="0">
                  <a:pos x="68" y="147"/>
                </a:cxn>
                <a:cxn ang="0">
                  <a:pos x="68" y="156"/>
                </a:cxn>
                <a:cxn ang="0">
                  <a:pos x="78" y="176"/>
                </a:cxn>
                <a:cxn ang="0">
                  <a:pos x="87" y="176"/>
                </a:cxn>
                <a:cxn ang="0">
                  <a:pos x="97" y="156"/>
                </a:cxn>
                <a:cxn ang="0">
                  <a:pos x="117" y="156"/>
                </a:cxn>
                <a:cxn ang="0">
                  <a:pos x="107" y="137"/>
                </a:cxn>
                <a:cxn ang="0">
                  <a:pos x="117" y="127"/>
                </a:cxn>
                <a:cxn ang="0">
                  <a:pos x="117" y="117"/>
                </a:cxn>
                <a:cxn ang="0">
                  <a:pos x="126" y="117"/>
                </a:cxn>
                <a:cxn ang="0">
                  <a:pos x="156" y="117"/>
                </a:cxn>
                <a:cxn ang="0">
                  <a:pos x="165" y="117"/>
                </a:cxn>
                <a:cxn ang="0">
                  <a:pos x="175" y="107"/>
                </a:cxn>
                <a:cxn ang="0">
                  <a:pos x="175" y="88"/>
                </a:cxn>
                <a:cxn ang="0">
                  <a:pos x="165" y="78"/>
                </a:cxn>
                <a:cxn ang="0">
                  <a:pos x="146" y="78"/>
                </a:cxn>
                <a:cxn ang="0">
                  <a:pos x="136" y="78"/>
                </a:cxn>
                <a:cxn ang="0">
                  <a:pos x="146" y="68"/>
                </a:cxn>
                <a:cxn ang="0">
                  <a:pos x="146" y="49"/>
                </a:cxn>
                <a:cxn ang="0">
                  <a:pos x="126" y="49"/>
                </a:cxn>
                <a:cxn ang="0">
                  <a:pos x="126" y="39"/>
                </a:cxn>
                <a:cxn ang="0">
                  <a:pos x="126" y="29"/>
                </a:cxn>
                <a:cxn ang="0">
                  <a:pos x="107" y="39"/>
                </a:cxn>
                <a:cxn ang="0">
                  <a:pos x="87" y="29"/>
                </a:cxn>
                <a:cxn ang="0">
                  <a:pos x="97" y="10"/>
                </a:cxn>
                <a:cxn ang="0">
                  <a:pos x="87" y="0"/>
                </a:cxn>
              </a:cxnLst>
              <a:rect l="0" t="0" r="r" b="b"/>
              <a:pathLst>
                <a:path w="175" h="176">
                  <a:moveTo>
                    <a:pt x="68" y="20"/>
                  </a:moveTo>
                  <a:lnTo>
                    <a:pt x="68" y="49"/>
                  </a:lnTo>
                  <a:lnTo>
                    <a:pt x="48" y="78"/>
                  </a:lnTo>
                  <a:lnTo>
                    <a:pt x="29" y="107"/>
                  </a:lnTo>
                  <a:lnTo>
                    <a:pt x="0" y="117"/>
                  </a:lnTo>
                  <a:lnTo>
                    <a:pt x="0" y="137"/>
                  </a:lnTo>
                  <a:lnTo>
                    <a:pt x="19" y="156"/>
                  </a:lnTo>
                  <a:lnTo>
                    <a:pt x="39" y="156"/>
                  </a:lnTo>
                  <a:lnTo>
                    <a:pt x="58" y="156"/>
                  </a:lnTo>
                  <a:lnTo>
                    <a:pt x="68" y="147"/>
                  </a:lnTo>
                  <a:lnTo>
                    <a:pt x="68" y="156"/>
                  </a:lnTo>
                  <a:lnTo>
                    <a:pt x="78" y="176"/>
                  </a:lnTo>
                  <a:lnTo>
                    <a:pt x="87" y="176"/>
                  </a:lnTo>
                  <a:lnTo>
                    <a:pt x="97" y="156"/>
                  </a:lnTo>
                  <a:lnTo>
                    <a:pt x="117" y="156"/>
                  </a:lnTo>
                  <a:lnTo>
                    <a:pt x="107" y="137"/>
                  </a:lnTo>
                  <a:lnTo>
                    <a:pt x="117" y="127"/>
                  </a:lnTo>
                  <a:lnTo>
                    <a:pt x="117" y="117"/>
                  </a:lnTo>
                  <a:lnTo>
                    <a:pt x="126" y="117"/>
                  </a:lnTo>
                  <a:lnTo>
                    <a:pt x="156" y="117"/>
                  </a:lnTo>
                  <a:lnTo>
                    <a:pt x="165" y="117"/>
                  </a:lnTo>
                  <a:lnTo>
                    <a:pt x="175" y="107"/>
                  </a:lnTo>
                  <a:lnTo>
                    <a:pt x="175" y="88"/>
                  </a:lnTo>
                  <a:lnTo>
                    <a:pt x="165" y="78"/>
                  </a:lnTo>
                  <a:lnTo>
                    <a:pt x="146" y="78"/>
                  </a:lnTo>
                  <a:lnTo>
                    <a:pt x="136" y="78"/>
                  </a:lnTo>
                  <a:lnTo>
                    <a:pt x="146" y="68"/>
                  </a:lnTo>
                  <a:lnTo>
                    <a:pt x="146" y="49"/>
                  </a:lnTo>
                  <a:lnTo>
                    <a:pt x="126" y="49"/>
                  </a:lnTo>
                  <a:lnTo>
                    <a:pt x="126" y="39"/>
                  </a:lnTo>
                  <a:lnTo>
                    <a:pt x="126" y="29"/>
                  </a:lnTo>
                  <a:lnTo>
                    <a:pt x="107" y="39"/>
                  </a:lnTo>
                  <a:lnTo>
                    <a:pt x="87" y="29"/>
                  </a:lnTo>
                  <a:lnTo>
                    <a:pt x="97" y="10"/>
                  </a:lnTo>
                  <a:lnTo>
                    <a:pt x="87" y="0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US" sz="1100">
                <a:latin typeface="Polo" pitchFamily="2" charset="0"/>
                <a:cs typeface="+mn-cs"/>
              </a:endParaRPr>
            </a:p>
          </p:txBody>
        </p:sp>
      </p:grpSp>
      <p:sp>
        <p:nvSpPr>
          <p:cNvPr id="18610" name="Freeform 130"/>
          <p:cNvSpPr>
            <a:spLocks noChangeAspect="1"/>
          </p:cNvSpPr>
          <p:nvPr>
            <p:custDataLst>
              <p:tags r:id="rId176"/>
            </p:custDataLst>
          </p:nvPr>
        </p:nvSpPr>
        <p:spPr bwMode="auto">
          <a:xfrm>
            <a:off x="2292350" y="4760913"/>
            <a:ext cx="201613" cy="271462"/>
          </a:xfrm>
          <a:custGeom>
            <a:avLst/>
            <a:gdLst>
              <a:gd name="T0" fmla="*/ 64756 w 302"/>
              <a:gd name="T1" fmla="*/ 139133 h 439"/>
              <a:gd name="T2" fmla="*/ 84784 w 302"/>
              <a:gd name="T3" fmla="*/ 126765 h 439"/>
              <a:gd name="T4" fmla="*/ 84784 w 302"/>
              <a:gd name="T5" fmla="*/ 108833 h 439"/>
              <a:gd name="T6" fmla="*/ 97469 w 302"/>
              <a:gd name="T7" fmla="*/ 108833 h 439"/>
              <a:gd name="T8" fmla="*/ 116829 w 302"/>
              <a:gd name="T9" fmla="*/ 102649 h 439"/>
              <a:gd name="T10" fmla="*/ 123505 w 302"/>
              <a:gd name="T11" fmla="*/ 84716 h 439"/>
              <a:gd name="T12" fmla="*/ 104144 w 302"/>
              <a:gd name="T13" fmla="*/ 84716 h 439"/>
              <a:gd name="T14" fmla="*/ 104144 w 302"/>
              <a:gd name="T15" fmla="*/ 72349 h 439"/>
              <a:gd name="T16" fmla="*/ 97469 w 302"/>
              <a:gd name="T17" fmla="*/ 60600 h 439"/>
              <a:gd name="T18" fmla="*/ 104144 w 302"/>
              <a:gd name="T19" fmla="*/ 36484 h 439"/>
              <a:gd name="T20" fmla="*/ 84784 w 302"/>
              <a:gd name="T21" fmla="*/ 24116 h 439"/>
              <a:gd name="T22" fmla="*/ 104144 w 302"/>
              <a:gd name="T23" fmla="*/ 30300 h 439"/>
              <a:gd name="T24" fmla="*/ 110820 w 302"/>
              <a:gd name="T25" fmla="*/ 12367 h 439"/>
              <a:gd name="T26" fmla="*/ 116829 w 302"/>
              <a:gd name="T27" fmla="*/ 6184 h 439"/>
              <a:gd name="T28" fmla="*/ 142865 w 302"/>
              <a:gd name="T29" fmla="*/ 12367 h 439"/>
              <a:gd name="T30" fmla="*/ 156217 w 302"/>
              <a:gd name="T31" fmla="*/ 0 h 439"/>
              <a:gd name="T32" fmla="*/ 188929 w 302"/>
              <a:gd name="T33" fmla="*/ 48233 h 439"/>
              <a:gd name="T34" fmla="*/ 201613 w 302"/>
              <a:gd name="T35" fmla="*/ 48233 h 439"/>
              <a:gd name="T36" fmla="*/ 195605 w 302"/>
              <a:gd name="T37" fmla="*/ 60600 h 439"/>
              <a:gd name="T38" fmla="*/ 182253 w 302"/>
              <a:gd name="T39" fmla="*/ 66784 h 439"/>
              <a:gd name="T40" fmla="*/ 169569 w 302"/>
              <a:gd name="T41" fmla="*/ 72349 h 439"/>
              <a:gd name="T42" fmla="*/ 175577 w 302"/>
              <a:gd name="T43" fmla="*/ 84716 h 439"/>
              <a:gd name="T44" fmla="*/ 169569 w 302"/>
              <a:gd name="T45" fmla="*/ 96465 h 439"/>
              <a:gd name="T46" fmla="*/ 169569 w 302"/>
              <a:gd name="T47" fmla="*/ 108833 h 439"/>
              <a:gd name="T48" fmla="*/ 162893 w 302"/>
              <a:gd name="T49" fmla="*/ 132949 h 439"/>
              <a:gd name="T50" fmla="*/ 149541 w 302"/>
              <a:gd name="T51" fmla="*/ 139133 h 439"/>
              <a:gd name="T52" fmla="*/ 149541 w 302"/>
              <a:gd name="T53" fmla="*/ 145316 h 439"/>
              <a:gd name="T54" fmla="*/ 169569 w 302"/>
              <a:gd name="T55" fmla="*/ 132949 h 439"/>
              <a:gd name="T56" fmla="*/ 162893 w 302"/>
              <a:gd name="T57" fmla="*/ 145316 h 439"/>
              <a:gd name="T58" fmla="*/ 142865 w 302"/>
              <a:gd name="T59" fmla="*/ 150881 h 439"/>
              <a:gd name="T60" fmla="*/ 136856 w 302"/>
              <a:gd name="T61" fmla="*/ 157065 h 439"/>
              <a:gd name="T62" fmla="*/ 136856 w 302"/>
              <a:gd name="T63" fmla="*/ 169433 h 439"/>
              <a:gd name="T64" fmla="*/ 123505 w 302"/>
              <a:gd name="T65" fmla="*/ 169433 h 439"/>
              <a:gd name="T66" fmla="*/ 116829 w 302"/>
              <a:gd name="T67" fmla="*/ 187365 h 439"/>
              <a:gd name="T68" fmla="*/ 110820 w 302"/>
              <a:gd name="T69" fmla="*/ 199114 h 439"/>
              <a:gd name="T70" fmla="*/ 110820 w 302"/>
              <a:gd name="T71" fmla="*/ 223230 h 439"/>
              <a:gd name="T72" fmla="*/ 104144 w 302"/>
              <a:gd name="T73" fmla="*/ 253530 h 439"/>
              <a:gd name="T74" fmla="*/ 90793 w 302"/>
              <a:gd name="T75" fmla="*/ 271463 h 439"/>
              <a:gd name="T76" fmla="*/ 58748 w 302"/>
              <a:gd name="T77" fmla="*/ 271463 h 439"/>
              <a:gd name="T78" fmla="*/ 38720 w 302"/>
              <a:gd name="T79" fmla="*/ 271463 h 439"/>
              <a:gd name="T80" fmla="*/ 19360 w 302"/>
              <a:gd name="T81" fmla="*/ 259714 h 439"/>
              <a:gd name="T82" fmla="*/ 19360 w 302"/>
              <a:gd name="T83" fmla="*/ 241781 h 439"/>
              <a:gd name="T84" fmla="*/ 19360 w 302"/>
              <a:gd name="T85" fmla="*/ 229414 h 439"/>
              <a:gd name="T86" fmla="*/ 19360 w 302"/>
              <a:gd name="T87" fmla="*/ 205298 h 439"/>
              <a:gd name="T88" fmla="*/ 12684 w 302"/>
              <a:gd name="T89" fmla="*/ 193549 h 439"/>
              <a:gd name="T90" fmla="*/ 6676 w 302"/>
              <a:gd name="T91" fmla="*/ 169433 h 439"/>
              <a:gd name="T92" fmla="*/ 0 w 302"/>
              <a:gd name="T93" fmla="*/ 145316 h 439"/>
              <a:gd name="T94" fmla="*/ 12684 w 302"/>
              <a:gd name="T95" fmla="*/ 132949 h 439"/>
              <a:gd name="T96" fmla="*/ 32712 w 302"/>
              <a:gd name="T97" fmla="*/ 132949 h 439"/>
              <a:gd name="T98" fmla="*/ 52072 w 302"/>
              <a:gd name="T99" fmla="*/ 121200 h 439"/>
              <a:gd name="T100" fmla="*/ 58748 w 302"/>
              <a:gd name="T101" fmla="*/ 139133 h 43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302"/>
              <a:gd name="T154" fmla="*/ 0 h 439"/>
              <a:gd name="T155" fmla="*/ 302 w 302"/>
              <a:gd name="T156" fmla="*/ 439 h 439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302" h="439">
                <a:moveTo>
                  <a:pt x="88" y="225"/>
                </a:moveTo>
                <a:lnTo>
                  <a:pt x="97" y="225"/>
                </a:lnTo>
                <a:lnTo>
                  <a:pt x="107" y="215"/>
                </a:lnTo>
                <a:lnTo>
                  <a:pt x="127" y="205"/>
                </a:lnTo>
                <a:lnTo>
                  <a:pt x="117" y="186"/>
                </a:lnTo>
                <a:lnTo>
                  <a:pt x="127" y="176"/>
                </a:lnTo>
                <a:lnTo>
                  <a:pt x="127" y="166"/>
                </a:lnTo>
                <a:lnTo>
                  <a:pt x="146" y="176"/>
                </a:lnTo>
                <a:lnTo>
                  <a:pt x="166" y="166"/>
                </a:lnTo>
                <a:lnTo>
                  <a:pt x="175" y="166"/>
                </a:lnTo>
                <a:lnTo>
                  <a:pt x="185" y="156"/>
                </a:lnTo>
                <a:lnTo>
                  <a:pt x="185" y="137"/>
                </a:lnTo>
                <a:lnTo>
                  <a:pt x="175" y="137"/>
                </a:lnTo>
                <a:lnTo>
                  <a:pt x="156" y="137"/>
                </a:lnTo>
                <a:lnTo>
                  <a:pt x="156" y="127"/>
                </a:lnTo>
                <a:lnTo>
                  <a:pt x="156" y="117"/>
                </a:lnTo>
                <a:lnTo>
                  <a:pt x="156" y="98"/>
                </a:lnTo>
                <a:lnTo>
                  <a:pt x="146" y="98"/>
                </a:lnTo>
                <a:lnTo>
                  <a:pt x="146" y="88"/>
                </a:lnTo>
                <a:lnTo>
                  <a:pt x="156" y="59"/>
                </a:lnTo>
                <a:lnTo>
                  <a:pt x="136" y="59"/>
                </a:lnTo>
                <a:lnTo>
                  <a:pt x="127" y="39"/>
                </a:lnTo>
                <a:lnTo>
                  <a:pt x="146" y="39"/>
                </a:lnTo>
                <a:lnTo>
                  <a:pt x="156" y="49"/>
                </a:lnTo>
                <a:lnTo>
                  <a:pt x="166" y="30"/>
                </a:lnTo>
                <a:lnTo>
                  <a:pt x="166" y="20"/>
                </a:lnTo>
                <a:lnTo>
                  <a:pt x="166" y="10"/>
                </a:lnTo>
                <a:lnTo>
                  <a:pt x="175" y="10"/>
                </a:lnTo>
                <a:lnTo>
                  <a:pt x="195" y="20"/>
                </a:lnTo>
                <a:lnTo>
                  <a:pt x="214" y="20"/>
                </a:lnTo>
                <a:lnTo>
                  <a:pt x="224" y="20"/>
                </a:lnTo>
                <a:lnTo>
                  <a:pt x="234" y="0"/>
                </a:lnTo>
                <a:lnTo>
                  <a:pt x="254" y="30"/>
                </a:lnTo>
                <a:lnTo>
                  <a:pt x="283" y="78"/>
                </a:lnTo>
                <a:lnTo>
                  <a:pt x="293" y="69"/>
                </a:lnTo>
                <a:lnTo>
                  <a:pt x="302" y="78"/>
                </a:lnTo>
                <a:lnTo>
                  <a:pt x="293" y="88"/>
                </a:lnTo>
                <a:lnTo>
                  <a:pt x="293" y="98"/>
                </a:lnTo>
                <a:lnTo>
                  <a:pt x="293" y="108"/>
                </a:lnTo>
                <a:lnTo>
                  <a:pt x="273" y="108"/>
                </a:lnTo>
                <a:lnTo>
                  <a:pt x="263" y="108"/>
                </a:lnTo>
                <a:lnTo>
                  <a:pt x="254" y="117"/>
                </a:lnTo>
                <a:lnTo>
                  <a:pt x="254" y="127"/>
                </a:lnTo>
                <a:lnTo>
                  <a:pt x="263" y="137"/>
                </a:lnTo>
                <a:lnTo>
                  <a:pt x="254" y="147"/>
                </a:lnTo>
                <a:lnTo>
                  <a:pt x="254" y="156"/>
                </a:lnTo>
                <a:lnTo>
                  <a:pt x="263" y="166"/>
                </a:lnTo>
                <a:lnTo>
                  <a:pt x="254" y="176"/>
                </a:lnTo>
                <a:lnTo>
                  <a:pt x="254" y="196"/>
                </a:lnTo>
                <a:lnTo>
                  <a:pt x="244" y="215"/>
                </a:lnTo>
                <a:lnTo>
                  <a:pt x="244" y="225"/>
                </a:lnTo>
                <a:lnTo>
                  <a:pt x="224" y="225"/>
                </a:lnTo>
                <a:lnTo>
                  <a:pt x="214" y="235"/>
                </a:lnTo>
                <a:lnTo>
                  <a:pt x="224" y="235"/>
                </a:lnTo>
                <a:lnTo>
                  <a:pt x="244" y="215"/>
                </a:lnTo>
                <a:lnTo>
                  <a:pt x="254" y="215"/>
                </a:lnTo>
                <a:lnTo>
                  <a:pt x="263" y="215"/>
                </a:lnTo>
                <a:lnTo>
                  <a:pt x="244" y="235"/>
                </a:lnTo>
                <a:lnTo>
                  <a:pt x="224" y="244"/>
                </a:lnTo>
                <a:lnTo>
                  <a:pt x="214" y="244"/>
                </a:lnTo>
                <a:lnTo>
                  <a:pt x="205" y="254"/>
                </a:lnTo>
                <a:lnTo>
                  <a:pt x="214" y="264"/>
                </a:lnTo>
                <a:lnTo>
                  <a:pt x="205" y="274"/>
                </a:lnTo>
                <a:lnTo>
                  <a:pt x="205" y="264"/>
                </a:lnTo>
                <a:lnTo>
                  <a:pt x="185" y="274"/>
                </a:lnTo>
                <a:lnTo>
                  <a:pt x="175" y="283"/>
                </a:lnTo>
                <a:lnTo>
                  <a:pt x="175" y="303"/>
                </a:lnTo>
                <a:lnTo>
                  <a:pt x="175" y="313"/>
                </a:lnTo>
                <a:lnTo>
                  <a:pt x="166" y="322"/>
                </a:lnTo>
                <a:lnTo>
                  <a:pt x="166" y="342"/>
                </a:lnTo>
                <a:lnTo>
                  <a:pt x="166" y="361"/>
                </a:lnTo>
                <a:lnTo>
                  <a:pt x="156" y="391"/>
                </a:lnTo>
                <a:lnTo>
                  <a:pt x="156" y="410"/>
                </a:lnTo>
                <a:lnTo>
                  <a:pt x="146" y="430"/>
                </a:lnTo>
                <a:lnTo>
                  <a:pt x="136" y="439"/>
                </a:lnTo>
                <a:lnTo>
                  <a:pt x="117" y="439"/>
                </a:lnTo>
                <a:lnTo>
                  <a:pt x="88" y="439"/>
                </a:lnTo>
                <a:lnTo>
                  <a:pt x="78" y="439"/>
                </a:lnTo>
                <a:lnTo>
                  <a:pt x="58" y="439"/>
                </a:lnTo>
                <a:lnTo>
                  <a:pt x="39" y="430"/>
                </a:lnTo>
                <a:lnTo>
                  <a:pt x="29" y="420"/>
                </a:lnTo>
                <a:lnTo>
                  <a:pt x="19" y="410"/>
                </a:lnTo>
                <a:lnTo>
                  <a:pt x="29" y="391"/>
                </a:lnTo>
                <a:lnTo>
                  <a:pt x="29" y="381"/>
                </a:lnTo>
                <a:lnTo>
                  <a:pt x="29" y="371"/>
                </a:lnTo>
                <a:lnTo>
                  <a:pt x="29" y="352"/>
                </a:lnTo>
                <a:lnTo>
                  <a:pt x="29" y="332"/>
                </a:lnTo>
                <a:lnTo>
                  <a:pt x="29" y="322"/>
                </a:lnTo>
                <a:lnTo>
                  <a:pt x="19" y="313"/>
                </a:lnTo>
                <a:lnTo>
                  <a:pt x="10" y="293"/>
                </a:lnTo>
                <a:lnTo>
                  <a:pt x="10" y="274"/>
                </a:lnTo>
                <a:lnTo>
                  <a:pt x="0" y="244"/>
                </a:lnTo>
                <a:lnTo>
                  <a:pt x="0" y="235"/>
                </a:lnTo>
                <a:lnTo>
                  <a:pt x="10" y="225"/>
                </a:lnTo>
                <a:lnTo>
                  <a:pt x="19" y="215"/>
                </a:lnTo>
                <a:lnTo>
                  <a:pt x="29" y="205"/>
                </a:lnTo>
                <a:lnTo>
                  <a:pt x="49" y="215"/>
                </a:lnTo>
                <a:lnTo>
                  <a:pt x="68" y="205"/>
                </a:lnTo>
                <a:lnTo>
                  <a:pt x="78" y="196"/>
                </a:lnTo>
                <a:lnTo>
                  <a:pt x="78" y="205"/>
                </a:lnTo>
                <a:lnTo>
                  <a:pt x="88" y="225"/>
                </a:lnTo>
                <a:close/>
              </a:path>
            </a:pathLst>
          </a:custGeom>
          <a:solidFill>
            <a:srgbClr val="CCECFF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grpSp>
        <p:nvGrpSpPr>
          <p:cNvPr id="18611" name="Group 127"/>
          <p:cNvGrpSpPr>
            <a:grpSpLocks noChangeAspect="1"/>
          </p:cNvGrpSpPr>
          <p:nvPr>
            <p:custDataLst>
              <p:tags r:id="rId177"/>
            </p:custDataLst>
          </p:nvPr>
        </p:nvGrpSpPr>
        <p:grpSpPr bwMode="auto">
          <a:xfrm>
            <a:off x="2292350" y="4760913"/>
            <a:ext cx="201613" cy="271462"/>
            <a:chOff x="956" y="3073"/>
            <a:chExt cx="302" cy="439"/>
          </a:xfrm>
        </p:grpSpPr>
        <p:sp>
          <p:nvSpPr>
            <p:cNvPr id="18754" name="Freeform 129"/>
            <p:cNvSpPr>
              <a:spLocks noChangeAspect="1"/>
            </p:cNvSpPr>
            <p:nvPr/>
          </p:nvSpPr>
          <p:spPr bwMode="auto">
            <a:xfrm>
              <a:off x="956" y="3073"/>
              <a:ext cx="302" cy="439"/>
            </a:xfrm>
            <a:custGeom>
              <a:avLst/>
              <a:gdLst>
                <a:gd name="T0" fmla="*/ 97 w 302"/>
                <a:gd name="T1" fmla="*/ 225 h 439"/>
                <a:gd name="T2" fmla="*/ 127 w 302"/>
                <a:gd name="T3" fmla="*/ 205 h 439"/>
                <a:gd name="T4" fmla="*/ 127 w 302"/>
                <a:gd name="T5" fmla="*/ 176 h 439"/>
                <a:gd name="T6" fmla="*/ 146 w 302"/>
                <a:gd name="T7" fmla="*/ 176 h 439"/>
                <a:gd name="T8" fmla="*/ 175 w 302"/>
                <a:gd name="T9" fmla="*/ 166 h 439"/>
                <a:gd name="T10" fmla="*/ 185 w 302"/>
                <a:gd name="T11" fmla="*/ 137 h 439"/>
                <a:gd name="T12" fmla="*/ 156 w 302"/>
                <a:gd name="T13" fmla="*/ 137 h 439"/>
                <a:gd name="T14" fmla="*/ 156 w 302"/>
                <a:gd name="T15" fmla="*/ 117 h 439"/>
                <a:gd name="T16" fmla="*/ 146 w 302"/>
                <a:gd name="T17" fmla="*/ 98 h 439"/>
                <a:gd name="T18" fmla="*/ 156 w 302"/>
                <a:gd name="T19" fmla="*/ 59 h 439"/>
                <a:gd name="T20" fmla="*/ 127 w 302"/>
                <a:gd name="T21" fmla="*/ 39 h 439"/>
                <a:gd name="T22" fmla="*/ 156 w 302"/>
                <a:gd name="T23" fmla="*/ 49 h 439"/>
                <a:gd name="T24" fmla="*/ 166 w 302"/>
                <a:gd name="T25" fmla="*/ 20 h 439"/>
                <a:gd name="T26" fmla="*/ 175 w 302"/>
                <a:gd name="T27" fmla="*/ 10 h 439"/>
                <a:gd name="T28" fmla="*/ 214 w 302"/>
                <a:gd name="T29" fmla="*/ 20 h 439"/>
                <a:gd name="T30" fmla="*/ 234 w 302"/>
                <a:gd name="T31" fmla="*/ 0 h 439"/>
                <a:gd name="T32" fmla="*/ 283 w 302"/>
                <a:gd name="T33" fmla="*/ 78 h 439"/>
                <a:gd name="T34" fmla="*/ 302 w 302"/>
                <a:gd name="T35" fmla="*/ 78 h 439"/>
                <a:gd name="T36" fmla="*/ 293 w 302"/>
                <a:gd name="T37" fmla="*/ 98 h 439"/>
                <a:gd name="T38" fmla="*/ 273 w 302"/>
                <a:gd name="T39" fmla="*/ 108 h 439"/>
                <a:gd name="T40" fmla="*/ 254 w 302"/>
                <a:gd name="T41" fmla="*/ 117 h 439"/>
                <a:gd name="T42" fmla="*/ 263 w 302"/>
                <a:gd name="T43" fmla="*/ 137 h 439"/>
                <a:gd name="T44" fmla="*/ 254 w 302"/>
                <a:gd name="T45" fmla="*/ 156 h 439"/>
                <a:gd name="T46" fmla="*/ 254 w 302"/>
                <a:gd name="T47" fmla="*/ 176 h 439"/>
                <a:gd name="T48" fmla="*/ 244 w 302"/>
                <a:gd name="T49" fmla="*/ 215 h 439"/>
                <a:gd name="T50" fmla="*/ 224 w 302"/>
                <a:gd name="T51" fmla="*/ 225 h 439"/>
                <a:gd name="T52" fmla="*/ 224 w 302"/>
                <a:gd name="T53" fmla="*/ 235 h 439"/>
                <a:gd name="T54" fmla="*/ 254 w 302"/>
                <a:gd name="T55" fmla="*/ 215 h 439"/>
                <a:gd name="T56" fmla="*/ 244 w 302"/>
                <a:gd name="T57" fmla="*/ 235 h 439"/>
                <a:gd name="T58" fmla="*/ 214 w 302"/>
                <a:gd name="T59" fmla="*/ 244 h 439"/>
                <a:gd name="T60" fmla="*/ 205 w 302"/>
                <a:gd name="T61" fmla="*/ 254 h 439"/>
                <a:gd name="T62" fmla="*/ 205 w 302"/>
                <a:gd name="T63" fmla="*/ 274 h 439"/>
                <a:gd name="T64" fmla="*/ 185 w 302"/>
                <a:gd name="T65" fmla="*/ 274 h 439"/>
                <a:gd name="T66" fmla="*/ 175 w 302"/>
                <a:gd name="T67" fmla="*/ 303 h 439"/>
                <a:gd name="T68" fmla="*/ 166 w 302"/>
                <a:gd name="T69" fmla="*/ 322 h 439"/>
                <a:gd name="T70" fmla="*/ 166 w 302"/>
                <a:gd name="T71" fmla="*/ 361 h 439"/>
                <a:gd name="T72" fmla="*/ 156 w 302"/>
                <a:gd name="T73" fmla="*/ 410 h 439"/>
                <a:gd name="T74" fmla="*/ 136 w 302"/>
                <a:gd name="T75" fmla="*/ 439 h 439"/>
                <a:gd name="T76" fmla="*/ 88 w 302"/>
                <a:gd name="T77" fmla="*/ 439 h 439"/>
                <a:gd name="T78" fmla="*/ 58 w 302"/>
                <a:gd name="T79" fmla="*/ 439 h 439"/>
                <a:gd name="T80" fmla="*/ 29 w 302"/>
                <a:gd name="T81" fmla="*/ 420 h 439"/>
                <a:gd name="T82" fmla="*/ 29 w 302"/>
                <a:gd name="T83" fmla="*/ 391 h 439"/>
                <a:gd name="T84" fmla="*/ 29 w 302"/>
                <a:gd name="T85" fmla="*/ 371 h 439"/>
                <a:gd name="T86" fmla="*/ 29 w 302"/>
                <a:gd name="T87" fmla="*/ 332 h 439"/>
                <a:gd name="T88" fmla="*/ 19 w 302"/>
                <a:gd name="T89" fmla="*/ 313 h 439"/>
                <a:gd name="T90" fmla="*/ 10 w 302"/>
                <a:gd name="T91" fmla="*/ 274 h 439"/>
                <a:gd name="T92" fmla="*/ 0 w 302"/>
                <a:gd name="T93" fmla="*/ 235 h 439"/>
                <a:gd name="T94" fmla="*/ 19 w 302"/>
                <a:gd name="T95" fmla="*/ 215 h 439"/>
                <a:gd name="T96" fmla="*/ 49 w 302"/>
                <a:gd name="T97" fmla="*/ 215 h 439"/>
                <a:gd name="T98" fmla="*/ 78 w 302"/>
                <a:gd name="T99" fmla="*/ 196 h 439"/>
                <a:gd name="T100" fmla="*/ 88 w 302"/>
                <a:gd name="T101" fmla="*/ 225 h 43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02"/>
                <a:gd name="T154" fmla="*/ 0 h 439"/>
                <a:gd name="T155" fmla="*/ 302 w 302"/>
                <a:gd name="T156" fmla="*/ 439 h 43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02" h="439">
                  <a:moveTo>
                    <a:pt x="88" y="225"/>
                  </a:moveTo>
                  <a:lnTo>
                    <a:pt x="97" y="225"/>
                  </a:lnTo>
                  <a:lnTo>
                    <a:pt x="107" y="215"/>
                  </a:lnTo>
                  <a:lnTo>
                    <a:pt x="127" y="205"/>
                  </a:lnTo>
                  <a:lnTo>
                    <a:pt x="117" y="186"/>
                  </a:lnTo>
                  <a:lnTo>
                    <a:pt x="127" y="176"/>
                  </a:lnTo>
                  <a:lnTo>
                    <a:pt x="127" y="166"/>
                  </a:lnTo>
                  <a:lnTo>
                    <a:pt x="146" y="176"/>
                  </a:lnTo>
                  <a:lnTo>
                    <a:pt x="166" y="166"/>
                  </a:lnTo>
                  <a:lnTo>
                    <a:pt x="175" y="166"/>
                  </a:lnTo>
                  <a:lnTo>
                    <a:pt x="185" y="156"/>
                  </a:lnTo>
                  <a:lnTo>
                    <a:pt x="185" y="137"/>
                  </a:lnTo>
                  <a:lnTo>
                    <a:pt x="175" y="137"/>
                  </a:lnTo>
                  <a:lnTo>
                    <a:pt x="156" y="137"/>
                  </a:lnTo>
                  <a:lnTo>
                    <a:pt x="156" y="127"/>
                  </a:lnTo>
                  <a:lnTo>
                    <a:pt x="156" y="117"/>
                  </a:lnTo>
                  <a:lnTo>
                    <a:pt x="156" y="98"/>
                  </a:lnTo>
                  <a:lnTo>
                    <a:pt x="146" y="98"/>
                  </a:lnTo>
                  <a:lnTo>
                    <a:pt x="146" y="88"/>
                  </a:lnTo>
                  <a:lnTo>
                    <a:pt x="156" y="59"/>
                  </a:lnTo>
                  <a:lnTo>
                    <a:pt x="136" y="59"/>
                  </a:lnTo>
                  <a:lnTo>
                    <a:pt x="127" y="39"/>
                  </a:lnTo>
                  <a:lnTo>
                    <a:pt x="146" y="39"/>
                  </a:lnTo>
                  <a:lnTo>
                    <a:pt x="156" y="49"/>
                  </a:lnTo>
                  <a:lnTo>
                    <a:pt x="166" y="30"/>
                  </a:lnTo>
                  <a:lnTo>
                    <a:pt x="166" y="20"/>
                  </a:lnTo>
                  <a:lnTo>
                    <a:pt x="166" y="10"/>
                  </a:lnTo>
                  <a:lnTo>
                    <a:pt x="175" y="10"/>
                  </a:lnTo>
                  <a:lnTo>
                    <a:pt x="195" y="20"/>
                  </a:lnTo>
                  <a:lnTo>
                    <a:pt x="214" y="20"/>
                  </a:lnTo>
                  <a:lnTo>
                    <a:pt x="224" y="20"/>
                  </a:lnTo>
                  <a:lnTo>
                    <a:pt x="234" y="0"/>
                  </a:lnTo>
                  <a:lnTo>
                    <a:pt x="254" y="30"/>
                  </a:lnTo>
                  <a:lnTo>
                    <a:pt x="283" y="78"/>
                  </a:lnTo>
                  <a:lnTo>
                    <a:pt x="293" y="69"/>
                  </a:lnTo>
                  <a:lnTo>
                    <a:pt x="302" y="78"/>
                  </a:lnTo>
                  <a:lnTo>
                    <a:pt x="293" y="88"/>
                  </a:lnTo>
                  <a:lnTo>
                    <a:pt x="293" y="98"/>
                  </a:lnTo>
                  <a:lnTo>
                    <a:pt x="293" y="108"/>
                  </a:lnTo>
                  <a:lnTo>
                    <a:pt x="273" y="108"/>
                  </a:lnTo>
                  <a:lnTo>
                    <a:pt x="263" y="108"/>
                  </a:lnTo>
                  <a:lnTo>
                    <a:pt x="254" y="117"/>
                  </a:lnTo>
                  <a:lnTo>
                    <a:pt x="254" y="127"/>
                  </a:lnTo>
                  <a:lnTo>
                    <a:pt x="263" y="137"/>
                  </a:lnTo>
                  <a:lnTo>
                    <a:pt x="254" y="147"/>
                  </a:lnTo>
                  <a:lnTo>
                    <a:pt x="254" y="156"/>
                  </a:lnTo>
                  <a:lnTo>
                    <a:pt x="263" y="166"/>
                  </a:lnTo>
                  <a:lnTo>
                    <a:pt x="254" y="176"/>
                  </a:lnTo>
                  <a:lnTo>
                    <a:pt x="254" y="196"/>
                  </a:lnTo>
                  <a:lnTo>
                    <a:pt x="244" y="215"/>
                  </a:lnTo>
                  <a:lnTo>
                    <a:pt x="244" y="225"/>
                  </a:lnTo>
                  <a:lnTo>
                    <a:pt x="224" y="225"/>
                  </a:lnTo>
                  <a:lnTo>
                    <a:pt x="214" y="235"/>
                  </a:lnTo>
                  <a:lnTo>
                    <a:pt x="224" y="235"/>
                  </a:lnTo>
                  <a:lnTo>
                    <a:pt x="244" y="215"/>
                  </a:lnTo>
                  <a:lnTo>
                    <a:pt x="254" y="215"/>
                  </a:lnTo>
                  <a:lnTo>
                    <a:pt x="263" y="215"/>
                  </a:lnTo>
                  <a:lnTo>
                    <a:pt x="244" y="235"/>
                  </a:lnTo>
                  <a:lnTo>
                    <a:pt x="224" y="244"/>
                  </a:lnTo>
                  <a:lnTo>
                    <a:pt x="214" y="244"/>
                  </a:lnTo>
                  <a:lnTo>
                    <a:pt x="205" y="254"/>
                  </a:lnTo>
                  <a:lnTo>
                    <a:pt x="214" y="264"/>
                  </a:lnTo>
                  <a:lnTo>
                    <a:pt x="205" y="274"/>
                  </a:lnTo>
                  <a:lnTo>
                    <a:pt x="205" y="264"/>
                  </a:lnTo>
                  <a:lnTo>
                    <a:pt x="185" y="274"/>
                  </a:lnTo>
                  <a:lnTo>
                    <a:pt x="175" y="283"/>
                  </a:lnTo>
                  <a:lnTo>
                    <a:pt x="175" y="303"/>
                  </a:lnTo>
                  <a:lnTo>
                    <a:pt x="175" y="313"/>
                  </a:lnTo>
                  <a:lnTo>
                    <a:pt x="166" y="322"/>
                  </a:lnTo>
                  <a:lnTo>
                    <a:pt x="166" y="342"/>
                  </a:lnTo>
                  <a:lnTo>
                    <a:pt x="166" y="361"/>
                  </a:lnTo>
                  <a:lnTo>
                    <a:pt x="156" y="391"/>
                  </a:lnTo>
                  <a:lnTo>
                    <a:pt x="156" y="410"/>
                  </a:lnTo>
                  <a:lnTo>
                    <a:pt x="146" y="430"/>
                  </a:lnTo>
                  <a:lnTo>
                    <a:pt x="136" y="439"/>
                  </a:lnTo>
                  <a:lnTo>
                    <a:pt x="107" y="439"/>
                  </a:lnTo>
                  <a:lnTo>
                    <a:pt x="88" y="439"/>
                  </a:lnTo>
                  <a:lnTo>
                    <a:pt x="78" y="439"/>
                  </a:lnTo>
                  <a:lnTo>
                    <a:pt x="58" y="439"/>
                  </a:lnTo>
                  <a:lnTo>
                    <a:pt x="39" y="430"/>
                  </a:lnTo>
                  <a:lnTo>
                    <a:pt x="29" y="420"/>
                  </a:lnTo>
                  <a:lnTo>
                    <a:pt x="19" y="410"/>
                  </a:lnTo>
                  <a:lnTo>
                    <a:pt x="29" y="391"/>
                  </a:lnTo>
                  <a:lnTo>
                    <a:pt x="29" y="381"/>
                  </a:lnTo>
                  <a:lnTo>
                    <a:pt x="29" y="371"/>
                  </a:lnTo>
                  <a:lnTo>
                    <a:pt x="29" y="352"/>
                  </a:lnTo>
                  <a:lnTo>
                    <a:pt x="29" y="332"/>
                  </a:lnTo>
                  <a:lnTo>
                    <a:pt x="29" y="322"/>
                  </a:lnTo>
                  <a:lnTo>
                    <a:pt x="19" y="313"/>
                  </a:lnTo>
                  <a:lnTo>
                    <a:pt x="10" y="293"/>
                  </a:lnTo>
                  <a:lnTo>
                    <a:pt x="10" y="274"/>
                  </a:lnTo>
                  <a:lnTo>
                    <a:pt x="0" y="244"/>
                  </a:lnTo>
                  <a:lnTo>
                    <a:pt x="0" y="235"/>
                  </a:lnTo>
                  <a:lnTo>
                    <a:pt x="10" y="225"/>
                  </a:lnTo>
                  <a:lnTo>
                    <a:pt x="19" y="215"/>
                  </a:lnTo>
                  <a:lnTo>
                    <a:pt x="29" y="205"/>
                  </a:lnTo>
                  <a:lnTo>
                    <a:pt x="49" y="215"/>
                  </a:lnTo>
                  <a:lnTo>
                    <a:pt x="68" y="205"/>
                  </a:lnTo>
                  <a:lnTo>
                    <a:pt x="78" y="196"/>
                  </a:lnTo>
                  <a:lnTo>
                    <a:pt x="78" y="205"/>
                  </a:lnTo>
                  <a:lnTo>
                    <a:pt x="88" y="225"/>
                  </a:lnTo>
                  <a:close/>
                </a:path>
              </a:pathLst>
            </a:custGeom>
            <a:solidFill>
              <a:srgbClr val="548DD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41" name="Freeform 128"/>
            <p:cNvSpPr>
              <a:spLocks/>
            </p:cNvSpPr>
            <p:nvPr/>
          </p:nvSpPr>
          <p:spPr bwMode="auto">
            <a:xfrm>
              <a:off x="956" y="3070"/>
              <a:ext cx="302" cy="442"/>
            </a:xfrm>
            <a:custGeom>
              <a:avLst/>
              <a:gdLst/>
              <a:ahLst/>
              <a:cxnLst>
                <a:cxn ang="0">
                  <a:pos x="97" y="225"/>
                </a:cxn>
                <a:cxn ang="0">
                  <a:pos x="127" y="205"/>
                </a:cxn>
                <a:cxn ang="0">
                  <a:pos x="127" y="176"/>
                </a:cxn>
                <a:cxn ang="0">
                  <a:pos x="146" y="176"/>
                </a:cxn>
                <a:cxn ang="0">
                  <a:pos x="175" y="166"/>
                </a:cxn>
                <a:cxn ang="0">
                  <a:pos x="185" y="137"/>
                </a:cxn>
                <a:cxn ang="0">
                  <a:pos x="156" y="137"/>
                </a:cxn>
                <a:cxn ang="0">
                  <a:pos x="156" y="117"/>
                </a:cxn>
                <a:cxn ang="0">
                  <a:pos x="146" y="98"/>
                </a:cxn>
                <a:cxn ang="0">
                  <a:pos x="156" y="59"/>
                </a:cxn>
                <a:cxn ang="0">
                  <a:pos x="127" y="39"/>
                </a:cxn>
                <a:cxn ang="0">
                  <a:pos x="156" y="49"/>
                </a:cxn>
                <a:cxn ang="0">
                  <a:pos x="166" y="20"/>
                </a:cxn>
                <a:cxn ang="0">
                  <a:pos x="175" y="10"/>
                </a:cxn>
                <a:cxn ang="0">
                  <a:pos x="214" y="20"/>
                </a:cxn>
                <a:cxn ang="0">
                  <a:pos x="234" y="0"/>
                </a:cxn>
                <a:cxn ang="0">
                  <a:pos x="283" y="78"/>
                </a:cxn>
                <a:cxn ang="0">
                  <a:pos x="302" y="78"/>
                </a:cxn>
                <a:cxn ang="0">
                  <a:pos x="293" y="98"/>
                </a:cxn>
                <a:cxn ang="0">
                  <a:pos x="273" y="108"/>
                </a:cxn>
                <a:cxn ang="0">
                  <a:pos x="254" y="117"/>
                </a:cxn>
                <a:cxn ang="0">
                  <a:pos x="263" y="137"/>
                </a:cxn>
                <a:cxn ang="0">
                  <a:pos x="254" y="156"/>
                </a:cxn>
                <a:cxn ang="0">
                  <a:pos x="254" y="176"/>
                </a:cxn>
                <a:cxn ang="0">
                  <a:pos x="244" y="215"/>
                </a:cxn>
                <a:cxn ang="0">
                  <a:pos x="224" y="225"/>
                </a:cxn>
                <a:cxn ang="0">
                  <a:pos x="224" y="235"/>
                </a:cxn>
                <a:cxn ang="0">
                  <a:pos x="254" y="215"/>
                </a:cxn>
                <a:cxn ang="0">
                  <a:pos x="244" y="235"/>
                </a:cxn>
                <a:cxn ang="0">
                  <a:pos x="214" y="244"/>
                </a:cxn>
                <a:cxn ang="0">
                  <a:pos x="205" y="254"/>
                </a:cxn>
                <a:cxn ang="0">
                  <a:pos x="205" y="274"/>
                </a:cxn>
                <a:cxn ang="0">
                  <a:pos x="185" y="274"/>
                </a:cxn>
                <a:cxn ang="0">
                  <a:pos x="175" y="303"/>
                </a:cxn>
                <a:cxn ang="0">
                  <a:pos x="166" y="322"/>
                </a:cxn>
                <a:cxn ang="0">
                  <a:pos x="166" y="361"/>
                </a:cxn>
                <a:cxn ang="0">
                  <a:pos x="156" y="410"/>
                </a:cxn>
                <a:cxn ang="0">
                  <a:pos x="136" y="439"/>
                </a:cxn>
                <a:cxn ang="0">
                  <a:pos x="88" y="439"/>
                </a:cxn>
                <a:cxn ang="0">
                  <a:pos x="58" y="439"/>
                </a:cxn>
                <a:cxn ang="0">
                  <a:pos x="29" y="420"/>
                </a:cxn>
                <a:cxn ang="0">
                  <a:pos x="29" y="391"/>
                </a:cxn>
                <a:cxn ang="0">
                  <a:pos x="29" y="371"/>
                </a:cxn>
                <a:cxn ang="0">
                  <a:pos x="29" y="332"/>
                </a:cxn>
                <a:cxn ang="0">
                  <a:pos x="19" y="313"/>
                </a:cxn>
                <a:cxn ang="0">
                  <a:pos x="10" y="274"/>
                </a:cxn>
                <a:cxn ang="0">
                  <a:pos x="0" y="235"/>
                </a:cxn>
                <a:cxn ang="0">
                  <a:pos x="19" y="215"/>
                </a:cxn>
                <a:cxn ang="0">
                  <a:pos x="49" y="215"/>
                </a:cxn>
                <a:cxn ang="0">
                  <a:pos x="78" y="196"/>
                </a:cxn>
              </a:cxnLst>
              <a:rect l="0" t="0" r="r" b="b"/>
              <a:pathLst>
                <a:path w="302" h="439">
                  <a:moveTo>
                    <a:pt x="88" y="225"/>
                  </a:moveTo>
                  <a:lnTo>
                    <a:pt x="97" y="225"/>
                  </a:lnTo>
                  <a:lnTo>
                    <a:pt x="107" y="215"/>
                  </a:lnTo>
                  <a:lnTo>
                    <a:pt x="127" y="205"/>
                  </a:lnTo>
                  <a:lnTo>
                    <a:pt x="117" y="186"/>
                  </a:lnTo>
                  <a:lnTo>
                    <a:pt x="127" y="176"/>
                  </a:lnTo>
                  <a:lnTo>
                    <a:pt x="127" y="166"/>
                  </a:lnTo>
                  <a:lnTo>
                    <a:pt x="146" y="176"/>
                  </a:lnTo>
                  <a:lnTo>
                    <a:pt x="166" y="166"/>
                  </a:lnTo>
                  <a:lnTo>
                    <a:pt x="175" y="166"/>
                  </a:lnTo>
                  <a:lnTo>
                    <a:pt x="185" y="156"/>
                  </a:lnTo>
                  <a:lnTo>
                    <a:pt x="185" y="137"/>
                  </a:lnTo>
                  <a:lnTo>
                    <a:pt x="175" y="137"/>
                  </a:lnTo>
                  <a:lnTo>
                    <a:pt x="156" y="137"/>
                  </a:lnTo>
                  <a:lnTo>
                    <a:pt x="156" y="127"/>
                  </a:lnTo>
                  <a:lnTo>
                    <a:pt x="156" y="117"/>
                  </a:lnTo>
                  <a:lnTo>
                    <a:pt x="156" y="98"/>
                  </a:lnTo>
                  <a:lnTo>
                    <a:pt x="146" y="98"/>
                  </a:lnTo>
                  <a:lnTo>
                    <a:pt x="146" y="88"/>
                  </a:lnTo>
                  <a:lnTo>
                    <a:pt x="156" y="59"/>
                  </a:lnTo>
                  <a:lnTo>
                    <a:pt x="136" y="59"/>
                  </a:lnTo>
                  <a:lnTo>
                    <a:pt x="127" y="39"/>
                  </a:lnTo>
                  <a:lnTo>
                    <a:pt x="146" y="39"/>
                  </a:lnTo>
                  <a:lnTo>
                    <a:pt x="156" y="49"/>
                  </a:lnTo>
                  <a:lnTo>
                    <a:pt x="166" y="30"/>
                  </a:lnTo>
                  <a:lnTo>
                    <a:pt x="166" y="20"/>
                  </a:lnTo>
                  <a:lnTo>
                    <a:pt x="166" y="10"/>
                  </a:lnTo>
                  <a:lnTo>
                    <a:pt x="175" y="10"/>
                  </a:lnTo>
                  <a:lnTo>
                    <a:pt x="195" y="20"/>
                  </a:lnTo>
                  <a:lnTo>
                    <a:pt x="214" y="20"/>
                  </a:lnTo>
                  <a:lnTo>
                    <a:pt x="224" y="20"/>
                  </a:lnTo>
                  <a:lnTo>
                    <a:pt x="234" y="0"/>
                  </a:lnTo>
                  <a:lnTo>
                    <a:pt x="254" y="30"/>
                  </a:lnTo>
                  <a:lnTo>
                    <a:pt x="283" y="78"/>
                  </a:lnTo>
                  <a:lnTo>
                    <a:pt x="293" y="69"/>
                  </a:lnTo>
                  <a:lnTo>
                    <a:pt x="302" y="78"/>
                  </a:lnTo>
                  <a:lnTo>
                    <a:pt x="293" y="88"/>
                  </a:lnTo>
                  <a:lnTo>
                    <a:pt x="293" y="98"/>
                  </a:lnTo>
                  <a:lnTo>
                    <a:pt x="293" y="108"/>
                  </a:lnTo>
                  <a:lnTo>
                    <a:pt x="273" y="108"/>
                  </a:lnTo>
                  <a:lnTo>
                    <a:pt x="263" y="108"/>
                  </a:lnTo>
                  <a:lnTo>
                    <a:pt x="254" y="117"/>
                  </a:lnTo>
                  <a:lnTo>
                    <a:pt x="254" y="127"/>
                  </a:lnTo>
                  <a:lnTo>
                    <a:pt x="263" y="137"/>
                  </a:lnTo>
                  <a:lnTo>
                    <a:pt x="254" y="147"/>
                  </a:lnTo>
                  <a:lnTo>
                    <a:pt x="254" y="156"/>
                  </a:lnTo>
                  <a:lnTo>
                    <a:pt x="263" y="166"/>
                  </a:lnTo>
                  <a:lnTo>
                    <a:pt x="254" y="176"/>
                  </a:lnTo>
                  <a:lnTo>
                    <a:pt x="254" y="196"/>
                  </a:lnTo>
                  <a:lnTo>
                    <a:pt x="244" y="215"/>
                  </a:lnTo>
                  <a:lnTo>
                    <a:pt x="244" y="225"/>
                  </a:lnTo>
                  <a:lnTo>
                    <a:pt x="224" y="225"/>
                  </a:lnTo>
                  <a:lnTo>
                    <a:pt x="214" y="235"/>
                  </a:lnTo>
                  <a:lnTo>
                    <a:pt x="224" y="235"/>
                  </a:lnTo>
                  <a:lnTo>
                    <a:pt x="244" y="215"/>
                  </a:lnTo>
                  <a:lnTo>
                    <a:pt x="254" y="215"/>
                  </a:lnTo>
                  <a:lnTo>
                    <a:pt x="263" y="215"/>
                  </a:lnTo>
                  <a:lnTo>
                    <a:pt x="244" y="235"/>
                  </a:lnTo>
                  <a:lnTo>
                    <a:pt x="224" y="244"/>
                  </a:lnTo>
                  <a:lnTo>
                    <a:pt x="214" y="244"/>
                  </a:lnTo>
                  <a:lnTo>
                    <a:pt x="205" y="254"/>
                  </a:lnTo>
                  <a:lnTo>
                    <a:pt x="214" y="264"/>
                  </a:lnTo>
                  <a:lnTo>
                    <a:pt x="205" y="274"/>
                  </a:lnTo>
                  <a:lnTo>
                    <a:pt x="205" y="264"/>
                  </a:lnTo>
                  <a:lnTo>
                    <a:pt x="185" y="274"/>
                  </a:lnTo>
                  <a:lnTo>
                    <a:pt x="175" y="283"/>
                  </a:lnTo>
                  <a:lnTo>
                    <a:pt x="175" y="303"/>
                  </a:lnTo>
                  <a:lnTo>
                    <a:pt x="175" y="313"/>
                  </a:lnTo>
                  <a:lnTo>
                    <a:pt x="166" y="322"/>
                  </a:lnTo>
                  <a:lnTo>
                    <a:pt x="166" y="342"/>
                  </a:lnTo>
                  <a:lnTo>
                    <a:pt x="166" y="361"/>
                  </a:lnTo>
                  <a:lnTo>
                    <a:pt x="156" y="391"/>
                  </a:lnTo>
                  <a:lnTo>
                    <a:pt x="156" y="410"/>
                  </a:lnTo>
                  <a:lnTo>
                    <a:pt x="146" y="430"/>
                  </a:lnTo>
                  <a:lnTo>
                    <a:pt x="136" y="439"/>
                  </a:lnTo>
                  <a:lnTo>
                    <a:pt x="107" y="439"/>
                  </a:lnTo>
                  <a:lnTo>
                    <a:pt x="88" y="439"/>
                  </a:lnTo>
                  <a:lnTo>
                    <a:pt x="78" y="439"/>
                  </a:lnTo>
                  <a:lnTo>
                    <a:pt x="58" y="439"/>
                  </a:lnTo>
                  <a:lnTo>
                    <a:pt x="39" y="430"/>
                  </a:lnTo>
                  <a:lnTo>
                    <a:pt x="29" y="420"/>
                  </a:lnTo>
                  <a:lnTo>
                    <a:pt x="19" y="410"/>
                  </a:lnTo>
                  <a:lnTo>
                    <a:pt x="29" y="391"/>
                  </a:lnTo>
                  <a:lnTo>
                    <a:pt x="29" y="381"/>
                  </a:lnTo>
                  <a:lnTo>
                    <a:pt x="29" y="371"/>
                  </a:lnTo>
                  <a:lnTo>
                    <a:pt x="29" y="352"/>
                  </a:lnTo>
                  <a:lnTo>
                    <a:pt x="29" y="332"/>
                  </a:lnTo>
                  <a:lnTo>
                    <a:pt x="29" y="322"/>
                  </a:lnTo>
                  <a:lnTo>
                    <a:pt x="19" y="313"/>
                  </a:lnTo>
                  <a:lnTo>
                    <a:pt x="10" y="293"/>
                  </a:lnTo>
                  <a:lnTo>
                    <a:pt x="10" y="274"/>
                  </a:lnTo>
                  <a:lnTo>
                    <a:pt x="0" y="244"/>
                  </a:lnTo>
                  <a:lnTo>
                    <a:pt x="0" y="235"/>
                  </a:lnTo>
                  <a:lnTo>
                    <a:pt x="10" y="225"/>
                  </a:lnTo>
                  <a:lnTo>
                    <a:pt x="19" y="215"/>
                  </a:lnTo>
                  <a:lnTo>
                    <a:pt x="29" y="205"/>
                  </a:lnTo>
                  <a:lnTo>
                    <a:pt x="49" y="215"/>
                  </a:lnTo>
                  <a:lnTo>
                    <a:pt x="68" y="205"/>
                  </a:lnTo>
                  <a:lnTo>
                    <a:pt x="78" y="196"/>
                  </a:lnTo>
                  <a:lnTo>
                    <a:pt x="78" y="205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US" sz="1100">
                <a:latin typeface="Polo" pitchFamily="2" charset="0"/>
                <a:cs typeface="+mn-cs"/>
              </a:endParaRPr>
            </a:p>
          </p:txBody>
        </p:sp>
      </p:grpSp>
      <p:sp>
        <p:nvSpPr>
          <p:cNvPr id="242" name="Freeform 126"/>
          <p:cNvSpPr>
            <a:spLocks/>
          </p:cNvSpPr>
          <p:nvPr>
            <p:custDataLst>
              <p:tags r:id="rId178"/>
            </p:custDataLst>
          </p:nvPr>
        </p:nvSpPr>
        <p:spPr bwMode="auto">
          <a:xfrm>
            <a:off x="3771900" y="4524375"/>
            <a:ext cx="461963" cy="327025"/>
          </a:xfrm>
          <a:custGeom>
            <a:avLst/>
            <a:gdLst/>
            <a:ahLst/>
            <a:cxnLst>
              <a:cxn ang="0">
                <a:pos x="263" y="517"/>
              </a:cxn>
              <a:cxn ang="0">
                <a:pos x="283" y="497"/>
              </a:cxn>
              <a:cxn ang="0">
                <a:pos x="293" y="468"/>
              </a:cxn>
              <a:cxn ang="0">
                <a:pos x="312" y="449"/>
              </a:cxn>
              <a:cxn ang="0">
                <a:pos x="322" y="449"/>
              </a:cxn>
              <a:cxn ang="0">
                <a:pos x="332" y="429"/>
              </a:cxn>
              <a:cxn ang="0">
                <a:pos x="342" y="429"/>
              </a:cxn>
              <a:cxn ang="0">
                <a:pos x="342" y="410"/>
              </a:cxn>
              <a:cxn ang="0">
                <a:pos x="361" y="400"/>
              </a:cxn>
              <a:cxn ang="0">
                <a:pos x="361" y="390"/>
              </a:cxn>
              <a:cxn ang="0">
                <a:pos x="400" y="390"/>
              </a:cxn>
              <a:cxn ang="0">
                <a:pos x="410" y="371"/>
              </a:cxn>
              <a:cxn ang="0">
                <a:pos x="390" y="312"/>
              </a:cxn>
              <a:cxn ang="0">
                <a:pos x="351" y="293"/>
              </a:cxn>
              <a:cxn ang="0">
                <a:pos x="381" y="293"/>
              </a:cxn>
              <a:cxn ang="0">
                <a:pos x="390" y="283"/>
              </a:cxn>
              <a:cxn ang="0">
                <a:pos x="390" y="234"/>
              </a:cxn>
              <a:cxn ang="0">
                <a:pos x="439" y="185"/>
              </a:cxn>
              <a:cxn ang="0">
                <a:pos x="449" y="215"/>
              </a:cxn>
              <a:cxn ang="0">
                <a:pos x="449" y="244"/>
              </a:cxn>
              <a:cxn ang="0">
                <a:pos x="468" y="254"/>
              </a:cxn>
              <a:cxn ang="0">
                <a:pos x="507" y="293"/>
              </a:cxn>
              <a:cxn ang="0">
                <a:pos x="546" y="293"/>
              </a:cxn>
              <a:cxn ang="0">
                <a:pos x="595" y="302"/>
              </a:cxn>
              <a:cxn ang="0">
                <a:pos x="624" y="312"/>
              </a:cxn>
              <a:cxn ang="0">
                <a:pos x="654" y="293"/>
              </a:cxn>
              <a:cxn ang="0">
                <a:pos x="683" y="283"/>
              </a:cxn>
              <a:cxn ang="0">
                <a:pos x="663" y="263"/>
              </a:cxn>
              <a:cxn ang="0">
                <a:pos x="624" y="234"/>
              </a:cxn>
              <a:cxn ang="0">
                <a:pos x="585" y="205"/>
              </a:cxn>
              <a:cxn ang="0">
                <a:pos x="585" y="175"/>
              </a:cxn>
              <a:cxn ang="0">
                <a:pos x="566" y="166"/>
              </a:cxn>
              <a:cxn ang="0">
                <a:pos x="566" y="136"/>
              </a:cxn>
              <a:cxn ang="0">
                <a:pos x="537" y="68"/>
              </a:cxn>
              <a:cxn ang="0">
                <a:pos x="498" y="39"/>
              </a:cxn>
              <a:cxn ang="0">
                <a:pos x="468" y="19"/>
              </a:cxn>
              <a:cxn ang="0">
                <a:pos x="449" y="0"/>
              </a:cxn>
              <a:cxn ang="0">
                <a:pos x="420" y="0"/>
              </a:cxn>
              <a:cxn ang="0">
                <a:pos x="410" y="19"/>
              </a:cxn>
              <a:cxn ang="0">
                <a:pos x="361" y="29"/>
              </a:cxn>
              <a:cxn ang="0">
                <a:pos x="332" y="49"/>
              </a:cxn>
              <a:cxn ang="0">
                <a:pos x="303" y="49"/>
              </a:cxn>
              <a:cxn ang="0">
                <a:pos x="263" y="39"/>
              </a:cxn>
              <a:cxn ang="0">
                <a:pos x="234" y="39"/>
              </a:cxn>
              <a:cxn ang="0">
                <a:pos x="215" y="68"/>
              </a:cxn>
              <a:cxn ang="0">
                <a:pos x="176" y="58"/>
              </a:cxn>
              <a:cxn ang="0">
                <a:pos x="166" y="117"/>
              </a:cxn>
              <a:cxn ang="0">
                <a:pos x="107" y="117"/>
              </a:cxn>
              <a:cxn ang="0">
                <a:pos x="49" y="146"/>
              </a:cxn>
              <a:cxn ang="0">
                <a:pos x="49" y="185"/>
              </a:cxn>
              <a:cxn ang="0">
                <a:pos x="0" y="224"/>
              </a:cxn>
              <a:cxn ang="0">
                <a:pos x="10" y="263"/>
              </a:cxn>
              <a:cxn ang="0">
                <a:pos x="29" y="312"/>
              </a:cxn>
              <a:cxn ang="0">
                <a:pos x="78" y="341"/>
              </a:cxn>
              <a:cxn ang="0">
                <a:pos x="88" y="380"/>
              </a:cxn>
              <a:cxn ang="0">
                <a:pos x="127" y="410"/>
              </a:cxn>
              <a:cxn ang="0">
                <a:pos x="146" y="419"/>
              </a:cxn>
              <a:cxn ang="0">
                <a:pos x="166" y="468"/>
              </a:cxn>
              <a:cxn ang="0">
                <a:pos x="195" y="468"/>
              </a:cxn>
              <a:cxn ang="0">
                <a:pos x="205" y="478"/>
              </a:cxn>
              <a:cxn ang="0">
                <a:pos x="234" y="517"/>
              </a:cxn>
              <a:cxn ang="0">
                <a:pos x="254" y="517"/>
              </a:cxn>
            </a:cxnLst>
            <a:rect l="0" t="0" r="r" b="b"/>
            <a:pathLst>
              <a:path w="693" h="527">
                <a:moveTo>
                  <a:pt x="263" y="517"/>
                </a:moveTo>
                <a:lnTo>
                  <a:pt x="263" y="517"/>
                </a:lnTo>
                <a:lnTo>
                  <a:pt x="263" y="497"/>
                </a:lnTo>
                <a:lnTo>
                  <a:pt x="283" y="497"/>
                </a:lnTo>
                <a:lnTo>
                  <a:pt x="293" y="488"/>
                </a:lnTo>
                <a:lnTo>
                  <a:pt x="293" y="468"/>
                </a:lnTo>
                <a:lnTo>
                  <a:pt x="293" y="458"/>
                </a:lnTo>
                <a:lnTo>
                  <a:pt x="312" y="449"/>
                </a:lnTo>
                <a:lnTo>
                  <a:pt x="322" y="449"/>
                </a:lnTo>
                <a:lnTo>
                  <a:pt x="322" y="429"/>
                </a:lnTo>
                <a:lnTo>
                  <a:pt x="332" y="429"/>
                </a:lnTo>
                <a:lnTo>
                  <a:pt x="342" y="429"/>
                </a:lnTo>
                <a:lnTo>
                  <a:pt x="332" y="419"/>
                </a:lnTo>
                <a:lnTo>
                  <a:pt x="342" y="410"/>
                </a:lnTo>
                <a:lnTo>
                  <a:pt x="361" y="410"/>
                </a:lnTo>
                <a:lnTo>
                  <a:pt x="361" y="400"/>
                </a:lnTo>
                <a:lnTo>
                  <a:pt x="361" y="390"/>
                </a:lnTo>
                <a:lnTo>
                  <a:pt x="381" y="410"/>
                </a:lnTo>
                <a:lnTo>
                  <a:pt x="400" y="390"/>
                </a:lnTo>
                <a:lnTo>
                  <a:pt x="410" y="380"/>
                </a:lnTo>
                <a:lnTo>
                  <a:pt x="410" y="371"/>
                </a:lnTo>
                <a:lnTo>
                  <a:pt x="400" y="332"/>
                </a:lnTo>
                <a:lnTo>
                  <a:pt x="390" y="312"/>
                </a:lnTo>
                <a:lnTo>
                  <a:pt x="361" y="312"/>
                </a:lnTo>
                <a:lnTo>
                  <a:pt x="351" y="293"/>
                </a:lnTo>
                <a:lnTo>
                  <a:pt x="361" y="293"/>
                </a:lnTo>
                <a:lnTo>
                  <a:pt x="381" y="293"/>
                </a:lnTo>
                <a:lnTo>
                  <a:pt x="390" y="293"/>
                </a:lnTo>
                <a:lnTo>
                  <a:pt x="390" y="283"/>
                </a:lnTo>
                <a:lnTo>
                  <a:pt x="390" y="254"/>
                </a:lnTo>
                <a:lnTo>
                  <a:pt x="390" y="234"/>
                </a:lnTo>
                <a:lnTo>
                  <a:pt x="420" y="205"/>
                </a:lnTo>
                <a:lnTo>
                  <a:pt x="439" y="185"/>
                </a:lnTo>
                <a:lnTo>
                  <a:pt x="449" y="195"/>
                </a:lnTo>
                <a:lnTo>
                  <a:pt x="449" y="215"/>
                </a:lnTo>
                <a:lnTo>
                  <a:pt x="449" y="234"/>
                </a:lnTo>
                <a:lnTo>
                  <a:pt x="449" y="244"/>
                </a:lnTo>
                <a:lnTo>
                  <a:pt x="449" y="254"/>
                </a:lnTo>
                <a:lnTo>
                  <a:pt x="468" y="254"/>
                </a:lnTo>
                <a:lnTo>
                  <a:pt x="488" y="263"/>
                </a:lnTo>
                <a:lnTo>
                  <a:pt x="507" y="293"/>
                </a:lnTo>
                <a:lnTo>
                  <a:pt x="527" y="293"/>
                </a:lnTo>
                <a:lnTo>
                  <a:pt x="546" y="293"/>
                </a:lnTo>
                <a:lnTo>
                  <a:pt x="566" y="283"/>
                </a:lnTo>
                <a:lnTo>
                  <a:pt x="595" y="302"/>
                </a:lnTo>
                <a:lnTo>
                  <a:pt x="605" y="312"/>
                </a:lnTo>
                <a:lnTo>
                  <a:pt x="624" y="312"/>
                </a:lnTo>
                <a:lnTo>
                  <a:pt x="644" y="302"/>
                </a:lnTo>
                <a:lnTo>
                  <a:pt x="654" y="293"/>
                </a:lnTo>
                <a:lnTo>
                  <a:pt x="663" y="283"/>
                </a:lnTo>
                <a:lnTo>
                  <a:pt x="683" y="283"/>
                </a:lnTo>
                <a:lnTo>
                  <a:pt x="693" y="273"/>
                </a:lnTo>
                <a:lnTo>
                  <a:pt x="663" y="263"/>
                </a:lnTo>
                <a:lnTo>
                  <a:pt x="654" y="254"/>
                </a:lnTo>
                <a:lnTo>
                  <a:pt x="624" y="234"/>
                </a:lnTo>
                <a:lnTo>
                  <a:pt x="605" y="224"/>
                </a:lnTo>
                <a:lnTo>
                  <a:pt x="585" y="205"/>
                </a:lnTo>
                <a:lnTo>
                  <a:pt x="576" y="185"/>
                </a:lnTo>
                <a:lnTo>
                  <a:pt x="585" y="175"/>
                </a:lnTo>
                <a:lnTo>
                  <a:pt x="585" y="166"/>
                </a:lnTo>
                <a:lnTo>
                  <a:pt x="566" y="166"/>
                </a:lnTo>
                <a:lnTo>
                  <a:pt x="566" y="156"/>
                </a:lnTo>
                <a:lnTo>
                  <a:pt x="566" y="136"/>
                </a:lnTo>
                <a:lnTo>
                  <a:pt x="566" y="107"/>
                </a:lnTo>
                <a:lnTo>
                  <a:pt x="537" y="68"/>
                </a:lnTo>
                <a:lnTo>
                  <a:pt x="517" y="49"/>
                </a:lnTo>
                <a:lnTo>
                  <a:pt x="498" y="39"/>
                </a:lnTo>
                <a:lnTo>
                  <a:pt x="478" y="29"/>
                </a:lnTo>
                <a:lnTo>
                  <a:pt x="468" y="19"/>
                </a:lnTo>
                <a:lnTo>
                  <a:pt x="449" y="19"/>
                </a:lnTo>
                <a:lnTo>
                  <a:pt x="449" y="0"/>
                </a:lnTo>
                <a:lnTo>
                  <a:pt x="429" y="0"/>
                </a:lnTo>
                <a:lnTo>
                  <a:pt x="420" y="0"/>
                </a:lnTo>
                <a:lnTo>
                  <a:pt x="420" y="10"/>
                </a:lnTo>
                <a:lnTo>
                  <a:pt x="410" y="19"/>
                </a:lnTo>
                <a:lnTo>
                  <a:pt x="381" y="29"/>
                </a:lnTo>
                <a:lnTo>
                  <a:pt x="361" y="29"/>
                </a:lnTo>
                <a:lnTo>
                  <a:pt x="361" y="49"/>
                </a:lnTo>
                <a:lnTo>
                  <a:pt x="332" y="49"/>
                </a:lnTo>
                <a:lnTo>
                  <a:pt x="322" y="39"/>
                </a:lnTo>
                <a:lnTo>
                  <a:pt x="303" y="49"/>
                </a:lnTo>
                <a:lnTo>
                  <a:pt x="283" y="49"/>
                </a:lnTo>
                <a:lnTo>
                  <a:pt x="263" y="39"/>
                </a:lnTo>
                <a:lnTo>
                  <a:pt x="254" y="39"/>
                </a:lnTo>
                <a:lnTo>
                  <a:pt x="234" y="39"/>
                </a:lnTo>
                <a:lnTo>
                  <a:pt x="234" y="68"/>
                </a:lnTo>
                <a:lnTo>
                  <a:pt x="215" y="68"/>
                </a:lnTo>
                <a:lnTo>
                  <a:pt x="176" y="39"/>
                </a:lnTo>
                <a:lnTo>
                  <a:pt x="176" y="58"/>
                </a:lnTo>
                <a:lnTo>
                  <a:pt x="166" y="88"/>
                </a:lnTo>
                <a:lnTo>
                  <a:pt x="166" y="117"/>
                </a:lnTo>
                <a:lnTo>
                  <a:pt x="127" y="117"/>
                </a:lnTo>
                <a:lnTo>
                  <a:pt x="107" y="117"/>
                </a:lnTo>
                <a:lnTo>
                  <a:pt x="59" y="117"/>
                </a:lnTo>
                <a:lnTo>
                  <a:pt x="49" y="146"/>
                </a:lnTo>
                <a:lnTo>
                  <a:pt x="49" y="166"/>
                </a:lnTo>
                <a:lnTo>
                  <a:pt x="49" y="185"/>
                </a:lnTo>
                <a:lnTo>
                  <a:pt x="20" y="205"/>
                </a:lnTo>
                <a:lnTo>
                  <a:pt x="0" y="224"/>
                </a:lnTo>
                <a:lnTo>
                  <a:pt x="0" y="244"/>
                </a:lnTo>
                <a:lnTo>
                  <a:pt x="10" y="263"/>
                </a:lnTo>
                <a:lnTo>
                  <a:pt x="20" y="283"/>
                </a:lnTo>
                <a:lnTo>
                  <a:pt x="29" y="312"/>
                </a:lnTo>
                <a:lnTo>
                  <a:pt x="49" y="332"/>
                </a:lnTo>
                <a:lnTo>
                  <a:pt x="78" y="341"/>
                </a:lnTo>
                <a:lnTo>
                  <a:pt x="88" y="361"/>
                </a:lnTo>
                <a:lnTo>
                  <a:pt x="88" y="380"/>
                </a:lnTo>
                <a:lnTo>
                  <a:pt x="107" y="390"/>
                </a:lnTo>
                <a:lnTo>
                  <a:pt x="127" y="410"/>
                </a:lnTo>
                <a:lnTo>
                  <a:pt x="146" y="400"/>
                </a:lnTo>
                <a:lnTo>
                  <a:pt x="146" y="419"/>
                </a:lnTo>
                <a:lnTo>
                  <a:pt x="156" y="429"/>
                </a:lnTo>
                <a:lnTo>
                  <a:pt x="166" y="468"/>
                </a:lnTo>
                <a:lnTo>
                  <a:pt x="185" y="468"/>
                </a:lnTo>
                <a:lnTo>
                  <a:pt x="195" y="468"/>
                </a:lnTo>
                <a:lnTo>
                  <a:pt x="195" y="478"/>
                </a:lnTo>
                <a:lnTo>
                  <a:pt x="205" y="478"/>
                </a:lnTo>
                <a:lnTo>
                  <a:pt x="215" y="497"/>
                </a:lnTo>
                <a:lnTo>
                  <a:pt x="234" y="517"/>
                </a:lnTo>
                <a:lnTo>
                  <a:pt x="244" y="527"/>
                </a:lnTo>
                <a:lnTo>
                  <a:pt x="254" y="517"/>
                </a:lnTo>
                <a:lnTo>
                  <a:pt x="263" y="51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en-US" sz="1100">
              <a:latin typeface="Polo" pitchFamily="2" charset="0"/>
              <a:cs typeface="+mn-cs"/>
            </a:endParaRPr>
          </a:p>
        </p:txBody>
      </p:sp>
      <p:sp>
        <p:nvSpPr>
          <p:cNvPr id="18613" name="Freeform 125"/>
          <p:cNvSpPr>
            <a:spLocks noChangeAspect="1"/>
          </p:cNvSpPr>
          <p:nvPr>
            <p:custDataLst>
              <p:tags r:id="rId179"/>
            </p:custDataLst>
          </p:nvPr>
        </p:nvSpPr>
        <p:spPr bwMode="auto">
          <a:xfrm>
            <a:off x="3935413" y="4638675"/>
            <a:ext cx="296862" cy="382588"/>
          </a:xfrm>
          <a:custGeom>
            <a:avLst/>
            <a:gdLst>
              <a:gd name="T0" fmla="*/ 109753 w 449"/>
              <a:gd name="T1" fmla="*/ 121308 h 615"/>
              <a:gd name="T2" fmla="*/ 96530 w 449"/>
              <a:gd name="T3" fmla="*/ 79006 h 615"/>
              <a:gd name="T4" fmla="*/ 77356 w 449"/>
              <a:gd name="T5" fmla="*/ 67186 h 615"/>
              <a:gd name="T6" fmla="*/ 96530 w 449"/>
              <a:gd name="T7" fmla="*/ 60965 h 615"/>
              <a:gd name="T8" fmla="*/ 116365 w 449"/>
              <a:gd name="T9" fmla="*/ 12442 h 615"/>
              <a:gd name="T10" fmla="*/ 135538 w 449"/>
              <a:gd name="T11" fmla="*/ 18663 h 615"/>
              <a:gd name="T12" fmla="*/ 135538 w 449"/>
              <a:gd name="T13" fmla="*/ 42924 h 615"/>
              <a:gd name="T14" fmla="*/ 179836 w 449"/>
              <a:gd name="T15" fmla="*/ 67186 h 615"/>
              <a:gd name="T16" fmla="*/ 212233 w 449"/>
              <a:gd name="T17" fmla="*/ 60965 h 615"/>
              <a:gd name="T18" fmla="*/ 250581 w 449"/>
              <a:gd name="T19" fmla="*/ 79006 h 615"/>
              <a:gd name="T20" fmla="*/ 276366 w 449"/>
              <a:gd name="T21" fmla="*/ 60965 h 615"/>
              <a:gd name="T22" fmla="*/ 296201 w 449"/>
              <a:gd name="T23" fmla="*/ 67186 h 615"/>
              <a:gd name="T24" fmla="*/ 276366 w 449"/>
              <a:gd name="T25" fmla="*/ 79006 h 615"/>
              <a:gd name="T26" fmla="*/ 276366 w 449"/>
              <a:gd name="T27" fmla="*/ 91448 h 615"/>
              <a:gd name="T28" fmla="*/ 296201 w 449"/>
              <a:gd name="T29" fmla="*/ 115709 h 615"/>
              <a:gd name="T30" fmla="*/ 276366 w 449"/>
              <a:gd name="T31" fmla="*/ 139971 h 615"/>
              <a:gd name="T32" fmla="*/ 282978 w 449"/>
              <a:gd name="T33" fmla="*/ 182273 h 615"/>
              <a:gd name="T34" fmla="*/ 270416 w 449"/>
              <a:gd name="T35" fmla="*/ 206535 h 615"/>
              <a:gd name="T36" fmla="*/ 270416 w 449"/>
              <a:gd name="T37" fmla="*/ 230796 h 615"/>
              <a:gd name="T38" fmla="*/ 257192 w 449"/>
              <a:gd name="T39" fmla="*/ 237017 h 615"/>
              <a:gd name="T40" fmla="*/ 224795 w 449"/>
              <a:gd name="T41" fmla="*/ 237017 h 615"/>
              <a:gd name="T42" fmla="*/ 212233 w 449"/>
              <a:gd name="T43" fmla="*/ 255058 h 615"/>
              <a:gd name="T44" fmla="*/ 199010 w 449"/>
              <a:gd name="T45" fmla="*/ 267500 h 615"/>
              <a:gd name="T46" fmla="*/ 199010 w 449"/>
              <a:gd name="T47" fmla="*/ 303581 h 615"/>
              <a:gd name="T48" fmla="*/ 212233 w 449"/>
              <a:gd name="T49" fmla="*/ 327843 h 615"/>
              <a:gd name="T50" fmla="*/ 193060 w 449"/>
              <a:gd name="T51" fmla="*/ 340285 h 615"/>
              <a:gd name="T52" fmla="*/ 186448 w 449"/>
              <a:gd name="T53" fmla="*/ 364546 h 615"/>
              <a:gd name="T54" fmla="*/ 167274 w 449"/>
              <a:gd name="T55" fmla="*/ 376366 h 615"/>
              <a:gd name="T56" fmla="*/ 128927 w 449"/>
              <a:gd name="T57" fmla="*/ 376366 h 615"/>
              <a:gd name="T58" fmla="*/ 109753 w 449"/>
              <a:gd name="T59" fmla="*/ 382587 h 615"/>
              <a:gd name="T60" fmla="*/ 90579 w 449"/>
              <a:gd name="T61" fmla="*/ 370145 h 615"/>
              <a:gd name="T62" fmla="*/ 70744 w 449"/>
              <a:gd name="T63" fmla="*/ 370145 h 615"/>
              <a:gd name="T64" fmla="*/ 83968 w 449"/>
              <a:gd name="T65" fmla="*/ 345884 h 615"/>
              <a:gd name="T66" fmla="*/ 103141 w 449"/>
              <a:gd name="T67" fmla="*/ 340285 h 615"/>
              <a:gd name="T68" fmla="*/ 83968 w 449"/>
              <a:gd name="T69" fmla="*/ 340285 h 615"/>
              <a:gd name="T70" fmla="*/ 70744 w 449"/>
              <a:gd name="T71" fmla="*/ 321622 h 615"/>
              <a:gd name="T72" fmla="*/ 58182 w 449"/>
              <a:gd name="T73" fmla="*/ 327843 h 615"/>
              <a:gd name="T74" fmla="*/ 51571 w 449"/>
              <a:gd name="T75" fmla="*/ 316023 h 615"/>
              <a:gd name="T76" fmla="*/ 51571 w 449"/>
              <a:gd name="T77" fmla="*/ 297360 h 615"/>
              <a:gd name="T78" fmla="*/ 44959 w 449"/>
              <a:gd name="T79" fmla="*/ 303581 h 615"/>
              <a:gd name="T80" fmla="*/ 32397 w 449"/>
              <a:gd name="T81" fmla="*/ 297360 h 615"/>
              <a:gd name="T82" fmla="*/ 12562 w 449"/>
              <a:gd name="T83" fmla="*/ 297360 h 615"/>
              <a:gd name="T84" fmla="*/ 0 w 449"/>
              <a:gd name="T85" fmla="*/ 291761 h 615"/>
              <a:gd name="T86" fmla="*/ 12562 w 449"/>
              <a:gd name="T87" fmla="*/ 267500 h 615"/>
              <a:gd name="T88" fmla="*/ 19174 w 449"/>
              <a:gd name="T89" fmla="*/ 248837 h 615"/>
              <a:gd name="T90" fmla="*/ 25785 w 449"/>
              <a:gd name="T91" fmla="*/ 218355 h 615"/>
              <a:gd name="T92" fmla="*/ 19174 w 449"/>
              <a:gd name="T93" fmla="*/ 194093 h 615"/>
              <a:gd name="T94" fmla="*/ 32397 w 449"/>
              <a:gd name="T95" fmla="*/ 182273 h 615"/>
              <a:gd name="T96" fmla="*/ 51571 w 449"/>
              <a:gd name="T97" fmla="*/ 169831 h 615"/>
              <a:gd name="T98" fmla="*/ 58182 w 449"/>
              <a:gd name="T99" fmla="*/ 158012 h 615"/>
              <a:gd name="T100" fmla="*/ 64794 w 449"/>
              <a:gd name="T101" fmla="*/ 145570 h 615"/>
              <a:gd name="T102" fmla="*/ 77356 w 449"/>
              <a:gd name="T103" fmla="*/ 133750 h 615"/>
              <a:gd name="T104" fmla="*/ 90579 w 449"/>
              <a:gd name="T105" fmla="*/ 139971 h 615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449"/>
              <a:gd name="T160" fmla="*/ 0 h 615"/>
              <a:gd name="T161" fmla="*/ 449 w 449"/>
              <a:gd name="T162" fmla="*/ 615 h 615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449" h="615">
                <a:moveTo>
                  <a:pt x="137" y="225"/>
                </a:moveTo>
                <a:lnTo>
                  <a:pt x="156" y="215"/>
                </a:lnTo>
                <a:lnTo>
                  <a:pt x="166" y="195"/>
                </a:lnTo>
                <a:lnTo>
                  <a:pt x="166" y="186"/>
                </a:lnTo>
                <a:lnTo>
                  <a:pt x="156" y="156"/>
                </a:lnTo>
                <a:lnTo>
                  <a:pt x="146" y="127"/>
                </a:lnTo>
                <a:lnTo>
                  <a:pt x="127" y="127"/>
                </a:lnTo>
                <a:lnTo>
                  <a:pt x="107" y="117"/>
                </a:lnTo>
                <a:lnTo>
                  <a:pt x="117" y="108"/>
                </a:lnTo>
                <a:lnTo>
                  <a:pt x="137" y="108"/>
                </a:lnTo>
                <a:lnTo>
                  <a:pt x="146" y="108"/>
                </a:lnTo>
                <a:lnTo>
                  <a:pt x="146" y="98"/>
                </a:lnTo>
                <a:lnTo>
                  <a:pt x="146" y="69"/>
                </a:lnTo>
                <a:lnTo>
                  <a:pt x="146" y="59"/>
                </a:lnTo>
                <a:lnTo>
                  <a:pt x="176" y="20"/>
                </a:lnTo>
                <a:lnTo>
                  <a:pt x="195" y="0"/>
                </a:lnTo>
                <a:lnTo>
                  <a:pt x="205" y="20"/>
                </a:lnTo>
                <a:lnTo>
                  <a:pt x="205" y="30"/>
                </a:lnTo>
                <a:lnTo>
                  <a:pt x="205" y="49"/>
                </a:lnTo>
                <a:lnTo>
                  <a:pt x="205" y="59"/>
                </a:lnTo>
                <a:lnTo>
                  <a:pt x="205" y="69"/>
                </a:lnTo>
                <a:lnTo>
                  <a:pt x="224" y="69"/>
                </a:lnTo>
                <a:lnTo>
                  <a:pt x="244" y="78"/>
                </a:lnTo>
                <a:lnTo>
                  <a:pt x="273" y="108"/>
                </a:lnTo>
                <a:lnTo>
                  <a:pt x="283" y="117"/>
                </a:lnTo>
                <a:lnTo>
                  <a:pt x="302" y="108"/>
                </a:lnTo>
                <a:lnTo>
                  <a:pt x="322" y="98"/>
                </a:lnTo>
                <a:lnTo>
                  <a:pt x="351" y="117"/>
                </a:lnTo>
                <a:lnTo>
                  <a:pt x="361" y="127"/>
                </a:lnTo>
                <a:lnTo>
                  <a:pt x="380" y="127"/>
                </a:lnTo>
                <a:lnTo>
                  <a:pt x="400" y="117"/>
                </a:lnTo>
                <a:lnTo>
                  <a:pt x="410" y="117"/>
                </a:lnTo>
                <a:lnTo>
                  <a:pt x="419" y="98"/>
                </a:lnTo>
                <a:lnTo>
                  <a:pt x="439" y="98"/>
                </a:lnTo>
                <a:lnTo>
                  <a:pt x="449" y="88"/>
                </a:lnTo>
                <a:lnTo>
                  <a:pt x="449" y="108"/>
                </a:lnTo>
                <a:lnTo>
                  <a:pt x="439" y="117"/>
                </a:lnTo>
                <a:lnTo>
                  <a:pt x="429" y="117"/>
                </a:lnTo>
                <a:lnTo>
                  <a:pt x="419" y="127"/>
                </a:lnTo>
                <a:lnTo>
                  <a:pt x="429" y="137"/>
                </a:lnTo>
                <a:lnTo>
                  <a:pt x="429" y="147"/>
                </a:lnTo>
                <a:lnTo>
                  <a:pt x="419" y="147"/>
                </a:lnTo>
                <a:lnTo>
                  <a:pt x="419" y="156"/>
                </a:lnTo>
                <a:lnTo>
                  <a:pt x="439" y="166"/>
                </a:lnTo>
                <a:lnTo>
                  <a:pt x="449" y="186"/>
                </a:lnTo>
                <a:lnTo>
                  <a:pt x="429" y="195"/>
                </a:lnTo>
                <a:lnTo>
                  <a:pt x="429" y="215"/>
                </a:lnTo>
                <a:lnTo>
                  <a:pt x="419" y="225"/>
                </a:lnTo>
                <a:lnTo>
                  <a:pt x="429" y="244"/>
                </a:lnTo>
                <a:lnTo>
                  <a:pt x="429" y="254"/>
                </a:lnTo>
                <a:lnTo>
                  <a:pt x="429" y="293"/>
                </a:lnTo>
                <a:lnTo>
                  <a:pt x="429" y="312"/>
                </a:lnTo>
                <a:lnTo>
                  <a:pt x="429" y="332"/>
                </a:lnTo>
                <a:lnTo>
                  <a:pt x="410" y="332"/>
                </a:lnTo>
                <a:lnTo>
                  <a:pt x="400" y="332"/>
                </a:lnTo>
                <a:lnTo>
                  <a:pt x="390" y="351"/>
                </a:lnTo>
                <a:lnTo>
                  <a:pt x="410" y="371"/>
                </a:lnTo>
                <a:lnTo>
                  <a:pt x="410" y="381"/>
                </a:lnTo>
                <a:lnTo>
                  <a:pt x="400" y="381"/>
                </a:lnTo>
                <a:lnTo>
                  <a:pt x="390" y="381"/>
                </a:lnTo>
                <a:lnTo>
                  <a:pt x="380" y="371"/>
                </a:lnTo>
                <a:lnTo>
                  <a:pt x="371" y="381"/>
                </a:lnTo>
                <a:lnTo>
                  <a:pt x="341" y="381"/>
                </a:lnTo>
                <a:lnTo>
                  <a:pt x="332" y="391"/>
                </a:lnTo>
                <a:lnTo>
                  <a:pt x="332" y="410"/>
                </a:lnTo>
                <a:lnTo>
                  <a:pt x="322" y="410"/>
                </a:lnTo>
                <a:lnTo>
                  <a:pt x="312" y="410"/>
                </a:lnTo>
                <a:lnTo>
                  <a:pt x="312" y="430"/>
                </a:lnTo>
                <a:lnTo>
                  <a:pt x="302" y="430"/>
                </a:lnTo>
                <a:lnTo>
                  <a:pt x="293" y="449"/>
                </a:lnTo>
                <a:lnTo>
                  <a:pt x="293" y="469"/>
                </a:lnTo>
                <a:lnTo>
                  <a:pt x="302" y="488"/>
                </a:lnTo>
                <a:lnTo>
                  <a:pt x="312" y="498"/>
                </a:lnTo>
                <a:lnTo>
                  <a:pt x="322" y="517"/>
                </a:lnTo>
                <a:lnTo>
                  <a:pt x="322" y="527"/>
                </a:lnTo>
                <a:lnTo>
                  <a:pt x="312" y="527"/>
                </a:lnTo>
                <a:lnTo>
                  <a:pt x="302" y="527"/>
                </a:lnTo>
                <a:lnTo>
                  <a:pt x="293" y="547"/>
                </a:lnTo>
                <a:lnTo>
                  <a:pt x="293" y="566"/>
                </a:lnTo>
                <a:lnTo>
                  <a:pt x="283" y="576"/>
                </a:lnTo>
                <a:lnTo>
                  <a:pt x="283" y="586"/>
                </a:lnTo>
                <a:lnTo>
                  <a:pt x="273" y="586"/>
                </a:lnTo>
                <a:lnTo>
                  <a:pt x="273" y="595"/>
                </a:lnTo>
                <a:lnTo>
                  <a:pt x="254" y="605"/>
                </a:lnTo>
                <a:lnTo>
                  <a:pt x="244" y="605"/>
                </a:lnTo>
                <a:lnTo>
                  <a:pt x="215" y="605"/>
                </a:lnTo>
                <a:lnTo>
                  <a:pt x="195" y="605"/>
                </a:lnTo>
                <a:lnTo>
                  <a:pt x="185" y="605"/>
                </a:lnTo>
                <a:lnTo>
                  <a:pt x="185" y="615"/>
                </a:lnTo>
                <a:lnTo>
                  <a:pt x="166" y="615"/>
                </a:lnTo>
                <a:lnTo>
                  <a:pt x="166" y="605"/>
                </a:lnTo>
                <a:lnTo>
                  <a:pt x="156" y="605"/>
                </a:lnTo>
                <a:lnTo>
                  <a:pt x="137" y="595"/>
                </a:lnTo>
                <a:lnTo>
                  <a:pt x="127" y="595"/>
                </a:lnTo>
                <a:lnTo>
                  <a:pt x="117" y="595"/>
                </a:lnTo>
                <a:lnTo>
                  <a:pt x="107" y="595"/>
                </a:lnTo>
                <a:lnTo>
                  <a:pt x="107" y="576"/>
                </a:lnTo>
                <a:lnTo>
                  <a:pt x="107" y="566"/>
                </a:lnTo>
                <a:lnTo>
                  <a:pt x="127" y="556"/>
                </a:lnTo>
                <a:lnTo>
                  <a:pt x="137" y="556"/>
                </a:lnTo>
                <a:lnTo>
                  <a:pt x="156" y="556"/>
                </a:lnTo>
                <a:lnTo>
                  <a:pt x="156" y="547"/>
                </a:lnTo>
                <a:lnTo>
                  <a:pt x="146" y="547"/>
                </a:lnTo>
                <a:lnTo>
                  <a:pt x="137" y="547"/>
                </a:lnTo>
                <a:lnTo>
                  <a:pt x="127" y="547"/>
                </a:lnTo>
                <a:lnTo>
                  <a:pt x="117" y="537"/>
                </a:lnTo>
                <a:lnTo>
                  <a:pt x="107" y="527"/>
                </a:lnTo>
                <a:lnTo>
                  <a:pt x="107" y="517"/>
                </a:lnTo>
                <a:lnTo>
                  <a:pt x="98" y="508"/>
                </a:lnTo>
                <a:lnTo>
                  <a:pt x="88" y="517"/>
                </a:lnTo>
                <a:lnTo>
                  <a:pt x="88" y="527"/>
                </a:lnTo>
                <a:lnTo>
                  <a:pt x="78" y="517"/>
                </a:lnTo>
                <a:lnTo>
                  <a:pt x="68" y="517"/>
                </a:lnTo>
                <a:lnTo>
                  <a:pt x="78" y="508"/>
                </a:lnTo>
                <a:lnTo>
                  <a:pt x="78" y="498"/>
                </a:lnTo>
                <a:lnTo>
                  <a:pt x="78" y="488"/>
                </a:lnTo>
                <a:lnTo>
                  <a:pt x="78" y="478"/>
                </a:lnTo>
                <a:lnTo>
                  <a:pt x="68" y="478"/>
                </a:lnTo>
                <a:lnTo>
                  <a:pt x="68" y="488"/>
                </a:lnTo>
                <a:lnTo>
                  <a:pt x="59" y="488"/>
                </a:lnTo>
                <a:lnTo>
                  <a:pt x="49" y="478"/>
                </a:lnTo>
                <a:lnTo>
                  <a:pt x="39" y="478"/>
                </a:lnTo>
                <a:lnTo>
                  <a:pt x="29" y="488"/>
                </a:lnTo>
                <a:lnTo>
                  <a:pt x="19" y="478"/>
                </a:lnTo>
                <a:lnTo>
                  <a:pt x="19" y="469"/>
                </a:lnTo>
                <a:lnTo>
                  <a:pt x="10" y="469"/>
                </a:lnTo>
                <a:lnTo>
                  <a:pt x="0" y="469"/>
                </a:lnTo>
                <a:lnTo>
                  <a:pt x="0" y="459"/>
                </a:lnTo>
                <a:lnTo>
                  <a:pt x="10" y="439"/>
                </a:lnTo>
                <a:lnTo>
                  <a:pt x="19" y="430"/>
                </a:lnTo>
                <a:lnTo>
                  <a:pt x="19" y="420"/>
                </a:lnTo>
                <a:lnTo>
                  <a:pt x="39" y="410"/>
                </a:lnTo>
                <a:lnTo>
                  <a:pt x="29" y="400"/>
                </a:lnTo>
                <a:lnTo>
                  <a:pt x="29" y="381"/>
                </a:lnTo>
                <a:lnTo>
                  <a:pt x="29" y="371"/>
                </a:lnTo>
                <a:lnTo>
                  <a:pt x="39" y="351"/>
                </a:lnTo>
                <a:lnTo>
                  <a:pt x="39" y="332"/>
                </a:lnTo>
                <a:lnTo>
                  <a:pt x="19" y="332"/>
                </a:lnTo>
                <a:lnTo>
                  <a:pt x="29" y="312"/>
                </a:lnTo>
                <a:lnTo>
                  <a:pt x="39" y="312"/>
                </a:lnTo>
                <a:lnTo>
                  <a:pt x="49" y="303"/>
                </a:lnTo>
                <a:lnTo>
                  <a:pt x="49" y="293"/>
                </a:lnTo>
                <a:lnTo>
                  <a:pt x="49" y="273"/>
                </a:lnTo>
                <a:lnTo>
                  <a:pt x="68" y="273"/>
                </a:lnTo>
                <a:lnTo>
                  <a:pt x="78" y="273"/>
                </a:lnTo>
                <a:lnTo>
                  <a:pt x="78" y="264"/>
                </a:lnTo>
                <a:lnTo>
                  <a:pt x="78" y="254"/>
                </a:lnTo>
                <a:lnTo>
                  <a:pt x="88" y="254"/>
                </a:lnTo>
                <a:lnTo>
                  <a:pt x="98" y="254"/>
                </a:lnTo>
                <a:lnTo>
                  <a:pt x="98" y="244"/>
                </a:lnTo>
                <a:lnTo>
                  <a:pt x="98" y="234"/>
                </a:lnTo>
                <a:lnTo>
                  <a:pt x="117" y="225"/>
                </a:lnTo>
                <a:lnTo>
                  <a:pt x="117" y="215"/>
                </a:lnTo>
                <a:lnTo>
                  <a:pt x="127" y="205"/>
                </a:lnTo>
                <a:lnTo>
                  <a:pt x="137" y="225"/>
                </a:lnTo>
                <a:close/>
              </a:path>
            </a:pathLst>
          </a:custGeom>
          <a:solidFill>
            <a:srgbClr val="C0C0C0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614" name="Freeform 124"/>
          <p:cNvSpPr>
            <a:spLocks noChangeAspect="1"/>
          </p:cNvSpPr>
          <p:nvPr>
            <p:custDataLst>
              <p:tags r:id="rId180"/>
            </p:custDataLst>
          </p:nvPr>
        </p:nvSpPr>
        <p:spPr bwMode="auto">
          <a:xfrm>
            <a:off x="4214813" y="4572000"/>
            <a:ext cx="566737" cy="420688"/>
          </a:xfrm>
          <a:custGeom>
            <a:avLst/>
            <a:gdLst>
              <a:gd name="T0" fmla="*/ 383833 w 849"/>
              <a:gd name="T1" fmla="*/ 403810 h 673"/>
              <a:gd name="T2" fmla="*/ 409866 w 849"/>
              <a:gd name="T3" fmla="*/ 391308 h 673"/>
              <a:gd name="T4" fmla="*/ 442576 w 849"/>
              <a:gd name="T5" fmla="*/ 397559 h 673"/>
              <a:gd name="T6" fmla="*/ 474617 w 849"/>
              <a:gd name="T7" fmla="*/ 397559 h 673"/>
              <a:gd name="T8" fmla="*/ 507326 w 849"/>
              <a:gd name="T9" fmla="*/ 385682 h 673"/>
              <a:gd name="T10" fmla="*/ 520677 w 849"/>
              <a:gd name="T11" fmla="*/ 379431 h 673"/>
              <a:gd name="T12" fmla="*/ 520677 w 849"/>
              <a:gd name="T13" fmla="*/ 361303 h 673"/>
              <a:gd name="T14" fmla="*/ 533360 w 849"/>
              <a:gd name="T15" fmla="*/ 355052 h 673"/>
              <a:gd name="T16" fmla="*/ 546711 w 849"/>
              <a:gd name="T17" fmla="*/ 342551 h 673"/>
              <a:gd name="T18" fmla="*/ 559394 w 849"/>
              <a:gd name="T19" fmla="*/ 311921 h 673"/>
              <a:gd name="T20" fmla="*/ 527352 w 849"/>
              <a:gd name="T21" fmla="*/ 286917 h 673"/>
              <a:gd name="T22" fmla="*/ 514002 w 849"/>
              <a:gd name="T23" fmla="*/ 256913 h 673"/>
              <a:gd name="T24" fmla="*/ 553386 w 849"/>
              <a:gd name="T25" fmla="*/ 238160 h 673"/>
              <a:gd name="T26" fmla="*/ 546711 w 849"/>
              <a:gd name="T27" fmla="*/ 213782 h 673"/>
              <a:gd name="T28" fmla="*/ 527352 w 849"/>
              <a:gd name="T29" fmla="*/ 213782 h 673"/>
              <a:gd name="T30" fmla="*/ 500651 w 849"/>
              <a:gd name="T31" fmla="*/ 171275 h 673"/>
              <a:gd name="T32" fmla="*/ 487968 w 849"/>
              <a:gd name="T33" fmla="*/ 153148 h 673"/>
              <a:gd name="T34" fmla="*/ 435900 w 849"/>
              <a:gd name="T35" fmla="*/ 153148 h 673"/>
              <a:gd name="T36" fmla="*/ 409866 w 849"/>
              <a:gd name="T37" fmla="*/ 128769 h 673"/>
              <a:gd name="T38" fmla="*/ 422550 w 849"/>
              <a:gd name="T39" fmla="*/ 103765 h 673"/>
              <a:gd name="T40" fmla="*/ 422550 w 849"/>
              <a:gd name="T41" fmla="*/ 79387 h 673"/>
              <a:gd name="T42" fmla="*/ 396516 w 849"/>
              <a:gd name="T43" fmla="*/ 66885 h 673"/>
              <a:gd name="T44" fmla="*/ 364474 w 849"/>
              <a:gd name="T45" fmla="*/ 60634 h 673"/>
              <a:gd name="T46" fmla="*/ 344448 w 849"/>
              <a:gd name="T47" fmla="*/ 73136 h 673"/>
              <a:gd name="T48" fmla="*/ 312406 w 849"/>
              <a:gd name="T49" fmla="*/ 66885 h 673"/>
              <a:gd name="T50" fmla="*/ 286372 w 849"/>
              <a:gd name="T51" fmla="*/ 55008 h 673"/>
              <a:gd name="T52" fmla="*/ 273689 w 849"/>
              <a:gd name="T53" fmla="*/ 42506 h 673"/>
              <a:gd name="T54" fmla="*/ 247655 w 849"/>
              <a:gd name="T55" fmla="*/ 42506 h 673"/>
              <a:gd name="T56" fmla="*/ 195588 w 849"/>
              <a:gd name="T57" fmla="*/ 18128 h 673"/>
              <a:gd name="T58" fmla="*/ 176229 w 849"/>
              <a:gd name="T59" fmla="*/ 6251 h 673"/>
              <a:gd name="T60" fmla="*/ 156871 w 849"/>
              <a:gd name="T61" fmla="*/ 0 h 673"/>
              <a:gd name="T62" fmla="*/ 136845 w 849"/>
              <a:gd name="T63" fmla="*/ 18128 h 673"/>
              <a:gd name="T64" fmla="*/ 117486 w 849"/>
              <a:gd name="T65" fmla="*/ 42506 h 673"/>
              <a:gd name="T66" fmla="*/ 104135 w 849"/>
              <a:gd name="T67" fmla="*/ 73136 h 673"/>
              <a:gd name="T68" fmla="*/ 72094 w 849"/>
              <a:gd name="T69" fmla="*/ 85638 h 673"/>
              <a:gd name="T70" fmla="*/ 52068 w 849"/>
              <a:gd name="T71" fmla="*/ 110641 h 673"/>
              <a:gd name="T72" fmla="*/ 20026 w 849"/>
              <a:gd name="T73" fmla="*/ 135020 h 673"/>
              <a:gd name="T74" fmla="*/ 6675 w 849"/>
              <a:gd name="T75" fmla="*/ 146897 h 673"/>
              <a:gd name="T76" fmla="*/ 0 w 849"/>
              <a:gd name="T77" fmla="*/ 159398 h 673"/>
              <a:gd name="T78" fmla="*/ 20026 w 849"/>
              <a:gd name="T79" fmla="*/ 183777 h 673"/>
              <a:gd name="T80" fmla="*/ 6675 w 849"/>
              <a:gd name="T81" fmla="*/ 208156 h 673"/>
              <a:gd name="T82" fmla="*/ 20026 w 849"/>
              <a:gd name="T83" fmla="*/ 232534 h 673"/>
              <a:gd name="T84" fmla="*/ 58743 w 849"/>
              <a:gd name="T85" fmla="*/ 250662 h 673"/>
              <a:gd name="T86" fmla="*/ 104135 w 849"/>
              <a:gd name="T87" fmla="*/ 268790 h 673"/>
              <a:gd name="T88" fmla="*/ 143520 w 849"/>
              <a:gd name="T89" fmla="*/ 299419 h 673"/>
              <a:gd name="T90" fmla="*/ 169554 w 849"/>
              <a:gd name="T91" fmla="*/ 330674 h 673"/>
              <a:gd name="T92" fmla="*/ 208938 w 849"/>
              <a:gd name="T93" fmla="*/ 330674 h 673"/>
              <a:gd name="T94" fmla="*/ 221622 w 849"/>
              <a:gd name="T95" fmla="*/ 361303 h 673"/>
              <a:gd name="T96" fmla="*/ 254331 w 849"/>
              <a:gd name="T97" fmla="*/ 366929 h 673"/>
              <a:gd name="T98" fmla="*/ 273689 w 849"/>
              <a:gd name="T99" fmla="*/ 361303 h 673"/>
              <a:gd name="T100" fmla="*/ 280365 w 849"/>
              <a:gd name="T101" fmla="*/ 379431 h 673"/>
              <a:gd name="T102" fmla="*/ 280365 w 849"/>
              <a:gd name="T103" fmla="*/ 410060 h 673"/>
              <a:gd name="T104" fmla="*/ 286372 w 849"/>
              <a:gd name="T105" fmla="*/ 421937 h 673"/>
              <a:gd name="T106" fmla="*/ 305731 w 849"/>
              <a:gd name="T107" fmla="*/ 410060 h 673"/>
              <a:gd name="T108" fmla="*/ 338440 w 849"/>
              <a:gd name="T109" fmla="*/ 410060 h 673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849"/>
              <a:gd name="T166" fmla="*/ 0 h 673"/>
              <a:gd name="T167" fmla="*/ 849 w 849"/>
              <a:gd name="T168" fmla="*/ 673 h 673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849" h="673">
                <a:moveTo>
                  <a:pt x="537" y="644"/>
                </a:moveTo>
                <a:lnTo>
                  <a:pt x="566" y="654"/>
                </a:lnTo>
                <a:lnTo>
                  <a:pt x="576" y="644"/>
                </a:lnTo>
                <a:lnTo>
                  <a:pt x="576" y="634"/>
                </a:lnTo>
                <a:lnTo>
                  <a:pt x="595" y="624"/>
                </a:lnTo>
                <a:lnTo>
                  <a:pt x="615" y="624"/>
                </a:lnTo>
                <a:lnTo>
                  <a:pt x="634" y="624"/>
                </a:lnTo>
                <a:lnTo>
                  <a:pt x="664" y="634"/>
                </a:lnTo>
                <a:lnTo>
                  <a:pt x="683" y="634"/>
                </a:lnTo>
                <a:lnTo>
                  <a:pt x="703" y="624"/>
                </a:lnTo>
                <a:lnTo>
                  <a:pt x="712" y="634"/>
                </a:lnTo>
                <a:lnTo>
                  <a:pt x="732" y="624"/>
                </a:lnTo>
                <a:lnTo>
                  <a:pt x="751" y="624"/>
                </a:lnTo>
                <a:lnTo>
                  <a:pt x="761" y="615"/>
                </a:lnTo>
                <a:lnTo>
                  <a:pt x="771" y="624"/>
                </a:lnTo>
                <a:lnTo>
                  <a:pt x="781" y="634"/>
                </a:lnTo>
                <a:lnTo>
                  <a:pt x="781" y="605"/>
                </a:lnTo>
                <a:lnTo>
                  <a:pt x="791" y="585"/>
                </a:lnTo>
                <a:lnTo>
                  <a:pt x="781" y="576"/>
                </a:lnTo>
                <a:lnTo>
                  <a:pt x="791" y="566"/>
                </a:lnTo>
                <a:lnTo>
                  <a:pt x="800" y="576"/>
                </a:lnTo>
                <a:lnTo>
                  <a:pt x="800" y="566"/>
                </a:lnTo>
                <a:lnTo>
                  <a:pt x="810" y="546"/>
                </a:lnTo>
                <a:lnTo>
                  <a:pt x="820" y="546"/>
                </a:lnTo>
                <a:lnTo>
                  <a:pt x="830" y="537"/>
                </a:lnTo>
                <a:lnTo>
                  <a:pt x="849" y="517"/>
                </a:lnTo>
                <a:lnTo>
                  <a:pt x="839" y="498"/>
                </a:lnTo>
                <a:lnTo>
                  <a:pt x="820" y="478"/>
                </a:lnTo>
                <a:lnTo>
                  <a:pt x="810" y="468"/>
                </a:lnTo>
                <a:lnTo>
                  <a:pt x="791" y="458"/>
                </a:lnTo>
                <a:lnTo>
                  <a:pt x="781" y="458"/>
                </a:lnTo>
                <a:lnTo>
                  <a:pt x="771" y="449"/>
                </a:lnTo>
                <a:lnTo>
                  <a:pt x="771" y="410"/>
                </a:lnTo>
                <a:lnTo>
                  <a:pt x="791" y="400"/>
                </a:lnTo>
                <a:lnTo>
                  <a:pt x="810" y="390"/>
                </a:lnTo>
                <a:lnTo>
                  <a:pt x="830" y="380"/>
                </a:lnTo>
                <a:lnTo>
                  <a:pt x="830" y="371"/>
                </a:lnTo>
                <a:lnTo>
                  <a:pt x="820" y="351"/>
                </a:lnTo>
                <a:lnTo>
                  <a:pt x="820" y="341"/>
                </a:lnTo>
                <a:lnTo>
                  <a:pt x="810" y="332"/>
                </a:lnTo>
                <a:lnTo>
                  <a:pt x="800" y="341"/>
                </a:lnTo>
                <a:lnTo>
                  <a:pt x="791" y="341"/>
                </a:lnTo>
                <a:lnTo>
                  <a:pt x="781" y="293"/>
                </a:lnTo>
                <a:lnTo>
                  <a:pt x="761" y="273"/>
                </a:lnTo>
                <a:lnTo>
                  <a:pt x="751" y="273"/>
                </a:lnTo>
                <a:lnTo>
                  <a:pt x="751" y="263"/>
                </a:lnTo>
                <a:lnTo>
                  <a:pt x="751" y="254"/>
                </a:lnTo>
                <a:lnTo>
                  <a:pt x="732" y="244"/>
                </a:lnTo>
                <a:lnTo>
                  <a:pt x="703" y="244"/>
                </a:lnTo>
                <a:lnTo>
                  <a:pt x="673" y="234"/>
                </a:lnTo>
                <a:lnTo>
                  <a:pt x="654" y="244"/>
                </a:lnTo>
                <a:lnTo>
                  <a:pt x="644" y="244"/>
                </a:lnTo>
                <a:lnTo>
                  <a:pt x="615" y="224"/>
                </a:lnTo>
                <a:lnTo>
                  <a:pt x="615" y="205"/>
                </a:lnTo>
                <a:lnTo>
                  <a:pt x="634" y="195"/>
                </a:lnTo>
                <a:lnTo>
                  <a:pt x="634" y="185"/>
                </a:lnTo>
                <a:lnTo>
                  <a:pt x="634" y="166"/>
                </a:lnTo>
                <a:lnTo>
                  <a:pt x="634" y="146"/>
                </a:lnTo>
                <a:lnTo>
                  <a:pt x="625" y="137"/>
                </a:lnTo>
                <a:lnTo>
                  <a:pt x="634" y="127"/>
                </a:lnTo>
                <a:lnTo>
                  <a:pt x="615" y="117"/>
                </a:lnTo>
                <a:lnTo>
                  <a:pt x="595" y="107"/>
                </a:lnTo>
                <a:lnTo>
                  <a:pt x="586" y="97"/>
                </a:lnTo>
                <a:lnTo>
                  <a:pt x="566" y="88"/>
                </a:lnTo>
                <a:lnTo>
                  <a:pt x="547" y="97"/>
                </a:lnTo>
                <a:lnTo>
                  <a:pt x="527" y="97"/>
                </a:lnTo>
                <a:lnTo>
                  <a:pt x="517" y="107"/>
                </a:lnTo>
                <a:lnTo>
                  <a:pt x="517" y="117"/>
                </a:lnTo>
                <a:lnTo>
                  <a:pt x="498" y="117"/>
                </a:lnTo>
                <a:lnTo>
                  <a:pt x="478" y="117"/>
                </a:lnTo>
                <a:lnTo>
                  <a:pt x="469" y="107"/>
                </a:lnTo>
                <a:lnTo>
                  <a:pt x="459" y="97"/>
                </a:lnTo>
                <a:lnTo>
                  <a:pt x="439" y="97"/>
                </a:lnTo>
                <a:lnTo>
                  <a:pt x="430" y="88"/>
                </a:lnTo>
                <a:lnTo>
                  <a:pt x="430" y="68"/>
                </a:lnTo>
                <a:lnTo>
                  <a:pt x="420" y="68"/>
                </a:lnTo>
                <a:lnTo>
                  <a:pt x="410" y="68"/>
                </a:lnTo>
                <a:lnTo>
                  <a:pt x="391" y="78"/>
                </a:lnTo>
                <a:lnTo>
                  <a:pt x="381" y="68"/>
                </a:lnTo>
                <a:lnTo>
                  <a:pt x="371" y="68"/>
                </a:lnTo>
                <a:lnTo>
                  <a:pt x="332" y="58"/>
                </a:lnTo>
                <a:lnTo>
                  <a:pt x="322" y="29"/>
                </a:lnTo>
                <a:lnTo>
                  <a:pt x="293" y="29"/>
                </a:lnTo>
                <a:lnTo>
                  <a:pt x="274" y="19"/>
                </a:lnTo>
                <a:lnTo>
                  <a:pt x="274" y="29"/>
                </a:lnTo>
                <a:lnTo>
                  <a:pt x="264" y="10"/>
                </a:lnTo>
                <a:lnTo>
                  <a:pt x="254" y="10"/>
                </a:lnTo>
                <a:lnTo>
                  <a:pt x="235" y="10"/>
                </a:lnTo>
                <a:lnTo>
                  <a:pt x="235" y="0"/>
                </a:lnTo>
                <a:lnTo>
                  <a:pt x="215" y="10"/>
                </a:lnTo>
                <a:lnTo>
                  <a:pt x="215" y="29"/>
                </a:lnTo>
                <a:lnTo>
                  <a:pt x="205" y="29"/>
                </a:lnTo>
                <a:lnTo>
                  <a:pt x="195" y="29"/>
                </a:lnTo>
                <a:lnTo>
                  <a:pt x="195" y="58"/>
                </a:lnTo>
                <a:lnTo>
                  <a:pt x="176" y="68"/>
                </a:lnTo>
                <a:lnTo>
                  <a:pt x="176" y="107"/>
                </a:lnTo>
                <a:lnTo>
                  <a:pt x="166" y="117"/>
                </a:lnTo>
                <a:lnTo>
                  <a:pt x="156" y="117"/>
                </a:lnTo>
                <a:lnTo>
                  <a:pt x="137" y="117"/>
                </a:lnTo>
                <a:lnTo>
                  <a:pt x="117" y="127"/>
                </a:lnTo>
                <a:lnTo>
                  <a:pt x="108" y="137"/>
                </a:lnTo>
                <a:lnTo>
                  <a:pt x="88" y="146"/>
                </a:lnTo>
                <a:lnTo>
                  <a:pt x="78" y="156"/>
                </a:lnTo>
                <a:lnTo>
                  <a:pt x="78" y="176"/>
                </a:lnTo>
                <a:lnTo>
                  <a:pt x="59" y="185"/>
                </a:lnTo>
                <a:lnTo>
                  <a:pt x="30" y="195"/>
                </a:lnTo>
                <a:lnTo>
                  <a:pt x="30" y="215"/>
                </a:lnTo>
                <a:lnTo>
                  <a:pt x="20" y="215"/>
                </a:lnTo>
                <a:lnTo>
                  <a:pt x="10" y="224"/>
                </a:lnTo>
                <a:lnTo>
                  <a:pt x="10" y="234"/>
                </a:lnTo>
                <a:lnTo>
                  <a:pt x="10" y="244"/>
                </a:lnTo>
                <a:lnTo>
                  <a:pt x="10" y="254"/>
                </a:lnTo>
                <a:lnTo>
                  <a:pt x="0" y="254"/>
                </a:lnTo>
                <a:lnTo>
                  <a:pt x="10" y="263"/>
                </a:lnTo>
                <a:lnTo>
                  <a:pt x="20" y="273"/>
                </a:lnTo>
                <a:lnTo>
                  <a:pt x="30" y="293"/>
                </a:lnTo>
                <a:lnTo>
                  <a:pt x="10" y="302"/>
                </a:lnTo>
                <a:lnTo>
                  <a:pt x="10" y="322"/>
                </a:lnTo>
                <a:lnTo>
                  <a:pt x="10" y="332"/>
                </a:lnTo>
                <a:lnTo>
                  <a:pt x="10" y="351"/>
                </a:lnTo>
                <a:lnTo>
                  <a:pt x="10" y="361"/>
                </a:lnTo>
                <a:lnTo>
                  <a:pt x="30" y="371"/>
                </a:lnTo>
                <a:lnTo>
                  <a:pt x="59" y="380"/>
                </a:lnTo>
                <a:lnTo>
                  <a:pt x="69" y="390"/>
                </a:lnTo>
                <a:lnTo>
                  <a:pt x="88" y="400"/>
                </a:lnTo>
                <a:lnTo>
                  <a:pt x="117" y="410"/>
                </a:lnTo>
                <a:lnTo>
                  <a:pt x="147" y="419"/>
                </a:lnTo>
                <a:lnTo>
                  <a:pt x="156" y="429"/>
                </a:lnTo>
                <a:lnTo>
                  <a:pt x="166" y="439"/>
                </a:lnTo>
                <a:lnTo>
                  <a:pt x="186" y="449"/>
                </a:lnTo>
                <a:lnTo>
                  <a:pt x="215" y="478"/>
                </a:lnTo>
                <a:lnTo>
                  <a:pt x="235" y="507"/>
                </a:lnTo>
                <a:lnTo>
                  <a:pt x="244" y="527"/>
                </a:lnTo>
                <a:lnTo>
                  <a:pt x="254" y="527"/>
                </a:lnTo>
                <a:lnTo>
                  <a:pt x="274" y="527"/>
                </a:lnTo>
                <a:lnTo>
                  <a:pt x="293" y="527"/>
                </a:lnTo>
                <a:lnTo>
                  <a:pt x="313" y="527"/>
                </a:lnTo>
                <a:lnTo>
                  <a:pt x="313" y="546"/>
                </a:lnTo>
                <a:lnTo>
                  <a:pt x="322" y="576"/>
                </a:lnTo>
                <a:lnTo>
                  <a:pt x="332" y="576"/>
                </a:lnTo>
                <a:lnTo>
                  <a:pt x="342" y="585"/>
                </a:lnTo>
                <a:lnTo>
                  <a:pt x="371" y="585"/>
                </a:lnTo>
                <a:lnTo>
                  <a:pt x="381" y="585"/>
                </a:lnTo>
                <a:lnTo>
                  <a:pt x="400" y="595"/>
                </a:lnTo>
                <a:lnTo>
                  <a:pt x="400" y="585"/>
                </a:lnTo>
                <a:lnTo>
                  <a:pt x="410" y="576"/>
                </a:lnTo>
                <a:lnTo>
                  <a:pt x="420" y="585"/>
                </a:lnTo>
                <a:lnTo>
                  <a:pt x="430" y="585"/>
                </a:lnTo>
                <a:lnTo>
                  <a:pt x="420" y="605"/>
                </a:lnTo>
                <a:lnTo>
                  <a:pt x="420" y="624"/>
                </a:lnTo>
                <a:lnTo>
                  <a:pt x="420" y="654"/>
                </a:lnTo>
                <a:lnTo>
                  <a:pt x="420" y="663"/>
                </a:lnTo>
                <a:lnTo>
                  <a:pt x="430" y="673"/>
                </a:lnTo>
                <a:lnTo>
                  <a:pt x="439" y="673"/>
                </a:lnTo>
                <a:lnTo>
                  <a:pt x="439" y="663"/>
                </a:lnTo>
                <a:lnTo>
                  <a:pt x="459" y="654"/>
                </a:lnTo>
                <a:lnTo>
                  <a:pt x="478" y="654"/>
                </a:lnTo>
                <a:lnTo>
                  <a:pt x="488" y="654"/>
                </a:lnTo>
                <a:lnTo>
                  <a:pt x="508" y="654"/>
                </a:lnTo>
                <a:lnTo>
                  <a:pt x="517" y="654"/>
                </a:lnTo>
                <a:lnTo>
                  <a:pt x="537" y="644"/>
                </a:lnTo>
                <a:close/>
              </a:path>
            </a:pathLst>
          </a:custGeom>
          <a:solidFill>
            <a:srgbClr val="C0C0C0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45" name="Freeform 123"/>
          <p:cNvSpPr>
            <a:spLocks/>
          </p:cNvSpPr>
          <p:nvPr>
            <p:custDataLst>
              <p:tags r:id="rId181"/>
            </p:custDataLst>
          </p:nvPr>
        </p:nvSpPr>
        <p:spPr bwMode="auto">
          <a:xfrm>
            <a:off x="2755900" y="3638550"/>
            <a:ext cx="234950" cy="204788"/>
          </a:xfrm>
          <a:custGeom>
            <a:avLst/>
            <a:gdLst/>
            <a:ahLst/>
            <a:cxnLst>
              <a:cxn ang="0">
                <a:pos x="342" y="225"/>
              </a:cxn>
              <a:cxn ang="0">
                <a:pos x="332" y="244"/>
              </a:cxn>
              <a:cxn ang="0">
                <a:pos x="342" y="264"/>
              </a:cxn>
              <a:cxn ang="0">
                <a:pos x="352" y="303"/>
              </a:cxn>
              <a:cxn ang="0">
                <a:pos x="313" y="322"/>
              </a:cxn>
              <a:cxn ang="0">
                <a:pos x="274" y="283"/>
              </a:cxn>
              <a:cxn ang="0">
                <a:pos x="244" y="274"/>
              </a:cxn>
              <a:cxn ang="0">
                <a:pos x="225" y="225"/>
              </a:cxn>
              <a:cxn ang="0">
                <a:pos x="205" y="225"/>
              </a:cxn>
              <a:cxn ang="0">
                <a:pos x="186" y="235"/>
              </a:cxn>
              <a:cxn ang="0">
                <a:pos x="147" y="235"/>
              </a:cxn>
              <a:cxn ang="0">
                <a:pos x="127" y="225"/>
              </a:cxn>
              <a:cxn ang="0">
                <a:pos x="88" y="215"/>
              </a:cxn>
              <a:cxn ang="0">
                <a:pos x="88" y="205"/>
              </a:cxn>
              <a:cxn ang="0">
                <a:pos x="49" y="186"/>
              </a:cxn>
              <a:cxn ang="0">
                <a:pos x="30" y="186"/>
              </a:cxn>
              <a:cxn ang="0">
                <a:pos x="20" y="166"/>
              </a:cxn>
              <a:cxn ang="0">
                <a:pos x="0" y="147"/>
              </a:cxn>
              <a:cxn ang="0">
                <a:pos x="20" y="127"/>
              </a:cxn>
              <a:cxn ang="0">
                <a:pos x="30" y="108"/>
              </a:cxn>
              <a:cxn ang="0">
                <a:pos x="59" y="98"/>
              </a:cxn>
              <a:cxn ang="0">
                <a:pos x="88" y="59"/>
              </a:cxn>
              <a:cxn ang="0">
                <a:pos x="78" y="10"/>
              </a:cxn>
              <a:cxn ang="0">
                <a:pos x="98" y="10"/>
              </a:cxn>
              <a:cxn ang="0">
                <a:pos x="118" y="0"/>
              </a:cxn>
              <a:cxn ang="0">
                <a:pos x="147" y="10"/>
              </a:cxn>
              <a:cxn ang="0">
                <a:pos x="166" y="10"/>
              </a:cxn>
              <a:cxn ang="0">
                <a:pos x="176" y="30"/>
              </a:cxn>
              <a:cxn ang="0">
                <a:pos x="205" y="20"/>
              </a:cxn>
              <a:cxn ang="0">
                <a:pos x="225" y="49"/>
              </a:cxn>
              <a:cxn ang="0">
                <a:pos x="274" y="49"/>
              </a:cxn>
              <a:cxn ang="0">
                <a:pos x="293" y="69"/>
              </a:cxn>
              <a:cxn ang="0">
                <a:pos x="274" y="98"/>
              </a:cxn>
              <a:cxn ang="0">
                <a:pos x="303" y="108"/>
              </a:cxn>
              <a:cxn ang="0">
                <a:pos x="332" y="127"/>
              </a:cxn>
              <a:cxn ang="0">
                <a:pos x="322" y="156"/>
              </a:cxn>
              <a:cxn ang="0">
                <a:pos x="342" y="156"/>
              </a:cxn>
              <a:cxn ang="0">
                <a:pos x="332" y="186"/>
              </a:cxn>
              <a:cxn ang="0">
                <a:pos x="342" y="215"/>
              </a:cxn>
            </a:cxnLst>
            <a:rect l="0" t="0" r="r" b="b"/>
            <a:pathLst>
              <a:path w="352" h="332">
                <a:moveTo>
                  <a:pt x="342" y="215"/>
                </a:moveTo>
                <a:lnTo>
                  <a:pt x="342" y="225"/>
                </a:lnTo>
                <a:lnTo>
                  <a:pt x="342" y="244"/>
                </a:lnTo>
                <a:lnTo>
                  <a:pt x="332" y="244"/>
                </a:lnTo>
                <a:lnTo>
                  <a:pt x="332" y="254"/>
                </a:lnTo>
                <a:lnTo>
                  <a:pt x="342" y="264"/>
                </a:lnTo>
                <a:lnTo>
                  <a:pt x="352" y="274"/>
                </a:lnTo>
                <a:lnTo>
                  <a:pt x="352" y="303"/>
                </a:lnTo>
                <a:lnTo>
                  <a:pt x="342" y="332"/>
                </a:lnTo>
                <a:lnTo>
                  <a:pt x="313" y="322"/>
                </a:lnTo>
                <a:lnTo>
                  <a:pt x="283" y="283"/>
                </a:lnTo>
                <a:lnTo>
                  <a:pt x="274" y="283"/>
                </a:lnTo>
                <a:lnTo>
                  <a:pt x="254" y="274"/>
                </a:lnTo>
                <a:lnTo>
                  <a:pt x="244" y="274"/>
                </a:lnTo>
                <a:lnTo>
                  <a:pt x="235" y="264"/>
                </a:lnTo>
                <a:lnTo>
                  <a:pt x="225" y="225"/>
                </a:lnTo>
                <a:lnTo>
                  <a:pt x="225" y="215"/>
                </a:lnTo>
                <a:lnTo>
                  <a:pt x="205" y="225"/>
                </a:lnTo>
                <a:lnTo>
                  <a:pt x="196" y="235"/>
                </a:lnTo>
                <a:lnTo>
                  <a:pt x="186" y="235"/>
                </a:lnTo>
                <a:lnTo>
                  <a:pt x="176" y="244"/>
                </a:lnTo>
                <a:lnTo>
                  <a:pt x="147" y="235"/>
                </a:lnTo>
                <a:lnTo>
                  <a:pt x="127" y="244"/>
                </a:lnTo>
                <a:lnTo>
                  <a:pt x="127" y="225"/>
                </a:lnTo>
                <a:lnTo>
                  <a:pt x="118" y="215"/>
                </a:lnTo>
                <a:lnTo>
                  <a:pt x="88" y="215"/>
                </a:lnTo>
                <a:lnTo>
                  <a:pt x="88" y="205"/>
                </a:lnTo>
                <a:lnTo>
                  <a:pt x="69" y="205"/>
                </a:lnTo>
                <a:lnTo>
                  <a:pt x="49" y="186"/>
                </a:lnTo>
                <a:lnTo>
                  <a:pt x="39" y="186"/>
                </a:lnTo>
                <a:lnTo>
                  <a:pt x="30" y="186"/>
                </a:lnTo>
                <a:lnTo>
                  <a:pt x="30" y="176"/>
                </a:lnTo>
                <a:lnTo>
                  <a:pt x="20" y="166"/>
                </a:lnTo>
                <a:lnTo>
                  <a:pt x="10" y="166"/>
                </a:lnTo>
                <a:lnTo>
                  <a:pt x="0" y="147"/>
                </a:lnTo>
                <a:lnTo>
                  <a:pt x="0" y="137"/>
                </a:lnTo>
                <a:lnTo>
                  <a:pt x="20" y="127"/>
                </a:lnTo>
                <a:lnTo>
                  <a:pt x="39" y="127"/>
                </a:lnTo>
                <a:lnTo>
                  <a:pt x="30" y="108"/>
                </a:lnTo>
                <a:lnTo>
                  <a:pt x="30" y="98"/>
                </a:lnTo>
                <a:lnTo>
                  <a:pt x="59" y="98"/>
                </a:lnTo>
                <a:lnTo>
                  <a:pt x="59" y="78"/>
                </a:lnTo>
                <a:lnTo>
                  <a:pt x="88" y="59"/>
                </a:lnTo>
                <a:lnTo>
                  <a:pt x="78" y="49"/>
                </a:lnTo>
                <a:lnTo>
                  <a:pt x="78" y="10"/>
                </a:lnTo>
                <a:lnTo>
                  <a:pt x="98" y="0"/>
                </a:lnTo>
                <a:lnTo>
                  <a:pt x="98" y="10"/>
                </a:lnTo>
                <a:lnTo>
                  <a:pt x="118" y="10"/>
                </a:lnTo>
                <a:lnTo>
                  <a:pt x="118" y="0"/>
                </a:lnTo>
                <a:lnTo>
                  <a:pt x="127" y="10"/>
                </a:lnTo>
                <a:lnTo>
                  <a:pt x="147" y="10"/>
                </a:lnTo>
                <a:lnTo>
                  <a:pt x="157" y="0"/>
                </a:lnTo>
                <a:lnTo>
                  <a:pt x="166" y="10"/>
                </a:lnTo>
                <a:lnTo>
                  <a:pt x="166" y="20"/>
                </a:lnTo>
                <a:lnTo>
                  <a:pt x="176" y="30"/>
                </a:lnTo>
                <a:lnTo>
                  <a:pt x="186" y="30"/>
                </a:lnTo>
                <a:lnTo>
                  <a:pt x="205" y="20"/>
                </a:lnTo>
                <a:lnTo>
                  <a:pt x="215" y="30"/>
                </a:lnTo>
                <a:lnTo>
                  <a:pt x="225" y="49"/>
                </a:lnTo>
                <a:lnTo>
                  <a:pt x="244" y="49"/>
                </a:lnTo>
                <a:lnTo>
                  <a:pt x="274" y="49"/>
                </a:lnTo>
                <a:lnTo>
                  <a:pt x="283" y="49"/>
                </a:lnTo>
                <a:lnTo>
                  <a:pt x="293" y="69"/>
                </a:lnTo>
                <a:lnTo>
                  <a:pt x="283" y="78"/>
                </a:lnTo>
                <a:lnTo>
                  <a:pt x="274" y="98"/>
                </a:lnTo>
                <a:lnTo>
                  <a:pt x="283" y="108"/>
                </a:lnTo>
                <a:lnTo>
                  <a:pt x="303" y="108"/>
                </a:lnTo>
                <a:lnTo>
                  <a:pt x="322" y="108"/>
                </a:lnTo>
                <a:lnTo>
                  <a:pt x="332" y="127"/>
                </a:lnTo>
                <a:lnTo>
                  <a:pt x="332" y="137"/>
                </a:lnTo>
                <a:lnTo>
                  <a:pt x="322" y="156"/>
                </a:lnTo>
                <a:lnTo>
                  <a:pt x="342" y="156"/>
                </a:lnTo>
                <a:lnTo>
                  <a:pt x="332" y="176"/>
                </a:lnTo>
                <a:lnTo>
                  <a:pt x="332" y="186"/>
                </a:lnTo>
                <a:lnTo>
                  <a:pt x="342" y="186"/>
                </a:lnTo>
                <a:lnTo>
                  <a:pt x="342" y="21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en-US" sz="1100">
              <a:latin typeface="Polo" pitchFamily="2" charset="0"/>
              <a:cs typeface="+mn-cs"/>
            </a:endParaRPr>
          </a:p>
        </p:txBody>
      </p:sp>
      <p:sp>
        <p:nvSpPr>
          <p:cNvPr id="18616" name="Freeform 122"/>
          <p:cNvSpPr>
            <a:spLocks noChangeAspect="1"/>
          </p:cNvSpPr>
          <p:nvPr>
            <p:custDataLst>
              <p:tags r:id="rId182"/>
            </p:custDataLst>
          </p:nvPr>
        </p:nvSpPr>
        <p:spPr bwMode="auto">
          <a:xfrm>
            <a:off x="4533900" y="4954588"/>
            <a:ext cx="230188" cy="315912"/>
          </a:xfrm>
          <a:custGeom>
            <a:avLst/>
            <a:gdLst>
              <a:gd name="T0" fmla="*/ 13461 w 342"/>
              <a:gd name="T1" fmla="*/ 157645 h 507"/>
              <a:gd name="T2" fmla="*/ 32980 w 342"/>
              <a:gd name="T3" fmla="*/ 164499 h 507"/>
              <a:gd name="T4" fmla="*/ 46441 w 342"/>
              <a:gd name="T5" fmla="*/ 176961 h 507"/>
              <a:gd name="T6" fmla="*/ 59230 w 342"/>
              <a:gd name="T7" fmla="*/ 201262 h 507"/>
              <a:gd name="T8" fmla="*/ 78749 w 342"/>
              <a:gd name="T9" fmla="*/ 213101 h 507"/>
              <a:gd name="T10" fmla="*/ 78749 w 342"/>
              <a:gd name="T11" fmla="*/ 225563 h 507"/>
              <a:gd name="T12" fmla="*/ 65960 w 342"/>
              <a:gd name="T13" fmla="*/ 231171 h 507"/>
              <a:gd name="T14" fmla="*/ 65960 w 342"/>
              <a:gd name="T15" fmla="*/ 243633 h 507"/>
              <a:gd name="T16" fmla="*/ 65960 w 342"/>
              <a:gd name="T17" fmla="*/ 261703 h 507"/>
              <a:gd name="T18" fmla="*/ 72691 w 342"/>
              <a:gd name="T19" fmla="*/ 279773 h 507"/>
              <a:gd name="T20" fmla="*/ 92210 w 342"/>
              <a:gd name="T21" fmla="*/ 304074 h 507"/>
              <a:gd name="T22" fmla="*/ 111729 w 342"/>
              <a:gd name="T23" fmla="*/ 298466 h 507"/>
              <a:gd name="T24" fmla="*/ 131921 w 342"/>
              <a:gd name="T25" fmla="*/ 316536 h 507"/>
              <a:gd name="T26" fmla="*/ 145382 w 342"/>
              <a:gd name="T27" fmla="*/ 316536 h 507"/>
              <a:gd name="T28" fmla="*/ 158170 w 342"/>
              <a:gd name="T29" fmla="*/ 298466 h 507"/>
              <a:gd name="T30" fmla="*/ 178362 w 342"/>
              <a:gd name="T31" fmla="*/ 286004 h 507"/>
              <a:gd name="T32" fmla="*/ 164901 w 342"/>
              <a:gd name="T33" fmla="*/ 274165 h 507"/>
              <a:gd name="T34" fmla="*/ 158170 w 342"/>
              <a:gd name="T35" fmla="*/ 261703 h 507"/>
              <a:gd name="T36" fmla="*/ 171631 w 342"/>
              <a:gd name="T37" fmla="*/ 261703 h 507"/>
              <a:gd name="T38" fmla="*/ 171631 w 342"/>
              <a:gd name="T39" fmla="*/ 243633 h 507"/>
              <a:gd name="T40" fmla="*/ 164901 w 342"/>
              <a:gd name="T41" fmla="*/ 237402 h 507"/>
              <a:gd name="T42" fmla="*/ 178362 w 342"/>
              <a:gd name="T43" fmla="*/ 219332 h 507"/>
              <a:gd name="T44" fmla="*/ 191150 w 342"/>
              <a:gd name="T45" fmla="*/ 201262 h 507"/>
              <a:gd name="T46" fmla="*/ 191150 w 342"/>
              <a:gd name="T47" fmla="*/ 195031 h 507"/>
              <a:gd name="T48" fmla="*/ 191150 w 342"/>
              <a:gd name="T49" fmla="*/ 182569 h 507"/>
              <a:gd name="T50" fmla="*/ 184420 w 342"/>
              <a:gd name="T51" fmla="*/ 176961 h 507"/>
              <a:gd name="T52" fmla="*/ 171631 w 342"/>
              <a:gd name="T53" fmla="*/ 176961 h 507"/>
              <a:gd name="T54" fmla="*/ 164901 w 342"/>
              <a:gd name="T55" fmla="*/ 176961 h 507"/>
              <a:gd name="T56" fmla="*/ 178362 w 342"/>
              <a:gd name="T57" fmla="*/ 157645 h 507"/>
              <a:gd name="T58" fmla="*/ 184420 w 342"/>
              <a:gd name="T59" fmla="*/ 139575 h 507"/>
              <a:gd name="T60" fmla="*/ 178362 w 342"/>
              <a:gd name="T61" fmla="*/ 109043 h 507"/>
              <a:gd name="T62" fmla="*/ 191150 w 342"/>
              <a:gd name="T63" fmla="*/ 102812 h 507"/>
              <a:gd name="T64" fmla="*/ 211342 w 342"/>
              <a:gd name="T65" fmla="*/ 84742 h 507"/>
              <a:gd name="T66" fmla="*/ 230861 w 342"/>
              <a:gd name="T67" fmla="*/ 78511 h 507"/>
              <a:gd name="T68" fmla="*/ 230861 w 342"/>
              <a:gd name="T69" fmla="*/ 66672 h 507"/>
              <a:gd name="T70" fmla="*/ 230861 w 342"/>
              <a:gd name="T71" fmla="*/ 54210 h 507"/>
              <a:gd name="T72" fmla="*/ 211342 w 342"/>
              <a:gd name="T73" fmla="*/ 42371 h 507"/>
              <a:gd name="T74" fmla="*/ 204612 w 342"/>
              <a:gd name="T75" fmla="*/ 24301 h 507"/>
              <a:gd name="T76" fmla="*/ 204612 w 342"/>
              <a:gd name="T77" fmla="*/ 11839 h 507"/>
              <a:gd name="T78" fmla="*/ 191150 w 342"/>
              <a:gd name="T79" fmla="*/ 0 h 507"/>
              <a:gd name="T80" fmla="*/ 171631 w 342"/>
              <a:gd name="T81" fmla="*/ 11839 h 507"/>
              <a:gd name="T82" fmla="*/ 152113 w 342"/>
              <a:gd name="T83" fmla="*/ 5608 h 507"/>
              <a:gd name="T84" fmla="*/ 119132 w 342"/>
              <a:gd name="T85" fmla="*/ 11839 h 507"/>
              <a:gd name="T86" fmla="*/ 92210 w 342"/>
              <a:gd name="T87" fmla="*/ 5608 h 507"/>
              <a:gd name="T88" fmla="*/ 78749 w 342"/>
              <a:gd name="T89" fmla="*/ 11839 h 507"/>
              <a:gd name="T90" fmla="*/ 65960 w 342"/>
              <a:gd name="T91" fmla="*/ 18070 h 507"/>
              <a:gd name="T92" fmla="*/ 39711 w 342"/>
              <a:gd name="T93" fmla="*/ 24301 h 507"/>
              <a:gd name="T94" fmla="*/ 20192 w 342"/>
              <a:gd name="T95" fmla="*/ 24301 h 507"/>
              <a:gd name="T96" fmla="*/ 6731 w 342"/>
              <a:gd name="T97" fmla="*/ 36140 h 507"/>
              <a:gd name="T98" fmla="*/ 13461 w 342"/>
              <a:gd name="T99" fmla="*/ 48602 h 507"/>
              <a:gd name="T100" fmla="*/ 13461 w 342"/>
              <a:gd name="T101" fmla="*/ 60441 h 507"/>
              <a:gd name="T102" fmla="*/ 6731 w 342"/>
              <a:gd name="T103" fmla="*/ 66672 h 507"/>
              <a:gd name="T104" fmla="*/ 13461 w 342"/>
              <a:gd name="T105" fmla="*/ 84742 h 507"/>
              <a:gd name="T106" fmla="*/ 6731 w 342"/>
              <a:gd name="T107" fmla="*/ 97204 h 507"/>
              <a:gd name="T108" fmla="*/ 13461 w 342"/>
              <a:gd name="T109" fmla="*/ 109043 h 507"/>
              <a:gd name="T110" fmla="*/ 6731 w 342"/>
              <a:gd name="T111" fmla="*/ 115274 h 507"/>
              <a:gd name="T112" fmla="*/ 0 w 342"/>
              <a:gd name="T113" fmla="*/ 127113 h 507"/>
              <a:gd name="T114" fmla="*/ 13461 w 342"/>
              <a:gd name="T115" fmla="*/ 145806 h 507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342"/>
              <a:gd name="T175" fmla="*/ 0 h 507"/>
              <a:gd name="T176" fmla="*/ 342 w 342"/>
              <a:gd name="T177" fmla="*/ 507 h 507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342" h="507">
                <a:moveTo>
                  <a:pt x="20" y="234"/>
                </a:moveTo>
                <a:lnTo>
                  <a:pt x="20" y="253"/>
                </a:lnTo>
                <a:lnTo>
                  <a:pt x="39" y="253"/>
                </a:lnTo>
                <a:lnTo>
                  <a:pt x="49" y="263"/>
                </a:lnTo>
                <a:lnTo>
                  <a:pt x="59" y="283"/>
                </a:lnTo>
                <a:lnTo>
                  <a:pt x="69" y="283"/>
                </a:lnTo>
                <a:lnTo>
                  <a:pt x="69" y="302"/>
                </a:lnTo>
                <a:lnTo>
                  <a:pt x="88" y="322"/>
                </a:lnTo>
                <a:lnTo>
                  <a:pt x="98" y="341"/>
                </a:lnTo>
                <a:lnTo>
                  <a:pt x="117" y="341"/>
                </a:lnTo>
                <a:lnTo>
                  <a:pt x="117" y="351"/>
                </a:lnTo>
                <a:lnTo>
                  <a:pt x="117" y="361"/>
                </a:lnTo>
                <a:lnTo>
                  <a:pt x="108" y="370"/>
                </a:lnTo>
                <a:lnTo>
                  <a:pt x="98" y="370"/>
                </a:lnTo>
                <a:lnTo>
                  <a:pt x="88" y="380"/>
                </a:lnTo>
                <a:lnTo>
                  <a:pt x="98" y="390"/>
                </a:lnTo>
                <a:lnTo>
                  <a:pt x="108" y="400"/>
                </a:lnTo>
                <a:lnTo>
                  <a:pt x="98" y="419"/>
                </a:lnTo>
                <a:lnTo>
                  <a:pt x="98" y="439"/>
                </a:lnTo>
                <a:lnTo>
                  <a:pt x="108" y="448"/>
                </a:lnTo>
                <a:lnTo>
                  <a:pt x="117" y="468"/>
                </a:lnTo>
                <a:lnTo>
                  <a:pt x="137" y="487"/>
                </a:lnTo>
                <a:lnTo>
                  <a:pt x="147" y="478"/>
                </a:lnTo>
                <a:lnTo>
                  <a:pt x="166" y="478"/>
                </a:lnTo>
                <a:lnTo>
                  <a:pt x="186" y="487"/>
                </a:lnTo>
                <a:lnTo>
                  <a:pt x="195" y="507"/>
                </a:lnTo>
                <a:lnTo>
                  <a:pt x="205" y="507"/>
                </a:lnTo>
                <a:lnTo>
                  <a:pt x="215" y="507"/>
                </a:lnTo>
                <a:lnTo>
                  <a:pt x="225" y="487"/>
                </a:lnTo>
                <a:lnTo>
                  <a:pt x="234" y="478"/>
                </a:lnTo>
                <a:lnTo>
                  <a:pt x="244" y="468"/>
                </a:lnTo>
                <a:lnTo>
                  <a:pt x="264" y="458"/>
                </a:lnTo>
                <a:lnTo>
                  <a:pt x="264" y="448"/>
                </a:lnTo>
                <a:lnTo>
                  <a:pt x="244" y="439"/>
                </a:lnTo>
                <a:lnTo>
                  <a:pt x="244" y="429"/>
                </a:lnTo>
                <a:lnTo>
                  <a:pt x="234" y="419"/>
                </a:lnTo>
                <a:lnTo>
                  <a:pt x="244" y="419"/>
                </a:lnTo>
                <a:lnTo>
                  <a:pt x="254" y="419"/>
                </a:lnTo>
                <a:lnTo>
                  <a:pt x="254" y="409"/>
                </a:lnTo>
                <a:lnTo>
                  <a:pt x="254" y="390"/>
                </a:lnTo>
                <a:lnTo>
                  <a:pt x="254" y="380"/>
                </a:lnTo>
                <a:lnTo>
                  <a:pt x="244" y="380"/>
                </a:lnTo>
                <a:lnTo>
                  <a:pt x="244" y="361"/>
                </a:lnTo>
                <a:lnTo>
                  <a:pt x="264" y="351"/>
                </a:lnTo>
                <a:lnTo>
                  <a:pt x="273" y="351"/>
                </a:lnTo>
                <a:lnTo>
                  <a:pt x="283" y="322"/>
                </a:lnTo>
                <a:lnTo>
                  <a:pt x="273" y="322"/>
                </a:lnTo>
                <a:lnTo>
                  <a:pt x="283" y="312"/>
                </a:lnTo>
                <a:lnTo>
                  <a:pt x="283" y="302"/>
                </a:lnTo>
                <a:lnTo>
                  <a:pt x="283" y="292"/>
                </a:lnTo>
                <a:lnTo>
                  <a:pt x="273" y="292"/>
                </a:lnTo>
                <a:lnTo>
                  <a:pt x="273" y="283"/>
                </a:lnTo>
                <a:lnTo>
                  <a:pt x="264" y="263"/>
                </a:lnTo>
                <a:lnTo>
                  <a:pt x="254" y="283"/>
                </a:lnTo>
                <a:lnTo>
                  <a:pt x="244" y="283"/>
                </a:lnTo>
                <a:lnTo>
                  <a:pt x="244" y="273"/>
                </a:lnTo>
                <a:lnTo>
                  <a:pt x="264" y="253"/>
                </a:lnTo>
                <a:lnTo>
                  <a:pt x="264" y="244"/>
                </a:lnTo>
                <a:lnTo>
                  <a:pt x="273" y="224"/>
                </a:lnTo>
                <a:lnTo>
                  <a:pt x="264" y="185"/>
                </a:lnTo>
                <a:lnTo>
                  <a:pt x="264" y="175"/>
                </a:lnTo>
                <a:lnTo>
                  <a:pt x="273" y="175"/>
                </a:lnTo>
                <a:lnTo>
                  <a:pt x="283" y="165"/>
                </a:lnTo>
                <a:lnTo>
                  <a:pt x="293" y="156"/>
                </a:lnTo>
                <a:lnTo>
                  <a:pt x="313" y="136"/>
                </a:lnTo>
                <a:lnTo>
                  <a:pt x="322" y="126"/>
                </a:lnTo>
                <a:lnTo>
                  <a:pt x="342" y="126"/>
                </a:lnTo>
                <a:lnTo>
                  <a:pt x="342" y="117"/>
                </a:lnTo>
                <a:lnTo>
                  <a:pt x="342" y="107"/>
                </a:lnTo>
                <a:lnTo>
                  <a:pt x="342" y="97"/>
                </a:lnTo>
                <a:lnTo>
                  <a:pt x="342" y="87"/>
                </a:lnTo>
                <a:lnTo>
                  <a:pt x="332" y="78"/>
                </a:lnTo>
                <a:lnTo>
                  <a:pt x="313" y="68"/>
                </a:lnTo>
                <a:lnTo>
                  <a:pt x="303" y="58"/>
                </a:lnTo>
                <a:lnTo>
                  <a:pt x="303" y="39"/>
                </a:lnTo>
                <a:lnTo>
                  <a:pt x="303" y="29"/>
                </a:lnTo>
                <a:lnTo>
                  <a:pt x="303" y="19"/>
                </a:lnTo>
                <a:lnTo>
                  <a:pt x="293" y="9"/>
                </a:lnTo>
                <a:lnTo>
                  <a:pt x="283" y="0"/>
                </a:lnTo>
                <a:lnTo>
                  <a:pt x="273" y="9"/>
                </a:lnTo>
                <a:lnTo>
                  <a:pt x="254" y="19"/>
                </a:lnTo>
                <a:lnTo>
                  <a:pt x="234" y="19"/>
                </a:lnTo>
                <a:lnTo>
                  <a:pt x="225" y="9"/>
                </a:lnTo>
                <a:lnTo>
                  <a:pt x="205" y="19"/>
                </a:lnTo>
                <a:lnTo>
                  <a:pt x="176" y="19"/>
                </a:lnTo>
                <a:lnTo>
                  <a:pt x="156" y="9"/>
                </a:lnTo>
                <a:lnTo>
                  <a:pt x="137" y="9"/>
                </a:lnTo>
                <a:lnTo>
                  <a:pt x="127" y="19"/>
                </a:lnTo>
                <a:lnTo>
                  <a:pt x="117" y="19"/>
                </a:lnTo>
                <a:lnTo>
                  <a:pt x="98" y="19"/>
                </a:lnTo>
                <a:lnTo>
                  <a:pt x="98" y="29"/>
                </a:lnTo>
                <a:lnTo>
                  <a:pt x="88" y="39"/>
                </a:lnTo>
                <a:lnTo>
                  <a:pt x="59" y="39"/>
                </a:lnTo>
                <a:lnTo>
                  <a:pt x="39" y="39"/>
                </a:lnTo>
                <a:lnTo>
                  <a:pt x="30" y="39"/>
                </a:lnTo>
                <a:lnTo>
                  <a:pt x="10" y="39"/>
                </a:lnTo>
                <a:lnTo>
                  <a:pt x="10" y="58"/>
                </a:lnTo>
                <a:lnTo>
                  <a:pt x="10" y="68"/>
                </a:lnTo>
                <a:lnTo>
                  <a:pt x="20" y="78"/>
                </a:lnTo>
                <a:lnTo>
                  <a:pt x="30" y="87"/>
                </a:lnTo>
                <a:lnTo>
                  <a:pt x="20" y="97"/>
                </a:lnTo>
                <a:lnTo>
                  <a:pt x="10" y="97"/>
                </a:lnTo>
                <a:lnTo>
                  <a:pt x="10" y="107"/>
                </a:lnTo>
                <a:lnTo>
                  <a:pt x="30" y="117"/>
                </a:lnTo>
                <a:lnTo>
                  <a:pt x="20" y="136"/>
                </a:lnTo>
                <a:lnTo>
                  <a:pt x="20" y="146"/>
                </a:lnTo>
                <a:lnTo>
                  <a:pt x="10" y="156"/>
                </a:lnTo>
                <a:lnTo>
                  <a:pt x="10" y="165"/>
                </a:lnTo>
                <a:lnTo>
                  <a:pt x="20" y="175"/>
                </a:lnTo>
                <a:lnTo>
                  <a:pt x="20" y="185"/>
                </a:lnTo>
                <a:lnTo>
                  <a:pt x="10" y="185"/>
                </a:lnTo>
                <a:lnTo>
                  <a:pt x="10" y="195"/>
                </a:lnTo>
                <a:lnTo>
                  <a:pt x="0" y="204"/>
                </a:lnTo>
                <a:lnTo>
                  <a:pt x="10" y="224"/>
                </a:lnTo>
                <a:lnTo>
                  <a:pt x="20" y="234"/>
                </a:lnTo>
                <a:close/>
              </a:path>
            </a:pathLst>
          </a:custGeom>
          <a:solidFill>
            <a:srgbClr val="C0C0C0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617" name="Freeform 121"/>
          <p:cNvSpPr>
            <a:spLocks noChangeAspect="1"/>
          </p:cNvSpPr>
          <p:nvPr>
            <p:custDataLst>
              <p:tags r:id="rId183"/>
            </p:custDataLst>
          </p:nvPr>
        </p:nvSpPr>
        <p:spPr bwMode="auto">
          <a:xfrm>
            <a:off x="4662488" y="5210175"/>
            <a:ext cx="536575" cy="284163"/>
          </a:xfrm>
          <a:custGeom>
            <a:avLst/>
            <a:gdLst>
              <a:gd name="T0" fmla="*/ 13414 w 800"/>
              <a:gd name="T1" fmla="*/ 133104 h 459"/>
              <a:gd name="T2" fmla="*/ 20122 w 800"/>
              <a:gd name="T3" fmla="*/ 164059 h 459"/>
              <a:gd name="T4" fmla="*/ 46280 w 800"/>
              <a:gd name="T5" fmla="*/ 206157 h 459"/>
              <a:gd name="T6" fmla="*/ 26158 w 800"/>
              <a:gd name="T7" fmla="*/ 199966 h 459"/>
              <a:gd name="T8" fmla="*/ 13414 w 800"/>
              <a:gd name="T9" fmla="*/ 212348 h 459"/>
              <a:gd name="T10" fmla="*/ 26158 w 800"/>
              <a:gd name="T11" fmla="*/ 224110 h 459"/>
              <a:gd name="T12" fmla="*/ 32865 w 800"/>
              <a:gd name="T13" fmla="*/ 236492 h 459"/>
              <a:gd name="T14" fmla="*/ 65730 w 800"/>
              <a:gd name="T15" fmla="*/ 230301 h 459"/>
              <a:gd name="T16" fmla="*/ 98596 w 800"/>
              <a:gd name="T17" fmla="*/ 218539 h 459"/>
              <a:gd name="T18" fmla="*/ 118047 w 800"/>
              <a:gd name="T19" fmla="*/ 218539 h 459"/>
              <a:gd name="T20" fmla="*/ 144205 w 800"/>
              <a:gd name="T21" fmla="*/ 199966 h 459"/>
              <a:gd name="T22" fmla="*/ 177070 w 800"/>
              <a:gd name="T23" fmla="*/ 199966 h 459"/>
              <a:gd name="T24" fmla="*/ 196521 w 800"/>
              <a:gd name="T25" fmla="*/ 199966 h 459"/>
              <a:gd name="T26" fmla="*/ 209935 w 800"/>
              <a:gd name="T27" fmla="*/ 206157 h 459"/>
              <a:gd name="T28" fmla="*/ 215971 w 800"/>
              <a:gd name="T29" fmla="*/ 212348 h 459"/>
              <a:gd name="T30" fmla="*/ 255544 w 800"/>
              <a:gd name="T31" fmla="*/ 218539 h 459"/>
              <a:gd name="T32" fmla="*/ 288409 w 800"/>
              <a:gd name="T33" fmla="*/ 224110 h 459"/>
              <a:gd name="T34" fmla="*/ 314567 w 800"/>
              <a:gd name="T35" fmla="*/ 260637 h 459"/>
              <a:gd name="T36" fmla="*/ 346762 w 800"/>
              <a:gd name="T37" fmla="*/ 272399 h 459"/>
              <a:gd name="T38" fmla="*/ 372920 w 800"/>
              <a:gd name="T39" fmla="*/ 266828 h 459"/>
              <a:gd name="T40" fmla="*/ 393041 w 800"/>
              <a:gd name="T41" fmla="*/ 278590 h 459"/>
              <a:gd name="T42" fmla="*/ 419199 w 800"/>
              <a:gd name="T43" fmla="*/ 272399 h 459"/>
              <a:gd name="T44" fmla="*/ 445357 w 800"/>
              <a:gd name="T45" fmla="*/ 284781 h 459"/>
              <a:gd name="T46" fmla="*/ 478222 w 800"/>
              <a:gd name="T47" fmla="*/ 272399 h 459"/>
              <a:gd name="T48" fmla="*/ 497673 w 800"/>
              <a:gd name="T49" fmla="*/ 248255 h 459"/>
              <a:gd name="T50" fmla="*/ 490966 w 800"/>
              <a:gd name="T51" fmla="*/ 224110 h 459"/>
              <a:gd name="T52" fmla="*/ 478222 w 800"/>
              <a:gd name="T53" fmla="*/ 194394 h 459"/>
              <a:gd name="T54" fmla="*/ 478222 w 800"/>
              <a:gd name="T55" fmla="*/ 164059 h 459"/>
              <a:gd name="T56" fmla="*/ 504381 w 800"/>
              <a:gd name="T57" fmla="*/ 146105 h 459"/>
              <a:gd name="T58" fmla="*/ 530539 w 800"/>
              <a:gd name="T59" fmla="*/ 115151 h 459"/>
              <a:gd name="T60" fmla="*/ 530539 w 800"/>
              <a:gd name="T61" fmla="*/ 84815 h 459"/>
              <a:gd name="T62" fmla="*/ 517124 w 800"/>
              <a:gd name="T63" fmla="*/ 60671 h 459"/>
              <a:gd name="T64" fmla="*/ 530539 w 800"/>
              <a:gd name="T65" fmla="*/ 48289 h 459"/>
              <a:gd name="T66" fmla="*/ 504381 w 800"/>
              <a:gd name="T67" fmla="*/ 48289 h 459"/>
              <a:gd name="T68" fmla="*/ 484259 w 800"/>
              <a:gd name="T69" fmla="*/ 42717 h 459"/>
              <a:gd name="T70" fmla="*/ 452064 w 800"/>
              <a:gd name="T71" fmla="*/ 18573 h 459"/>
              <a:gd name="T72" fmla="*/ 425236 w 800"/>
              <a:gd name="T73" fmla="*/ 6191 h 459"/>
              <a:gd name="T74" fmla="*/ 405785 w 800"/>
              <a:gd name="T75" fmla="*/ 18573 h 459"/>
              <a:gd name="T76" fmla="*/ 379627 w 800"/>
              <a:gd name="T77" fmla="*/ 24144 h 459"/>
              <a:gd name="T78" fmla="*/ 346762 w 800"/>
              <a:gd name="T79" fmla="*/ 24144 h 459"/>
              <a:gd name="T80" fmla="*/ 320604 w 800"/>
              <a:gd name="T81" fmla="*/ 24144 h 459"/>
              <a:gd name="T82" fmla="*/ 307860 w 800"/>
              <a:gd name="T83" fmla="*/ 54480 h 459"/>
              <a:gd name="T84" fmla="*/ 268288 w 800"/>
              <a:gd name="T85" fmla="*/ 78624 h 459"/>
              <a:gd name="T86" fmla="*/ 242129 w 800"/>
              <a:gd name="T87" fmla="*/ 102769 h 459"/>
              <a:gd name="T88" fmla="*/ 203228 w 800"/>
              <a:gd name="T89" fmla="*/ 121342 h 459"/>
              <a:gd name="T90" fmla="*/ 157619 w 800"/>
              <a:gd name="T91" fmla="*/ 115151 h 459"/>
              <a:gd name="T92" fmla="*/ 111339 w 800"/>
              <a:gd name="T93" fmla="*/ 102769 h 459"/>
              <a:gd name="T94" fmla="*/ 85181 w 800"/>
              <a:gd name="T95" fmla="*/ 84815 h 459"/>
              <a:gd name="T96" fmla="*/ 72438 w 800"/>
              <a:gd name="T97" fmla="*/ 102769 h 459"/>
              <a:gd name="T98" fmla="*/ 32865 w 800"/>
              <a:gd name="T99" fmla="*/ 108960 h 459"/>
              <a:gd name="T100" fmla="*/ 6707 w 800"/>
              <a:gd name="T101" fmla="*/ 102769 h 459"/>
              <a:gd name="T102" fmla="*/ 6707 w 800"/>
              <a:gd name="T103" fmla="*/ 121342 h 459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800"/>
              <a:gd name="T157" fmla="*/ 0 h 459"/>
              <a:gd name="T158" fmla="*/ 800 w 800"/>
              <a:gd name="T159" fmla="*/ 459 h 459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800" h="459">
                <a:moveTo>
                  <a:pt x="10" y="196"/>
                </a:moveTo>
                <a:lnTo>
                  <a:pt x="10" y="205"/>
                </a:lnTo>
                <a:lnTo>
                  <a:pt x="20" y="215"/>
                </a:lnTo>
                <a:lnTo>
                  <a:pt x="10" y="235"/>
                </a:lnTo>
                <a:lnTo>
                  <a:pt x="10" y="254"/>
                </a:lnTo>
                <a:lnTo>
                  <a:pt x="30" y="264"/>
                </a:lnTo>
                <a:lnTo>
                  <a:pt x="49" y="283"/>
                </a:lnTo>
                <a:lnTo>
                  <a:pt x="69" y="313"/>
                </a:lnTo>
                <a:lnTo>
                  <a:pt x="69" y="332"/>
                </a:lnTo>
                <a:lnTo>
                  <a:pt x="59" y="332"/>
                </a:lnTo>
                <a:lnTo>
                  <a:pt x="49" y="322"/>
                </a:lnTo>
                <a:lnTo>
                  <a:pt x="39" y="322"/>
                </a:lnTo>
                <a:lnTo>
                  <a:pt x="39" y="332"/>
                </a:lnTo>
                <a:lnTo>
                  <a:pt x="20" y="342"/>
                </a:lnTo>
                <a:lnTo>
                  <a:pt x="20" y="361"/>
                </a:lnTo>
                <a:lnTo>
                  <a:pt x="39" y="361"/>
                </a:lnTo>
                <a:lnTo>
                  <a:pt x="39" y="371"/>
                </a:lnTo>
                <a:lnTo>
                  <a:pt x="39" y="381"/>
                </a:lnTo>
                <a:lnTo>
                  <a:pt x="49" y="381"/>
                </a:lnTo>
                <a:lnTo>
                  <a:pt x="69" y="381"/>
                </a:lnTo>
                <a:lnTo>
                  <a:pt x="88" y="381"/>
                </a:lnTo>
                <a:lnTo>
                  <a:pt x="98" y="371"/>
                </a:lnTo>
                <a:lnTo>
                  <a:pt x="118" y="361"/>
                </a:lnTo>
                <a:lnTo>
                  <a:pt x="127" y="361"/>
                </a:lnTo>
                <a:lnTo>
                  <a:pt x="147" y="352"/>
                </a:lnTo>
                <a:lnTo>
                  <a:pt x="157" y="342"/>
                </a:lnTo>
                <a:lnTo>
                  <a:pt x="166" y="342"/>
                </a:lnTo>
                <a:lnTo>
                  <a:pt x="176" y="352"/>
                </a:lnTo>
                <a:lnTo>
                  <a:pt x="196" y="342"/>
                </a:lnTo>
                <a:lnTo>
                  <a:pt x="205" y="332"/>
                </a:lnTo>
                <a:lnTo>
                  <a:pt x="215" y="322"/>
                </a:lnTo>
                <a:lnTo>
                  <a:pt x="235" y="322"/>
                </a:lnTo>
                <a:lnTo>
                  <a:pt x="254" y="322"/>
                </a:lnTo>
                <a:lnTo>
                  <a:pt x="264" y="322"/>
                </a:lnTo>
                <a:lnTo>
                  <a:pt x="274" y="313"/>
                </a:lnTo>
                <a:lnTo>
                  <a:pt x="283" y="313"/>
                </a:lnTo>
                <a:lnTo>
                  <a:pt x="293" y="322"/>
                </a:lnTo>
                <a:lnTo>
                  <a:pt x="313" y="313"/>
                </a:lnTo>
                <a:lnTo>
                  <a:pt x="313" y="322"/>
                </a:lnTo>
                <a:lnTo>
                  <a:pt x="313" y="332"/>
                </a:lnTo>
                <a:lnTo>
                  <a:pt x="303" y="342"/>
                </a:lnTo>
                <a:lnTo>
                  <a:pt x="313" y="342"/>
                </a:lnTo>
                <a:lnTo>
                  <a:pt x="322" y="342"/>
                </a:lnTo>
                <a:lnTo>
                  <a:pt x="332" y="352"/>
                </a:lnTo>
                <a:lnTo>
                  <a:pt x="361" y="352"/>
                </a:lnTo>
                <a:lnTo>
                  <a:pt x="381" y="352"/>
                </a:lnTo>
                <a:lnTo>
                  <a:pt x="400" y="361"/>
                </a:lnTo>
                <a:lnTo>
                  <a:pt x="420" y="361"/>
                </a:lnTo>
                <a:lnTo>
                  <a:pt x="430" y="361"/>
                </a:lnTo>
                <a:lnTo>
                  <a:pt x="430" y="381"/>
                </a:lnTo>
                <a:lnTo>
                  <a:pt x="449" y="410"/>
                </a:lnTo>
                <a:lnTo>
                  <a:pt x="469" y="420"/>
                </a:lnTo>
                <a:lnTo>
                  <a:pt x="478" y="420"/>
                </a:lnTo>
                <a:lnTo>
                  <a:pt x="498" y="430"/>
                </a:lnTo>
                <a:lnTo>
                  <a:pt x="517" y="439"/>
                </a:lnTo>
                <a:lnTo>
                  <a:pt x="537" y="430"/>
                </a:lnTo>
                <a:lnTo>
                  <a:pt x="537" y="420"/>
                </a:lnTo>
                <a:lnTo>
                  <a:pt x="556" y="430"/>
                </a:lnTo>
                <a:lnTo>
                  <a:pt x="566" y="430"/>
                </a:lnTo>
                <a:lnTo>
                  <a:pt x="576" y="439"/>
                </a:lnTo>
                <a:lnTo>
                  <a:pt x="586" y="449"/>
                </a:lnTo>
                <a:lnTo>
                  <a:pt x="595" y="439"/>
                </a:lnTo>
                <a:lnTo>
                  <a:pt x="605" y="439"/>
                </a:lnTo>
                <a:lnTo>
                  <a:pt x="625" y="439"/>
                </a:lnTo>
                <a:lnTo>
                  <a:pt x="644" y="449"/>
                </a:lnTo>
                <a:lnTo>
                  <a:pt x="644" y="459"/>
                </a:lnTo>
                <a:lnTo>
                  <a:pt x="664" y="459"/>
                </a:lnTo>
                <a:lnTo>
                  <a:pt x="674" y="459"/>
                </a:lnTo>
                <a:lnTo>
                  <a:pt x="693" y="439"/>
                </a:lnTo>
                <a:lnTo>
                  <a:pt x="713" y="439"/>
                </a:lnTo>
                <a:lnTo>
                  <a:pt x="732" y="420"/>
                </a:lnTo>
                <a:lnTo>
                  <a:pt x="752" y="410"/>
                </a:lnTo>
                <a:lnTo>
                  <a:pt x="742" y="400"/>
                </a:lnTo>
                <a:lnTo>
                  <a:pt x="732" y="391"/>
                </a:lnTo>
                <a:lnTo>
                  <a:pt x="732" y="381"/>
                </a:lnTo>
                <a:lnTo>
                  <a:pt x="732" y="361"/>
                </a:lnTo>
                <a:lnTo>
                  <a:pt x="722" y="352"/>
                </a:lnTo>
                <a:lnTo>
                  <a:pt x="722" y="332"/>
                </a:lnTo>
                <a:lnTo>
                  <a:pt x="713" y="313"/>
                </a:lnTo>
                <a:lnTo>
                  <a:pt x="713" y="303"/>
                </a:lnTo>
                <a:lnTo>
                  <a:pt x="713" y="293"/>
                </a:lnTo>
                <a:lnTo>
                  <a:pt x="713" y="264"/>
                </a:lnTo>
                <a:lnTo>
                  <a:pt x="732" y="264"/>
                </a:lnTo>
                <a:lnTo>
                  <a:pt x="742" y="244"/>
                </a:lnTo>
                <a:lnTo>
                  <a:pt x="752" y="235"/>
                </a:lnTo>
                <a:lnTo>
                  <a:pt x="781" y="225"/>
                </a:lnTo>
                <a:lnTo>
                  <a:pt x="781" y="205"/>
                </a:lnTo>
                <a:lnTo>
                  <a:pt x="791" y="186"/>
                </a:lnTo>
                <a:lnTo>
                  <a:pt x="771" y="166"/>
                </a:lnTo>
                <a:lnTo>
                  <a:pt x="781" y="156"/>
                </a:lnTo>
                <a:lnTo>
                  <a:pt x="791" y="137"/>
                </a:lnTo>
                <a:lnTo>
                  <a:pt x="781" y="117"/>
                </a:lnTo>
                <a:lnTo>
                  <a:pt x="771" y="108"/>
                </a:lnTo>
                <a:lnTo>
                  <a:pt x="771" y="98"/>
                </a:lnTo>
                <a:lnTo>
                  <a:pt x="791" y="108"/>
                </a:lnTo>
                <a:lnTo>
                  <a:pt x="800" y="98"/>
                </a:lnTo>
                <a:lnTo>
                  <a:pt x="791" y="78"/>
                </a:lnTo>
                <a:lnTo>
                  <a:pt x="771" y="78"/>
                </a:lnTo>
                <a:lnTo>
                  <a:pt x="761" y="78"/>
                </a:lnTo>
                <a:lnTo>
                  <a:pt x="752" y="78"/>
                </a:lnTo>
                <a:lnTo>
                  <a:pt x="732" y="88"/>
                </a:lnTo>
                <a:lnTo>
                  <a:pt x="732" y="69"/>
                </a:lnTo>
                <a:lnTo>
                  <a:pt x="722" y="69"/>
                </a:lnTo>
                <a:lnTo>
                  <a:pt x="693" y="49"/>
                </a:lnTo>
                <a:lnTo>
                  <a:pt x="674" y="39"/>
                </a:lnTo>
                <a:lnTo>
                  <a:pt x="674" y="30"/>
                </a:lnTo>
                <a:lnTo>
                  <a:pt x="664" y="10"/>
                </a:lnTo>
                <a:lnTo>
                  <a:pt x="644" y="0"/>
                </a:lnTo>
                <a:lnTo>
                  <a:pt x="634" y="10"/>
                </a:lnTo>
                <a:lnTo>
                  <a:pt x="625" y="10"/>
                </a:lnTo>
                <a:lnTo>
                  <a:pt x="625" y="20"/>
                </a:lnTo>
                <a:lnTo>
                  <a:pt x="605" y="30"/>
                </a:lnTo>
                <a:lnTo>
                  <a:pt x="586" y="30"/>
                </a:lnTo>
                <a:lnTo>
                  <a:pt x="576" y="39"/>
                </a:lnTo>
                <a:lnTo>
                  <a:pt x="566" y="39"/>
                </a:lnTo>
                <a:lnTo>
                  <a:pt x="556" y="30"/>
                </a:lnTo>
                <a:lnTo>
                  <a:pt x="537" y="30"/>
                </a:lnTo>
                <a:lnTo>
                  <a:pt x="517" y="39"/>
                </a:lnTo>
                <a:lnTo>
                  <a:pt x="508" y="30"/>
                </a:lnTo>
                <a:lnTo>
                  <a:pt x="488" y="39"/>
                </a:lnTo>
                <a:lnTo>
                  <a:pt x="478" y="39"/>
                </a:lnTo>
                <a:lnTo>
                  <a:pt x="478" y="69"/>
                </a:lnTo>
                <a:lnTo>
                  <a:pt x="469" y="78"/>
                </a:lnTo>
                <a:lnTo>
                  <a:pt x="459" y="88"/>
                </a:lnTo>
                <a:lnTo>
                  <a:pt x="439" y="88"/>
                </a:lnTo>
                <a:lnTo>
                  <a:pt x="420" y="108"/>
                </a:lnTo>
                <a:lnTo>
                  <a:pt x="400" y="127"/>
                </a:lnTo>
                <a:lnTo>
                  <a:pt x="400" y="137"/>
                </a:lnTo>
                <a:lnTo>
                  <a:pt x="391" y="156"/>
                </a:lnTo>
                <a:lnTo>
                  <a:pt x="361" y="166"/>
                </a:lnTo>
                <a:lnTo>
                  <a:pt x="332" y="166"/>
                </a:lnTo>
                <a:lnTo>
                  <a:pt x="313" y="186"/>
                </a:lnTo>
                <a:lnTo>
                  <a:pt x="303" y="196"/>
                </a:lnTo>
                <a:lnTo>
                  <a:pt x="274" y="196"/>
                </a:lnTo>
                <a:lnTo>
                  <a:pt x="254" y="186"/>
                </a:lnTo>
                <a:lnTo>
                  <a:pt x="235" y="186"/>
                </a:lnTo>
                <a:lnTo>
                  <a:pt x="215" y="176"/>
                </a:lnTo>
                <a:lnTo>
                  <a:pt x="196" y="166"/>
                </a:lnTo>
                <a:lnTo>
                  <a:pt x="166" y="166"/>
                </a:lnTo>
                <a:lnTo>
                  <a:pt x="157" y="156"/>
                </a:lnTo>
                <a:lnTo>
                  <a:pt x="147" y="137"/>
                </a:lnTo>
                <a:lnTo>
                  <a:pt x="127" y="137"/>
                </a:lnTo>
                <a:lnTo>
                  <a:pt x="108" y="137"/>
                </a:lnTo>
                <a:lnTo>
                  <a:pt x="108" y="166"/>
                </a:lnTo>
                <a:lnTo>
                  <a:pt x="88" y="176"/>
                </a:lnTo>
                <a:lnTo>
                  <a:pt x="78" y="186"/>
                </a:lnTo>
                <a:lnTo>
                  <a:pt x="49" y="176"/>
                </a:lnTo>
                <a:lnTo>
                  <a:pt x="39" y="176"/>
                </a:lnTo>
                <a:lnTo>
                  <a:pt x="39" y="166"/>
                </a:lnTo>
                <a:lnTo>
                  <a:pt x="10" y="166"/>
                </a:lnTo>
                <a:lnTo>
                  <a:pt x="0" y="176"/>
                </a:lnTo>
                <a:lnTo>
                  <a:pt x="10" y="186"/>
                </a:lnTo>
                <a:lnTo>
                  <a:pt x="10" y="196"/>
                </a:lnTo>
                <a:close/>
              </a:path>
            </a:pathLst>
          </a:custGeom>
          <a:solidFill>
            <a:srgbClr val="C0C0C0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618" name="Freeform 120"/>
          <p:cNvSpPr>
            <a:spLocks noChangeAspect="1"/>
          </p:cNvSpPr>
          <p:nvPr>
            <p:custDataLst>
              <p:tags r:id="rId184"/>
            </p:custDataLst>
          </p:nvPr>
        </p:nvSpPr>
        <p:spPr bwMode="auto">
          <a:xfrm>
            <a:off x="4625975" y="4130675"/>
            <a:ext cx="717550" cy="1201738"/>
          </a:xfrm>
          <a:custGeom>
            <a:avLst/>
            <a:gdLst>
              <a:gd name="T0" fmla="*/ 286886 w 1073"/>
              <a:gd name="T1" fmla="*/ 157370 h 1932"/>
              <a:gd name="T2" fmla="*/ 234725 w 1073"/>
              <a:gd name="T3" fmla="*/ 278664 h 1932"/>
              <a:gd name="T4" fmla="*/ 286886 w 1073"/>
              <a:gd name="T5" fmla="*/ 297324 h 1932"/>
              <a:gd name="T6" fmla="*/ 332360 w 1073"/>
              <a:gd name="T7" fmla="*/ 339621 h 1932"/>
              <a:gd name="T8" fmla="*/ 312967 w 1073"/>
              <a:gd name="T9" fmla="*/ 418618 h 1932"/>
              <a:gd name="T10" fmla="*/ 248100 w 1073"/>
              <a:gd name="T11" fmla="*/ 521872 h 1932"/>
              <a:gd name="T12" fmla="*/ 306279 w 1073"/>
              <a:gd name="T13" fmla="*/ 564170 h 1932"/>
              <a:gd name="T14" fmla="*/ 339047 w 1073"/>
              <a:gd name="T15" fmla="*/ 539911 h 1932"/>
              <a:gd name="T16" fmla="*/ 397896 w 1073"/>
              <a:gd name="T17" fmla="*/ 557949 h 1932"/>
              <a:gd name="T18" fmla="*/ 417289 w 1073"/>
              <a:gd name="T19" fmla="*/ 655606 h 1932"/>
              <a:gd name="T20" fmla="*/ 489512 w 1073"/>
              <a:gd name="T21" fmla="*/ 668046 h 1932"/>
              <a:gd name="T22" fmla="*/ 587147 w 1073"/>
              <a:gd name="T23" fmla="*/ 650008 h 1932"/>
              <a:gd name="T24" fmla="*/ 691469 w 1073"/>
              <a:gd name="T25" fmla="*/ 668046 h 1932"/>
              <a:gd name="T26" fmla="*/ 691469 w 1073"/>
              <a:gd name="T27" fmla="*/ 747043 h 1932"/>
              <a:gd name="T28" fmla="*/ 645995 w 1073"/>
              <a:gd name="T29" fmla="*/ 789340 h 1932"/>
              <a:gd name="T30" fmla="*/ 625934 w 1073"/>
              <a:gd name="T31" fmla="*/ 795560 h 1932"/>
              <a:gd name="T32" fmla="*/ 580460 w 1073"/>
              <a:gd name="T33" fmla="*/ 807378 h 1932"/>
              <a:gd name="T34" fmla="*/ 508905 w 1073"/>
              <a:gd name="T35" fmla="*/ 862116 h 1932"/>
              <a:gd name="T36" fmla="*/ 502218 w 1073"/>
              <a:gd name="T37" fmla="*/ 904413 h 1932"/>
              <a:gd name="T38" fmla="*/ 462763 w 1073"/>
              <a:gd name="T39" fmla="*/ 965371 h 1932"/>
              <a:gd name="T40" fmla="*/ 456744 w 1073"/>
              <a:gd name="T41" fmla="*/ 1020108 h 1932"/>
              <a:gd name="T42" fmla="*/ 410602 w 1073"/>
              <a:gd name="T43" fmla="*/ 1031926 h 1932"/>
              <a:gd name="T44" fmla="*/ 423976 w 1073"/>
              <a:gd name="T45" fmla="*/ 1104702 h 1932"/>
              <a:gd name="T46" fmla="*/ 365128 w 1073"/>
              <a:gd name="T47" fmla="*/ 1104702 h 1932"/>
              <a:gd name="T48" fmla="*/ 306279 w 1073"/>
              <a:gd name="T49" fmla="*/ 1165660 h 1932"/>
              <a:gd name="T50" fmla="*/ 208645 w 1073"/>
              <a:gd name="T51" fmla="*/ 1196139 h 1932"/>
              <a:gd name="T52" fmla="*/ 137090 w 1073"/>
              <a:gd name="T53" fmla="*/ 1159440 h 1932"/>
              <a:gd name="T54" fmla="*/ 189251 w 1073"/>
              <a:gd name="T55" fmla="*/ 1123363 h 1932"/>
              <a:gd name="T56" fmla="*/ 208645 w 1073"/>
              <a:gd name="T57" fmla="*/ 1068625 h 1932"/>
              <a:gd name="T58" fmla="*/ 208645 w 1073"/>
              <a:gd name="T59" fmla="*/ 1002070 h 1932"/>
              <a:gd name="T60" fmla="*/ 189251 w 1073"/>
              <a:gd name="T61" fmla="*/ 971591 h 1932"/>
              <a:gd name="T62" fmla="*/ 149796 w 1073"/>
              <a:gd name="T63" fmla="*/ 947332 h 1932"/>
              <a:gd name="T64" fmla="*/ 111010 w 1073"/>
              <a:gd name="T65" fmla="*/ 952930 h 1932"/>
              <a:gd name="T66" fmla="*/ 137090 w 1073"/>
              <a:gd name="T67" fmla="*/ 904413 h 1932"/>
              <a:gd name="T68" fmla="*/ 111010 w 1073"/>
              <a:gd name="T69" fmla="*/ 862116 h 1932"/>
              <a:gd name="T70" fmla="*/ 111010 w 1073"/>
              <a:gd name="T71" fmla="*/ 801780 h 1932"/>
              <a:gd name="T72" fmla="*/ 143777 w 1073"/>
              <a:gd name="T73" fmla="*/ 777521 h 1932"/>
              <a:gd name="T74" fmla="*/ 104322 w 1073"/>
              <a:gd name="T75" fmla="*/ 722784 h 1932"/>
              <a:gd name="T76" fmla="*/ 137090 w 1073"/>
              <a:gd name="T77" fmla="*/ 655606 h 1932"/>
              <a:gd name="T78" fmla="*/ 90948 w 1073"/>
              <a:gd name="T79" fmla="*/ 607089 h 1932"/>
              <a:gd name="T80" fmla="*/ 0 w 1073"/>
              <a:gd name="T81" fmla="*/ 582208 h 1932"/>
              <a:gd name="T82" fmla="*/ 6687 w 1073"/>
              <a:gd name="T83" fmla="*/ 521872 h 1932"/>
              <a:gd name="T84" fmla="*/ 64867 w 1073"/>
              <a:gd name="T85" fmla="*/ 473355 h 1932"/>
              <a:gd name="T86" fmla="*/ 78242 w 1073"/>
              <a:gd name="T87" fmla="*/ 388139 h 1932"/>
              <a:gd name="T88" fmla="*/ 90948 w 1073"/>
              <a:gd name="T89" fmla="*/ 345842 h 1932"/>
              <a:gd name="T90" fmla="*/ 123716 w 1073"/>
              <a:gd name="T91" fmla="*/ 297324 h 1932"/>
              <a:gd name="T92" fmla="*/ 104322 w 1073"/>
              <a:gd name="T93" fmla="*/ 242587 h 1932"/>
              <a:gd name="T94" fmla="*/ 90948 w 1073"/>
              <a:gd name="T95" fmla="*/ 200290 h 1932"/>
              <a:gd name="T96" fmla="*/ 71554 w 1073"/>
              <a:gd name="T97" fmla="*/ 169811 h 1932"/>
              <a:gd name="T98" fmla="*/ 64867 w 1073"/>
              <a:gd name="T99" fmla="*/ 121293 h 1932"/>
              <a:gd name="T100" fmla="*/ 58848 w 1073"/>
              <a:gd name="T101" fmla="*/ 60336 h 1932"/>
              <a:gd name="T102" fmla="*/ 84929 w 1073"/>
              <a:gd name="T103" fmla="*/ 11818 h 1932"/>
              <a:gd name="T104" fmla="*/ 143777 w 1073"/>
              <a:gd name="T105" fmla="*/ 78996 h 1932"/>
              <a:gd name="T106" fmla="*/ 189251 w 1073"/>
              <a:gd name="T107" fmla="*/ 36077 h 1932"/>
              <a:gd name="T108" fmla="*/ 293574 w 1073"/>
              <a:gd name="T109" fmla="*/ 103255 h 1932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073"/>
              <a:gd name="T166" fmla="*/ 0 h 1932"/>
              <a:gd name="T167" fmla="*/ 1073 w 1073"/>
              <a:gd name="T168" fmla="*/ 1932 h 1932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073" h="1932">
                <a:moveTo>
                  <a:pt x="507" y="166"/>
                </a:moveTo>
                <a:lnTo>
                  <a:pt x="497" y="175"/>
                </a:lnTo>
                <a:lnTo>
                  <a:pt x="488" y="195"/>
                </a:lnTo>
                <a:lnTo>
                  <a:pt x="478" y="214"/>
                </a:lnTo>
                <a:lnTo>
                  <a:pt x="458" y="224"/>
                </a:lnTo>
                <a:lnTo>
                  <a:pt x="439" y="244"/>
                </a:lnTo>
                <a:lnTo>
                  <a:pt x="429" y="253"/>
                </a:lnTo>
                <a:lnTo>
                  <a:pt x="400" y="263"/>
                </a:lnTo>
                <a:lnTo>
                  <a:pt x="390" y="273"/>
                </a:lnTo>
                <a:lnTo>
                  <a:pt x="380" y="312"/>
                </a:lnTo>
                <a:lnTo>
                  <a:pt x="351" y="322"/>
                </a:lnTo>
                <a:lnTo>
                  <a:pt x="341" y="361"/>
                </a:lnTo>
                <a:lnTo>
                  <a:pt x="371" y="370"/>
                </a:lnTo>
                <a:lnTo>
                  <a:pt x="351" y="448"/>
                </a:lnTo>
                <a:lnTo>
                  <a:pt x="371" y="458"/>
                </a:lnTo>
                <a:lnTo>
                  <a:pt x="400" y="468"/>
                </a:lnTo>
                <a:lnTo>
                  <a:pt x="410" y="468"/>
                </a:lnTo>
                <a:lnTo>
                  <a:pt x="410" y="478"/>
                </a:lnTo>
                <a:lnTo>
                  <a:pt x="410" y="497"/>
                </a:lnTo>
                <a:lnTo>
                  <a:pt x="419" y="488"/>
                </a:lnTo>
                <a:lnTo>
                  <a:pt x="429" y="478"/>
                </a:lnTo>
                <a:lnTo>
                  <a:pt x="439" y="478"/>
                </a:lnTo>
                <a:lnTo>
                  <a:pt x="439" y="497"/>
                </a:lnTo>
                <a:lnTo>
                  <a:pt x="449" y="507"/>
                </a:lnTo>
                <a:lnTo>
                  <a:pt x="458" y="507"/>
                </a:lnTo>
                <a:lnTo>
                  <a:pt x="478" y="507"/>
                </a:lnTo>
                <a:lnTo>
                  <a:pt x="488" y="527"/>
                </a:lnTo>
                <a:lnTo>
                  <a:pt x="497" y="546"/>
                </a:lnTo>
                <a:lnTo>
                  <a:pt x="497" y="566"/>
                </a:lnTo>
                <a:lnTo>
                  <a:pt x="488" y="585"/>
                </a:lnTo>
                <a:lnTo>
                  <a:pt x="468" y="605"/>
                </a:lnTo>
                <a:lnTo>
                  <a:pt x="468" y="614"/>
                </a:lnTo>
                <a:lnTo>
                  <a:pt x="478" y="614"/>
                </a:lnTo>
                <a:lnTo>
                  <a:pt x="478" y="634"/>
                </a:lnTo>
                <a:lnTo>
                  <a:pt x="468" y="673"/>
                </a:lnTo>
                <a:lnTo>
                  <a:pt x="439" y="683"/>
                </a:lnTo>
                <a:lnTo>
                  <a:pt x="419" y="702"/>
                </a:lnTo>
                <a:lnTo>
                  <a:pt x="410" y="722"/>
                </a:lnTo>
                <a:lnTo>
                  <a:pt x="351" y="741"/>
                </a:lnTo>
                <a:lnTo>
                  <a:pt x="400" y="780"/>
                </a:lnTo>
                <a:lnTo>
                  <a:pt x="390" y="809"/>
                </a:lnTo>
                <a:lnTo>
                  <a:pt x="371" y="839"/>
                </a:lnTo>
                <a:lnTo>
                  <a:pt x="390" y="888"/>
                </a:lnTo>
                <a:lnTo>
                  <a:pt x="410" y="897"/>
                </a:lnTo>
                <a:lnTo>
                  <a:pt x="419" y="917"/>
                </a:lnTo>
                <a:lnTo>
                  <a:pt x="419" y="927"/>
                </a:lnTo>
                <a:lnTo>
                  <a:pt x="439" y="927"/>
                </a:lnTo>
                <a:lnTo>
                  <a:pt x="449" y="917"/>
                </a:lnTo>
                <a:lnTo>
                  <a:pt x="458" y="907"/>
                </a:lnTo>
                <a:lnTo>
                  <a:pt x="478" y="897"/>
                </a:lnTo>
                <a:lnTo>
                  <a:pt x="478" y="907"/>
                </a:lnTo>
                <a:lnTo>
                  <a:pt x="488" y="897"/>
                </a:lnTo>
                <a:lnTo>
                  <a:pt x="488" y="888"/>
                </a:lnTo>
                <a:lnTo>
                  <a:pt x="497" y="888"/>
                </a:lnTo>
                <a:lnTo>
                  <a:pt x="507" y="888"/>
                </a:lnTo>
                <a:lnTo>
                  <a:pt x="507" y="868"/>
                </a:lnTo>
                <a:lnTo>
                  <a:pt x="517" y="858"/>
                </a:lnTo>
                <a:lnTo>
                  <a:pt x="536" y="858"/>
                </a:lnTo>
                <a:lnTo>
                  <a:pt x="527" y="878"/>
                </a:lnTo>
                <a:lnTo>
                  <a:pt x="527" y="888"/>
                </a:lnTo>
                <a:lnTo>
                  <a:pt x="546" y="888"/>
                </a:lnTo>
                <a:lnTo>
                  <a:pt x="575" y="897"/>
                </a:lnTo>
                <a:lnTo>
                  <a:pt x="595" y="897"/>
                </a:lnTo>
                <a:lnTo>
                  <a:pt x="614" y="907"/>
                </a:lnTo>
                <a:lnTo>
                  <a:pt x="634" y="917"/>
                </a:lnTo>
                <a:lnTo>
                  <a:pt x="644" y="936"/>
                </a:lnTo>
                <a:lnTo>
                  <a:pt x="644" y="956"/>
                </a:lnTo>
                <a:lnTo>
                  <a:pt x="634" y="985"/>
                </a:lnTo>
                <a:lnTo>
                  <a:pt x="624" y="995"/>
                </a:lnTo>
                <a:lnTo>
                  <a:pt x="624" y="1053"/>
                </a:lnTo>
                <a:lnTo>
                  <a:pt x="624" y="1063"/>
                </a:lnTo>
                <a:lnTo>
                  <a:pt x="644" y="1053"/>
                </a:lnTo>
                <a:lnTo>
                  <a:pt x="653" y="1073"/>
                </a:lnTo>
                <a:lnTo>
                  <a:pt x="663" y="1063"/>
                </a:lnTo>
                <a:lnTo>
                  <a:pt x="683" y="1063"/>
                </a:lnTo>
                <a:lnTo>
                  <a:pt x="683" y="1073"/>
                </a:lnTo>
                <a:lnTo>
                  <a:pt x="732" y="1073"/>
                </a:lnTo>
                <a:lnTo>
                  <a:pt x="751" y="1063"/>
                </a:lnTo>
                <a:lnTo>
                  <a:pt x="761" y="1053"/>
                </a:lnTo>
                <a:lnTo>
                  <a:pt x="780" y="1053"/>
                </a:lnTo>
                <a:lnTo>
                  <a:pt x="800" y="1053"/>
                </a:lnTo>
                <a:lnTo>
                  <a:pt x="829" y="1053"/>
                </a:lnTo>
                <a:lnTo>
                  <a:pt x="858" y="1053"/>
                </a:lnTo>
                <a:lnTo>
                  <a:pt x="878" y="1044"/>
                </a:lnTo>
                <a:lnTo>
                  <a:pt x="888" y="1024"/>
                </a:lnTo>
                <a:lnTo>
                  <a:pt x="897" y="1024"/>
                </a:lnTo>
                <a:lnTo>
                  <a:pt x="936" y="1053"/>
                </a:lnTo>
                <a:lnTo>
                  <a:pt x="966" y="1053"/>
                </a:lnTo>
                <a:lnTo>
                  <a:pt x="995" y="1053"/>
                </a:lnTo>
                <a:lnTo>
                  <a:pt x="1024" y="1063"/>
                </a:lnTo>
                <a:lnTo>
                  <a:pt x="1034" y="1073"/>
                </a:lnTo>
                <a:lnTo>
                  <a:pt x="1053" y="1063"/>
                </a:lnTo>
                <a:lnTo>
                  <a:pt x="1063" y="1073"/>
                </a:lnTo>
                <a:lnTo>
                  <a:pt x="1063" y="1092"/>
                </a:lnTo>
                <a:lnTo>
                  <a:pt x="1053" y="1112"/>
                </a:lnTo>
                <a:lnTo>
                  <a:pt x="1073" y="1161"/>
                </a:lnTo>
                <a:lnTo>
                  <a:pt x="1063" y="1180"/>
                </a:lnTo>
                <a:lnTo>
                  <a:pt x="1034" y="1200"/>
                </a:lnTo>
                <a:lnTo>
                  <a:pt x="1024" y="1200"/>
                </a:lnTo>
                <a:lnTo>
                  <a:pt x="1005" y="1229"/>
                </a:lnTo>
                <a:lnTo>
                  <a:pt x="995" y="1229"/>
                </a:lnTo>
                <a:lnTo>
                  <a:pt x="985" y="1239"/>
                </a:lnTo>
                <a:lnTo>
                  <a:pt x="985" y="1249"/>
                </a:lnTo>
                <a:lnTo>
                  <a:pt x="985" y="1268"/>
                </a:lnTo>
                <a:lnTo>
                  <a:pt x="966" y="1268"/>
                </a:lnTo>
                <a:lnTo>
                  <a:pt x="975" y="1278"/>
                </a:lnTo>
                <a:lnTo>
                  <a:pt x="975" y="1297"/>
                </a:lnTo>
                <a:lnTo>
                  <a:pt x="985" y="1307"/>
                </a:lnTo>
                <a:lnTo>
                  <a:pt x="985" y="1317"/>
                </a:lnTo>
                <a:lnTo>
                  <a:pt x="975" y="1317"/>
                </a:lnTo>
                <a:lnTo>
                  <a:pt x="936" y="1307"/>
                </a:lnTo>
                <a:lnTo>
                  <a:pt x="936" y="1278"/>
                </a:lnTo>
                <a:lnTo>
                  <a:pt x="927" y="1278"/>
                </a:lnTo>
                <a:lnTo>
                  <a:pt x="927" y="1268"/>
                </a:lnTo>
                <a:lnTo>
                  <a:pt x="917" y="1249"/>
                </a:lnTo>
                <a:lnTo>
                  <a:pt x="897" y="1249"/>
                </a:lnTo>
                <a:lnTo>
                  <a:pt x="897" y="1258"/>
                </a:lnTo>
                <a:lnTo>
                  <a:pt x="878" y="1288"/>
                </a:lnTo>
                <a:lnTo>
                  <a:pt x="868" y="1297"/>
                </a:lnTo>
                <a:lnTo>
                  <a:pt x="839" y="1297"/>
                </a:lnTo>
                <a:lnTo>
                  <a:pt x="829" y="1288"/>
                </a:lnTo>
                <a:lnTo>
                  <a:pt x="790" y="1288"/>
                </a:lnTo>
                <a:lnTo>
                  <a:pt x="780" y="1297"/>
                </a:lnTo>
                <a:lnTo>
                  <a:pt x="771" y="1327"/>
                </a:lnTo>
                <a:lnTo>
                  <a:pt x="751" y="1366"/>
                </a:lnTo>
                <a:lnTo>
                  <a:pt x="761" y="1385"/>
                </a:lnTo>
                <a:lnTo>
                  <a:pt x="771" y="1395"/>
                </a:lnTo>
                <a:lnTo>
                  <a:pt x="771" y="1405"/>
                </a:lnTo>
                <a:lnTo>
                  <a:pt x="780" y="1414"/>
                </a:lnTo>
                <a:lnTo>
                  <a:pt x="771" y="1424"/>
                </a:lnTo>
                <a:lnTo>
                  <a:pt x="761" y="1424"/>
                </a:lnTo>
                <a:lnTo>
                  <a:pt x="751" y="1444"/>
                </a:lnTo>
                <a:lnTo>
                  <a:pt x="751" y="1453"/>
                </a:lnTo>
                <a:lnTo>
                  <a:pt x="751" y="1473"/>
                </a:lnTo>
                <a:lnTo>
                  <a:pt x="722" y="1473"/>
                </a:lnTo>
                <a:lnTo>
                  <a:pt x="712" y="1483"/>
                </a:lnTo>
                <a:lnTo>
                  <a:pt x="712" y="1502"/>
                </a:lnTo>
                <a:lnTo>
                  <a:pt x="692" y="1502"/>
                </a:lnTo>
                <a:lnTo>
                  <a:pt x="692" y="1531"/>
                </a:lnTo>
                <a:lnTo>
                  <a:pt x="692" y="1551"/>
                </a:lnTo>
                <a:lnTo>
                  <a:pt x="702" y="1561"/>
                </a:lnTo>
                <a:lnTo>
                  <a:pt x="702" y="1571"/>
                </a:lnTo>
                <a:lnTo>
                  <a:pt x="692" y="1571"/>
                </a:lnTo>
                <a:lnTo>
                  <a:pt x="692" y="1580"/>
                </a:lnTo>
                <a:lnTo>
                  <a:pt x="692" y="1600"/>
                </a:lnTo>
                <a:lnTo>
                  <a:pt x="692" y="1619"/>
                </a:lnTo>
                <a:lnTo>
                  <a:pt x="683" y="1639"/>
                </a:lnTo>
                <a:lnTo>
                  <a:pt x="673" y="1639"/>
                </a:lnTo>
                <a:lnTo>
                  <a:pt x="644" y="1629"/>
                </a:lnTo>
                <a:lnTo>
                  <a:pt x="634" y="1629"/>
                </a:lnTo>
                <a:lnTo>
                  <a:pt x="634" y="1639"/>
                </a:lnTo>
                <a:lnTo>
                  <a:pt x="634" y="1649"/>
                </a:lnTo>
                <a:lnTo>
                  <a:pt x="634" y="1658"/>
                </a:lnTo>
                <a:lnTo>
                  <a:pt x="614" y="1658"/>
                </a:lnTo>
                <a:lnTo>
                  <a:pt x="614" y="1678"/>
                </a:lnTo>
                <a:lnTo>
                  <a:pt x="653" y="1717"/>
                </a:lnTo>
                <a:lnTo>
                  <a:pt x="683" y="1746"/>
                </a:lnTo>
                <a:lnTo>
                  <a:pt x="683" y="1756"/>
                </a:lnTo>
                <a:lnTo>
                  <a:pt x="663" y="1766"/>
                </a:lnTo>
                <a:lnTo>
                  <a:pt x="644" y="1766"/>
                </a:lnTo>
                <a:lnTo>
                  <a:pt x="634" y="1775"/>
                </a:lnTo>
                <a:lnTo>
                  <a:pt x="624" y="1775"/>
                </a:lnTo>
                <a:lnTo>
                  <a:pt x="614" y="1766"/>
                </a:lnTo>
                <a:lnTo>
                  <a:pt x="595" y="1766"/>
                </a:lnTo>
                <a:lnTo>
                  <a:pt x="585" y="1775"/>
                </a:lnTo>
                <a:lnTo>
                  <a:pt x="566" y="1766"/>
                </a:lnTo>
                <a:lnTo>
                  <a:pt x="546" y="1775"/>
                </a:lnTo>
                <a:lnTo>
                  <a:pt x="536" y="1805"/>
                </a:lnTo>
                <a:lnTo>
                  <a:pt x="527" y="1814"/>
                </a:lnTo>
                <a:lnTo>
                  <a:pt x="517" y="1834"/>
                </a:lnTo>
                <a:lnTo>
                  <a:pt x="497" y="1834"/>
                </a:lnTo>
                <a:lnTo>
                  <a:pt x="488" y="1844"/>
                </a:lnTo>
                <a:lnTo>
                  <a:pt x="458" y="1863"/>
                </a:lnTo>
                <a:lnTo>
                  <a:pt x="458" y="1873"/>
                </a:lnTo>
                <a:lnTo>
                  <a:pt x="449" y="1892"/>
                </a:lnTo>
                <a:lnTo>
                  <a:pt x="419" y="1902"/>
                </a:lnTo>
                <a:lnTo>
                  <a:pt x="400" y="1902"/>
                </a:lnTo>
                <a:lnTo>
                  <a:pt x="371" y="1922"/>
                </a:lnTo>
                <a:lnTo>
                  <a:pt x="361" y="1932"/>
                </a:lnTo>
                <a:lnTo>
                  <a:pt x="341" y="1932"/>
                </a:lnTo>
                <a:lnTo>
                  <a:pt x="312" y="1922"/>
                </a:lnTo>
                <a:lnTo>
                  <a:pt x="293" y="1922"/>
                </a:lnTo>
                <a:lnTo>
                  <a:pt x="273" y="1912"/>
                </a:lnTo>
                <a:lnTo>
                  <a:pt x="254" y="1902"/>
                </a:lnTo>
                <a:lnTo>
                  <a:pt x="224" y="1902"/>
                </a:lnTo>
                <a:lnTo>
                  <a:pt x="215" y="1892"/>
                </a:lnTo>
                <a:lnTo>
                  <a:pt x="205" y="1873"/>
                </a:lnTo>
                <a:lnTo>
                  <a:pt x="205" y="1863"/>
                </a:lnTo>
                <a:lnTo>
                  <a:pt x="205" y="1853"/>
                </a:lnTo>
                <a:lnTo>
                  <a:pt x="224" y="1844"/>
                </a:lnTo>
                <a:lnTo>
                  <a:pt x="234" y="1834"/>
                </a:lnTo>
                <a:lnTo>
                  <a:pt x="254" y="1834"/>
                </a:lnTo>
                <a:lnTo>
                  <a:pt x="263" y="1824"/>
                </a:lnTo>
                <a:lnTo>
                  <a:pt x="283" y="1814"/>
                </a:lnTo>
                <a:lnTo>
                  <a:pt x="283" y="1805"/>
                </a:lnTo>
                <a:lnTo>
                  <a:pt x="293" y="1795"/>
                </a:lnTo>
                <a:lnTo>
                  <a:pt x="293" y="1775"/>
                </a:lnTo>
                <a:lnTo>
                  <a:pt x="312" y="1775"/>
                </a:lnTo>
                <a:lnTo>
                  <a:pt x="332" y="1766"/>
                </a:lnTo>
                <a:lnTo>
                  <a:pt x="332" y="1746"/>
                </a:lnTo>
                <a:lnTo>
                  <a:pt x="322" y="1746"/>
                </a:lnTo>
                <a:lnTo>
                  <a:pt x="312" y="1717"/>
                </a:lnTo>
                <a:lnTo>
                  <a:pt x="312" y="1707"/>
                </a:lnTo>
                <a:lnTo>
                  <a:pt x="322" y="1697"/>
                </a:lnTo>
                <a:lnTo>
                  <a:pt x="322" y="1668"/>
                </a:lnTo>
                <a:lnTo>
                  <a:pt x="332" y="1649"/>
                </a:lnTo>
                <a:lnTo>
                  <a:pt x="322" y="1639"/>
                </a:lnTo>
                <a:lnTo>
                  <a:pt x="322" y="1629"/>
                </a:lnTo>
                <a:lnTo>
                  <a:pt x="312" y="1610"/>
                </a:lnTo>
                <a:lnTo>
                  <a:pt x="302" y="1600"/>
                </a:lnTo>
                <a:lnTo>
                  <a:pt x="302" y="1590"/>
                </a:lnTo>
                <a:lnTo>
                  <a:pt x="312" y="1580"/>
                </a:lnTo>
                <a:lnTo>
                  <a:pt x="302" y="1580"/>
                </a:lnTo>
                <a:lnTo>
                  <a:pt x="293" y="1571"/>
                </a:lnTo>
                <a:lnTo>
                  <a:pt x="283" y="1561"/>
                </a:lnTo>
                <a:lnTo>
                  <a:pt x="283" y="1551"/>
                </a:lnTo>
                <a:lnTo>
                  <a:pt x="273" y="1551"/>
                </a:lnTo>
                <a:lnTo>
                  <a:pt x="254" y="1551"/>
                </a:lnTo>
                <a:lnTo>
                  <a:pt x="244" y="1551"/>
                </a:lnTo>
                <a:lnTo>
                  <a:pt x="234" y="1531"/>
                </a:lnTo>
                <a:lnTo>
                  <a:pt x="224" y="1522"/>
                </a:lnTo>
                <a:lnTo>
                  <a:pt x="215" y="1531"/>
                </a:lnTo>
                <a:lnTo>
                  <a:pt x="215" y="1541"/>
                </a:lnTo>
                <a:lnTo>
                  <a:pt x="215" y="1561"/>
                </a:lnTo>
                <a:lnTo>
                  <a:pt x="195" y="1551"/>
                </a:lnTo>
                <a:lnTo>
                  <a:pt x="176" y="1551"/>
                </a:lnTo>
                <a:lnTo>
                  <a:pt x="176" y="1541"/>
                </a:lnTo>
                <a:lnTo>
                  <a:pt x="166" y="1531"/>
                </a:lnTo>
                <a:lnTo>
                  <a:pt x="156" y="1531"/>
                </a:lnTo>
                <a:lnTo>
                  <a:pt x="156" y="1502"/>
                </a:lnTo>
                <a:lnTo>
                  <a:pt x="146" y="1492"/>
                </a:lnTo>
                <a:lnTo>
                  <a:pt x="156" y="1483"/>
                </a:lnTo>
                <a:lnTo>
                  <a:pt x="176" y="1463"/>
                </a:lnTo>
                <a:lnTo>
                  <a:pt x="185" y="1453"/>
                </a:lnTo>
                <a:lnTo>
                  <a:pt x="205" y="1453"/>
                </a:lnTo>
                <a:lnTo>
                  <a:pt x="205" y="1444"/>
                </a:lnTo>
                <a:lnTo>
                  <a:pt x="205" y="1434"/>
                </a:lnTo>
                <a:lnTo>
                  <a:pt x="195" y="1424"/>
                </a:lnTo>
                <a:lnTo>
                  <a:pt x="195" y="1414"/>
                </a:lnTo>
                <a:lnTo>
                  <a:pt x="195" y="1405"/>
                </a:lnTo>
                <a:lnTo>
                  <a:pt x="176" y="1395"/>
                </a:lnTo>
                <a:lnTo>
                  <a:pt x="166" y="1385"/>
                </a:lnTo>
                <a:lnTo>
                  <a:pt x="156" y="1366"/>
                </a:lnTo>
                <a:lnTo>
                  <a:pt x="156" y="1356"/>
                </a:lnTo>
                <a:lnTo>
                  <a:pt x="166" y="1346"/>
                </a:lnTo>
                <a:lnTo>
                  <a:pt x="166" y="1317"/>
                </a:lnTo>
                <a:lnTo>
                  <a:pt x="176" y="1307"/>
                </a:lnTo>
                <a:lnTo>
                  <a:pt x="176" y="1297"/>
                </a:lnTo>
                <a:lnTo>
                  <a:pt x="166" y="1288"/>
                </a:lnTo>
                <a:lnTo>
                  <a:pt x="176" y="1288"/>
                </a:lnTo>
                <a:lnTo>
                  <a:pt x="185" y="1288"/>
                </a:lnTo>
                <a:lnTo>
                  <a:pt x="185" y="1278"/>
                </a:lnTo>
                <a:lnTo>
                  <a:pt x="195" y="1268"/>
                </a:lnTo>
                <a:lnTo>
                  <a:pt x="195" y="1258"/>
                </a:lnTo>
                <a:lnTo>
                  <a:pt x="205" y="1258"/>
                </a:lnTo>
                <a:lnTo>
                  <a:pt x="215" y="1249"/>
                </a:lnTo>
                <a:lnTo>
                  <a:pt x="234" y="1229"/>
                </a:lnTo>
                <a:lnTo>
                  <a:pt x="224" y="1210"/>
                </a:lnTo>
                <a:lnTo>
                  <a:pt x="205" y="1190"/>
                </a:lnTo>
                <a:lnTo>
                  <a:pt x="195" y="1180"/>
                </a:lnTo>
                <a:lnTo>
                  <a:pt x="176" y="1170"/>
                </a:lnTo>
                <a:lnTo>
                  <a:pt x="156" y="1170"/>
                </a:lnTo>
                <a:lnTo>
                  <a:pt x="156" y="1161"/>
                </a:lnTo>
                <a:lnTo>
                  <a:pt x="156" y="1122"/>
                </a:lnTo>
                <a:lnTo>
                  <a:pt x="176" y="1112"/>
                </a:lnTo>
                <a:lnTo>
                  <a:pt x="195" y="1102"/>
                </a:lnTo>
                <a:lnTo>
                  <a:pt x="215" y="1092"/>
                </a:lnTo>
                <a:lnTo>
                  <a:pt x="215" y="1083"/>
                </a:lnTo>
                <a:lnTo>
                  <a:pt x="205" y="1073"/>
                </a:lnTo>
                <a:lnTo>
                  <a:pt x="205" y="1053"/>
                </a:lnTo>
                <a:lnTo>
                  <a:pt x="195" y="1044"/>
                </a:lnTo>
                <a:lnTo>
                  <a:pt x="185" y="1053"/>
                </a:lnTo>
                <a:lnTo>
                  <a:pt x="176" y="1053"/>
                </a:lnTo>
                <a:lnTo>
                  <a:pt x="156" y="1005"/>
                </a:lnTo>
                <a:lnTo>
                  <a:pt x="146" y="995"/>
                </a:lnTo>
                <a:lnTo>
                  <a:pt x="136" y="995"/>
                </a:lnTo>
                <a:lnTo>
                  <a:pt x="136" y="975"/>
                </a:lnTo>
                <a:lnTo>
                  <a:pt x="136" y="966"/>
                </a:lnTo>
                <a:lnTo>
                  <a:pt x="107" y="956"/>
                </a:lnTo>
                <a:lnTo>
                  <a:pt x="88" y="956"/>
                </a:lnTo>
                <a:lnTo>
                  <a:pt x="58" y="946"/>
                </a:lnTo>
                <a:lnTo>
                  <a:pt x="39" y="956"/>
                </a:lnTo>
                <a:lnTo>
                  <a:pt x="29" y="956"/>
                </a:lnTo>
                <a:lnTo>
                  <a:pt x="0" y="936"/>
                </a:lnTo>
                <a:lnTo>
                  <a:pt x="0" y="917"/>
                </a:lnTo>
                <a:lnTo>
                  <a:pt x="10" y="907"/>
                </a:lnTo>
                <a:lnTo>
                  <a:pt x="19" y="897"/>
                </a:lnTo>
                <a:lnTo>
                  <a:pt x="19" y="878"/>
                </a:lnTo>
                <a:lnTo>
                  <a:pt x="10" y="858"/>
                </a:lnTo>
                <a:lnTo>
                  <a:pt x="10" y="849"/>
                </a:lnTo>
                <a:lnTo>
                  <a:pt x="10" y="839"/>
                </a:lnTo>
                <a:lnTo>
                  <a:pt x="0" y="829"/>
                </a:lnTo>
                <a:lnTo>
                  <a:pt x="39" y="819"/>
                </a:lnTo>
                <a:lnTo>
                  <a:pt x="97" y="800"/>
                </a:lnTo>
                <a:lnTo>
                  <a:pt x="97" y="790"/>
                </a:lnTo>
                <a:lnTo>
                  <a:pt x="107" y="780"/>
                </a:lnTo>
                <a:lnTo>
                  <a:pt x="107" y="761"/>
                </a:lnTo>
                <a:lnTo>
                  <a:pt x="97" y="761"/>
                </a:lnTo>
                <a:lnTo>
                  <a:pt x="78" y="751"/>
                </a:lnTo>
                <a:lnTo>
                  <a:pt x="58" y="731"/>
                </a:lnTo>
                <a:lnTo>
                  <a:pt x="49" y="712"/>
                </a:lnTo>
                <a:lnTo>
                  <a:pt x="78" y="663"/>
                </a:lnTo>
                <a:lnTo>
                  <a:pt x="97" y="644"/>
                </a:lnTo>
                <a:lnTo>
                  <a:pt x="97" y="634"/>
                </a:lnTo>
                <a:lnTo>
                  <a:pt x="117" y="624"/>
                </a:lnTo>
                <a:lnTo>
                  <a:pt x="136" y="624"/>
                </a:lnTo>
                <a:lnTo>
                  <a:pt x="146" y="614"/>
                </a:lnTo>
                <a:lnTo>
                  <a:pt x="136" y="595"/>
                </a:lnTo>
                <a:lnTo>
                  <a:pt x="146" y="585"/>
                </a:lnTo>
                <a:lnTo>
                  <a:pt x="146" y="575"/>
                </a:lnTo>
                <a:lnTo>
                  <a:pt x="136" y="566"/>
                </a:lnTo>
                <a:lnTo>
                  <a:pt x="136" y="556"/>
                </a:lnTo>
                <a:lnTo>
                  <a:pt x="127" y="546"/>
                </a:lnTo>
                <a:lnTo>
                  <a:pt x="127" y="527"/>
                </a:lnTo>
                <a:lnTo>
                  <a:pt x="136" y="507"/>
                </a:lnTo>
                <a:lnTo>
                  <a:pt x="156" y="497"/>
                </a:lnTo>
                <a:lnTo>
                  <a:pt x="176" y="497"/>
                </a:lnTo>
                <a:lnTo>
                  <a:pt x="185" y="478"/>
                </a:lnTo>
                <a:lnTo>
                  <a:pt x="185" y="448"/>
                </a:lnTo>
                <a:lnTo>
                  <a:pt x="185" y="419"/>
                </a:lnTo>
                <a:lnTo>
                  <a:pt x="185" y="400"/>
                </a:lnTo>
                <a:lnTo>
                  <a:pt x="176" y="400"/>
                </a:lnTo>
                <a:lnTo>
                  <a:pt x="156" y="409"/>
                </a:lnTo>
                <a:lnTo>
                  <a:pt x="146" y="400"/>
                </a:lnTo>
                <a:lnTo>
                  <a:pt x="156" y="390"/>
                </a:lnTo>
                <a:lnTo>
                  <a:pt x="146" y="380"/>
                </a:lnTo>
                <a:lnTo>
                  <a:pt x="127" y="370"/>
                </a:lnTo>
                <a:lnTo>
                  <a:pt x="117" y="361"/>
                </a:lnTo>
                <a:lnTo>
                  <a:pt x="127" y="361"/>
                </a:lnTo>
                <a:lnTo>
                  <a:pt x="136" y="351"/>
                </a:lnTo>
                <a:lnTo>
                  <a:pt x="136" y="322"/>
                </a:lnTo>
                <a:lnTo>
                  <a:pt x="136" y="312"/>
                </a:lnTo>
                <a:lnTo>
                  <a:pt x="146" y="302"/>
                </a:lnTo>
                <a:lnTo>
                  <a:pt x="136" y="292"/>
                </a:lnTo>
                <a:lnTo>
                  <a:pt x="127" y="283"/>
                </a:lnTo>
                <a:lnTo>
                  <a:pt x="117" y="283"/>
                </a:lnTo>
                <a:lnTo>
                  <a:pt x="107" y="283"/>
                </a:lnTo>
                <a:lnTo>
                  <a:pt x="107" y="273"/>
                </a:lnTo>
                <a:lnTo>
                  <a:pt x="107" y="253"/>
                </a:lnTo>
                <a:lnTo>
                  <a:pt x="97" y="253"/>
                </a:lnTo>
                <a:lnTo>
                  <a:pt x="97" y="234"/>
                </a:lnTo>
                <a:lnTo>
                  <a:pt x="117" y="234"/>
                </a:lnTo>
                <a:lnTo>
                  <a:pt x="117" y="224"/>
                </a:lnTo>
                <a:lnTo>
                  <a:pt x="107" y="214"/>
                </a:lnTo>
                <a:lnTo>
                  <a:pt x="97" y="195"/>
                </a:lnTo>
                <a:lnTo>
                  <a:pt x="107" y="175"/>
                </a:lnTo>
                <a:lnTo>
                  <a:pt x="117" y="166"/>
                </a:lnTo>
                <a:lnTo>
                  <a:pt x="117" y="156"/>
                </a:lnTo>
                <a:lnTo>
                  <a:pt x="97" y="127"/>
                </a:lnTo>
                <a:lnTo>
                  <a:pt x="88" y="107"/>
                </a:lnTo>
                <a:lnTo>
                  <a:pt x="88" y="97"/>
                </a:lnTo>
                <a:lnTo>
                  <a:pt x="97" y="78"/>
                </a:lnTo>
                <a:lnTo>
                  <a:pt x="97" y="58"/>
                </a:lnTo>
                <a:lnTo>
                  <a:pt x="97" y="39"/>
                </a:lnTo>
                <a:lnTo>
                  <a:pt x="97" y="19"/>
                </a:lnTo>
                <a:lnTo>
                  <a:pt x="117" y="29"/>
                </a:lnTo>
                <a:lnTo>
                  <a:pt x="127" y="19"/>
                </a:lnTo>
                <a:lnTo>
                  <a:pt x="166" y="0"/>
                </a:lnTo>
                <a:lnTo>
                  <a:pt x="176" y="19"/>
                </a:lnTo>
                <a:lnTo>
                  <a:pt x="156" y="29"/>
                </a:lnTo>
                <a:lnTo>
                  <a:pt x="176" y="39"/>
                </a:lnTo>
                <a:lnTo>
                  <a:pt x="176" y="58"/>
                </a:lnTo>
                <a:lnTo>
                  <a:pt x="195" y="117"/>
                </a:lnTo>
                <a:lnTo>
                  <a:pt x="215" y="127"/>
                </a:lnTo>
                <a:lnTo>
                  <a:pt x="215" y="107"/>
                </a:lnTo>
                <a:lnTo>
                  <a:pt x="244" y="107"/>
                </a:lnTo>
                <a:lnTo>
                  <a:pt x="244" y="97"/>
                </a:lnTo>
                <a:lnTo>
                  <a:pt x="244" y="78"/>
                </a:lnTo>
                <a:lnTo>
                  <a:pt x="263" y="78"/>
                </a:lnTo>
                <a:lnTo>
                  <a:pt x="263" y="58"/>
                </a:lnTo>
                <a:lnTo>
                  <a:pt x="283" y="58"/>
                </a:lnTo>
                <a:lnTo>
                  <a:pt x="312" y="58"/>
                </a:lnTo>
                <a:lnTo>
                  <a:pt x="312" y="87"/>
                </a:lnTo>
                <a:lnTo>
                  <a:pt x="341" y="146"/>
                </a:lnTo>
                <a:lnTo>
                  <a:pt x="371" y="146"/>
                </a:lnTo>
                <a:lnTo>
                  <a:pt x="410" y="156"/>
                </a:lnTo>
                <a:lnTo>
                  <a:pt x="419" y="156"/>
                </a:lnTo>
                <a:lnTo>
                  <a:pt x="439" y="166"/>
                </a:lnTo>
                <a:lnTo>
                  <a:pt x="468" y="166"/>
                </a:lnTo>
                <a:lnTo>
                  <a:pt x="507" y="166"/>
                </a:lnTo>
                <a:close/>
              </a:path>
            </a:pathLst>
          </a:custGeom>
          <a:solidFill>
            <a:srgbClr val="F21C0A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619" name="Freeform 119"/>
          <p:cNvSpPr>
            <a:spLocks noChangeAspect="1"/>
          </p:cNvSpPr>
          <p:nvPr>
            <p:custDataLst>
              <p:tags r:id="rId185"/>
            </p:custDataLst>
          </p:nvPr>
        </p:nvSpPr>
        <p:spPr bwMode="auto">
          <a:xfrm>
            <a:off x="5035550" y="4468813"/>
            <a:ext cx="963613" cy="911225"/>
          </a:xfrm>
          <a:custGeom>
            <a:avLst/>
            <a:gdLst>
              <a:gd name="T0" fmla="*/ 13346 w 1444"/>
              <a:gd name="T1" fmla="*/ 686531 h 1464"/>
              <a:gd name="T2" fmla="*/ 52051 w 1444"/>
              <a:gd name="T3" fmla="*/ 667858 h 1464"/>
              <a:gd name="T4" fmla="*/ 58724 w 1444"/>
              <a:gd name="T5" fmla="*/ 625533 h 1464"/>
              <a:gd name="T6" fmla="*/ 91423 w 1444"/>
              <a:gd name="T7" fmla="*/ 576985 h 1464"/>
              <a:gd name="T8" fmla="*/ 104770 w 1444"/>
              <a:gd name="T9" fmla="*/ 534660 h 1464"/>
              <a:gd name="T10" fmla="*/ 124122 w 1444"/>
              <a:gd name="T11" fmla="*/ 461837 h 1464"/>
              <a:gd name="T12" fmla="*/ 195525 w 1444"/>
              <a:gd name="T13" fmla="*/ 437562 h 1464"/>
              <a:gd name="T14" fmla="*/ 240903 w 1444"/>
              <a:gd name="T15" fmla="*/ 486111 h 1464"/>
              <a:gd name="T16" fmla="*/ 247576 w 1444"/>
              <a:gd name="T17" fmla="*/ 455613 h 1464"/>
              <a:gd name="T18" fmla="*/ 280275 w 1444"/>
              <a:gd name="T19" fmla="*/ 407064 h 1464"/>
              <a:gd name="T20" fmla="*/ 365025 w 1444"/>
              <a:gd name="T21" fmla="*/ 388391 h 1464"/>
              <a:gd name="T22" fmla="*/ 417076 w 1444"/>
              <a:gd name="T23" fmla="*/ 364117 h 1464"/>
              <a:gd name="T24" fmla="*/ 391051 w 1444"/>
              <a:gd name="T25" fmla="*/ 315568 h 1464"/>
              <a:gd name="T26" fmla="*/ 391051 w 1444"/>
              <a:gd name="T27" fmla="*/ 279467 h 1464"/>
              <a:gd name="T28" fmla="*/ 377704 w 1444"/>
              <a:gd name="T29" fmla="*/ 224694 h 1464"/>
              <a:gd name="T30" fmla="*/ 423082 w 1444"/>
              <a:gd name="T31" fmla="*/ 182369 h 1464"/>
              <a:gd name="T32" fmla="*/ 436429 w 1444"/>
              <a:gd name="T33" fmla="*/ 90874 h 1464"/>
              <a:gd name="T34" fmla="*/ 436429 w 1444"/>
              <a:gd name="T35" fmla="*/ 54773 h 1464"/>
              <a:gd name="T36" fmla="*/ 429755 w 1444"/>
              <a:gd name="T37" fmla="*/ 6224 h 1464"/>
              <a:gd name="T38" fmla="*/ 501159 w 1444"/>
              <a:gd name="T39" fmla="*/ 12448 h 1464"/>
              <a:gd name="T40" fmla="*/ 513838 w 1444"/>
              <a:gd name="T41" fmla="*/ 36723 h 1464"/>
              <a:gd name="T42" fmla="*/ 539863 w 1444"/>
              <a:gd name="T43" fmla="*/ 109546 h 1464"/>
              <a:gd name="T44" fmla="*/ 559216 w 1444"/>
              <a:gd name="T45" fmla="*/ 158095 h 1464"/>
              <a:gd name="T46" fmla="*/ 591915 w 1444"/>
              <a:gd name="T47" fmla="*/ 194196 h 1464"/>
              <a:gd name="T48" fmla="*/ 598588 w 1444"/>
              <a:gd name="T49" fmla="*/ 230918 h 1464"/>
              <a:gd name="T50" fmla="*/ 579235 w 1444"/>
              <a:gd name="T51" fmla="*/ 334240 h 1464"/>
              <a:gd name="T52" fmla="*/ 650639 w 1444"/>
              <a:gd name="T53" fmla="*/ 328016 h 1464"/>
              <a:gd name="T54" fmla="*/ 702690 w 1444"/>
              <a:gd name="T55" fmla="*/ 321792 h 1464"/>
              <a:gd name="T56" fmla="*/ 735389 w 1444"/>
              <a:gd name="T57" fmla="*/ 291293 h 1464"/>
              <a:gd name="T58" fmla="*/ 800119 w 1444"/>
              <a:gd name="T59" fmla="*/ 200420 h 1464"/>
              <a:gd name="T60" fmla="*/ 858843 w 1444"/>
              <a:gd name="T61" fmla="*/ 237143 h 1464"/>
              <a:gd name="T62" fmla="*/ 898215 w 1444"/>
              <a:gd name="T63" fmla="*/ 248969 h 1464"/>
              <a:gd name="T64" fmla="*/ 943593 w 1444"/>
              <a:gd name="T65" fmla="*/ 267019 h 1464"/>
              <a:gd name="T66" fmla="*/ 956272 w 1444"/>
              <a:gd name="T67" fmla="*/ 328016 h 1464"/>
              <a:gd name="T68" fmla="*/ 904221 w 1444"/>
              <a:gd name="T69" fmla="*/ 339842 h 1464"/>
              <a:gd name="T70" fmla="*/ 910895 w 1444"/>
              <a:gd name="T71" fmla="*/ 388391 h 1464"/>
              <a:gd name="T72" fmla="*/ 930247 w 1444"/>
              <a:gd name="T73" fmla="*/ 413288 h 1464"/>
              <a:gd name="T74" fmla="*/ 910895 w 1444"/>
              <a:gd name="T75" fmla="*/ 443164 h 1464"/>
              <a:gd name="T76" fmla="*/ 858843 w 1444"/>
              <a:gd name="T77" fmla="*/ 418890 h 1464"/>
              <a:gd name="T78" fmla="*/ 826145 w 1444"/>
              <a:gd name="T79" fmla="*/ 467439 h 1464"/>
              <a:gd name="T80" fmla="*/ 728716 w 1444"/>
              <a:gd name="T81" fmla="*/ 473663 h 1464"/>
              <a:gd name="T82" fmla="*/ 669991 w 1444"/>
              <a:gd name="T83" fmla="*/ 491713 h 1464"/>
              <a:gd name="T84" fmla="*/ 598588 w 1444"/>
              <a:gd name="T85" fmla="*/ 510386 h 1464"/>
              <a:gd name="T86" fmla="*/ 598588 w 1444"/>
              <a:gd name="T87" fmla="*/ 558934 h 1464"/>
              <a:gd name="T88" fmla="*/ 598588 w 1444"/>
              <a:gd name="T89" fmla="*/ 656032 h 1464"/>
              <a:gd name="T90" fmla="*/ 565889 w 1444"/>
              <a:gd name="T91" fmla="*/ 783629 h 1464"/>
              <a:gd name="T92" fmla="*/ 487812 w 1444"/>
              <a:gd name="T93" fmla="*/ 764956 h 1464"/>
              <a:gd name="T94" fmla="*/ 423082 w 1444"/>
              <a:gd name="T95" fmla="*/ 764956 h 1464"/>
              <a:gd name="T96" fmla="*/ 332326 w 1444"/>
              <a:gd name="T97" fmla="*/ 728856 h 1464"/>
              <a:gd name="T98" fmla="*/ 306301 w 1444"/>
              <a:gd name="T99" fmla="*/ 771180 h 1464"/>
              <a:gd name="T100" fmla="*/ 377704 w 1444"/>
              <a:gd name="T101" fmla="*/ 795455 h 1464"/>
              <a:gd name="T102" fmla="*/ 501159 w 1444"/>
              <a:gd name="T103" fmla="*/ 832178 h 1464"/>
              <a:gd name="T104" fmla="*/ 403730 w 1444"/>
              <a:gd name="T105" fmla="*/ 905001 h 1464"/>
              <a:gd name="T106" fmla="*/ 358352 w 1444"/>
              <a:gd name="T107" fmla="*/ 892552 h 1464"/>
              <a:gd name="T108" fmla="*/ 325653 w 1444"/>
              <a:gd name="T109" fmla="*/ 850228 h 1464"/>
              <a:gd name="T110" fmla="*/ 266929 w 1444"/>
              <a:gd name="T111" fmla="*/ 819729 h 1464"/>
              <a:gd name="T112" fmla="*/ 214878 w 1444"/>
              <a:gd name="T113" fmla="*/ 771180 h 1464"/>
              <a:gd name="T114" fmla="*/ 156821 w 1444"/>
              <a:gd name="T115" fmla="*/ 789230 h 1464"/>
              <a:gd name="T116" fmla="*/ 110775 w 1444"/>
              <a:gd name="T117" fmla="*/ 783629 h 1464"/>
              <a:gd name="T118" fmla="*/ 46045 w 1444"/>
              <a:gd name="T119" fmla="*/ 746906 h 1464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444"/>
              <a:gd name="T181" fmla="*/ 0 h 1464"/>
              <a:gd name="T182" fmla="*/ 1444 w 1444"/>
              <a:gd name="T183" fmla="*/ 1464 h 1464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444" h="1464">
                <a:moveTo>
                  <a:pt x="69" y="1200"/>
                </a:moveTo>
                <a:lnTo>
                  <a:pt x="39" y="1171"/>
                </a:lnTo>
                <a:lnTo>
                  <a:pt x="0" y="1132"/>
                </a:lnTo>
                <a:lnTo>
                  <a:pt x="0" y="1112"/>
                </a:lnTo>
                <a:lnTo>
                  <a:pt x="20" y="1112"/>
                </a:lnTo>
                <a:lnTo>
                  <a:pt x="20" y="1103"/>
                </a:lnTo>
                <a:lnTo>
                  <a:pt x="20" y="1093"/>
                </a:lnTo>
                <a:lnTo>
                  <a:pt x="20" y="1083"/>
                </a:lnTo>
                <a:lnTo>
                  <a:pt x="39" y="1083"/>
                </a:lnTo>
                <a:lnTo>
                  <a:pt x="59" y="1093"/>
                </a:lnTo>
                <a:lnTo>
                  <a:pt x="69" y="1093"/>
                </a:lnTo>
                <a:lnTo>
                  <a:pt x="78" y="1073"/>
                </a:lnTo>
                <a:lnTo>
                  <a:pt x="78" y="1054"/>
                </a:lnTo>
                <a:lnTo>
                  <a:pt x="78" y="1034"/>
                </a:lnTo>
                <a:lnTo>
                  <a:pt x="78" y="1025"/>
                </a:lnTo>
                <a:lnTo>
                  <a:pt x="88" y="1025"/>
                </a:lnTo>
                <a:lnTo>
                  <a:pt x="88" y="1015"/>
                </a:lnTo>
                <a:lnTo>
                  <a:pt x="88" y="1005"/>
                </a:lnTo>
                <a:lnTo>
                  <a:pt x="88" y="985"/>
                </a:lnTo>
                <a:lnTo>
                  <a:pt x="88" y="956"/>
                </a:lnTo>
                <a:lnTo>
                  <a:pt x="98" y="956"/>
                </a:lnTo>
                <a:lnTo>
                  <a:pt x="98" y="937"/>
                </a:lnTo>
                <a:lnTo>
                  <a:pt x="108" y="927"/>
                </a:lnTo>
                <a:lnTo>
                  <a:pt x="137" y="927"/>
                </a:lnTo>
                <a:lnTo>
                  <a:pt x="137" y="917"/>
                </a:lnTo>
                <a:lnTo>
                  <a:pt x="147" y="898"/>
                </a:lnTo>
                <a:lnTo>
                  <a:pt x="147" y="878"/>
                </a:lnTo>
                <a:lnTo>
                  <a:pt x="157" y="878"/>
                </a:lnTo>
                <a:lnTo>
                  <a:pt x="166" y="868"/>
                </a:lnTo>
                <a:lnTo>
                  <a:pt x="157" y="859"/>
                </a:lnTo>
                <a:lnTo>
                  <a:pt x="157" y="849"/>
                </a:lnTo>
                <a:lnTo>
                  <a:pt x="147" y="839"/>
                </a:lnTo>
                <a:lnTo>
                  <a:pt x="137" y="820"/>
                </a:lnTo>
                <a:lnTo>
                  <a:pt x="157" y="781"/>
                </a:lnTo>
                <a:lnTo>
                  <a:pt x="166" y="751"/>
                </a:lnTo>
                <a:lnTo>
                  <a:pt x="186" y="742"/>
                </a:lnTo>
                <a:lnTo>
                  <a:pt x="215" y="742"/>
                </a:lnTo>
                <a:lnTo>
                  <a:pt x="235" y="751"/>
                </a:lnTo>
                <a:lnTo>
                  <a:pt x="254" y="751"/>
                </a:lnTo>
                <a:lnTo>
                  <a:pt x="264" y="742"/>
                </a:lnTo>
                <a:lnTo>
                  <a:pt x="283" y="712"/>
                </a:lnTo>
                <a:lnTo>
                  <a:pt x="293" y="703"/>
                </a:lnTo>
                <a:lnTo>
                  <a:pt x="303" y="703"/>
                </a:lnTo>
                <a:lnTo>
                  <a:pt x="313" y="732"/>
                </a:lnTo>
                <a:lnTo>
                  <a:pt x="332" y="732"/>
                </a:lnTo>
                <a:lnTo>
                  <a:pt x="332" y="761"/>
                </a:lnTo>
                <a:lnTo>
                  <a:pt x="361" y="781"/>
                </a:lnTo>
                <a:lnTo>
                  <a:pt x="371" y="771"/>
                </a:lnTo>
                <a:lnTo>
                  <a:pt x="371" y="761"/>
                </a:lnTo>
                <a:lnTo>
                  <a:pt x="361" y="751"/>
                </a:lnTo>
                <a:lnTo>
                  <a:pt x="361" y="732"/>
                </a:lnTo>
                <a:lnTo>
                  <a:pt x="352" y="732"/>
                </a:lnTo>
                <a:lnTo>
                  <a:pt x="371" y="732"/>
                </a:lnTo>
                <a:lnTo>
                  <a:pt x="371" y="703"/>
                </a:lnTo>
                <a:lnTo>
                  <a:pt x="371" y="693"/>
                </a:lnTo>
                <a:lnTo>
                  <a:pt x="381" y="683"/>
                </a:lnTo>
                <a:lnTo>
                  <a:pt x="400" y="683"/>
                </a:lnTo>
                <a:lnTo>
                  <a:pt x="410" y="654"/>
                </a:lnTo>
                <a:lnTo>
                  <a:pt x="420" y="654"/>
                </a:lnTo>
                <a:lnTo>
                  <a:pt x="449" y="634"/>
                </a:lnTo>
                <a:lnTo>
                  <a:pt x="459" y="615"/>
                </a:lnTo>
                <a:lnTo>
                  <a:pt x="488" y="585"/>
                </a:lnTo>
                <a:lnTo>
                  <a:pt x="508" y="605"/>
                </a:lnTo>
                <a:lnTo>
                  <a:pt x="537" y="605"/>
                </a:lnTo>
                <a:lnTo>
                  <a:pt x="547" y="624"/>
                </a:lnTo>
                <a:lnTo>
                  <a:pt x="566" y="624"/>
                </a:lnTo>
                <a:lnTo>
                  <a:pt x="586" y="644"/>
                </a:lnTo>
                <a:lnTo>
                  <a:pt x="595" y="634"/>
                </a:lnTo>
                <a:lnTo>
                  <a:pt x="595" y="615"/>
                </a:lnTo>
                <a:lnTo>
                  <a:pt x="595" y="605"/>
                </a:lnTo>
                <a:lnTo>
                  <a:pt x="625" y="585"/>
                </a:lnTo>
                <a:lnTo>
                  <a:pt x="625" y="566"/>
                </a:lnTo>
                <a:lnTo>
                  <a:pt x="615" y="556"/>
                </a:lnTo>
                <a:lnTo>
                  <a:pt x="615" y="546"/>
                </a:lnTo>
                <a:lnTo>
                  <a:pt x="595" y="537"/>
                </a:lnTo>
                <a:lnTo>
                  <a:pt x="586" y="527"/>
                </a:lnTo>
                <a:lnTo>
                  <a:pt x="586" y="507"/>
                </a:lnTo>
                <a:lnTo>
                  <a:pt x="605" y="498"/>
                </a:lnTo>
                <a:lnTo>
                  <a:pt x="625" y="488"/>
                </a:lnTo>
                <a:lnTo>
                  <a:pt x="625" y="468"/>
                </a:lnTo>
                <a:lnTo>
                  <a:pt x="615" y="449"/>
                </a:lnTo>
                <a:lnTo>
                  <a:pt x="605" y="449"/>
                </a:lnTo>
                <a:lnTo>
                  <a:pt x="586" y="449"/>
                </a:lnTo>
                <a:lnTo>
                  <a:pt x="566" y="420"/>
                </a:lnTo>
                <a:lnTo>
                  <a:pt x="566" y="400"/>
                </a:lnTo>
                <a:lnTo>
                  <a:pt x="576" y="390"/>
                </a:lnTo>
                <a:lnTo>
                  <a:pt x="576" y="381"/>
                </a:lnTo>
                <a:lnTo>
                  <a:pt x="566" y="381"/>
                </a:lnTo>
                <a:lnTo>
                  <a:pt x="566" y="361"/>
                </a:lnTo>
                <a:lnTo>
                  <a:pt x="576" y="351"/>
                </a:lnTo>
                <a:lnTo>
                  <a:pt x="576" y="332"/>
                </a:lnTo>
                <a:lnTo>
                  <a:pt x="576" y="322"/>
                </a:lnTo>
                <a:lnTo>
                  <a:pt x="586" y="322"/>
                </a:lnTo>
                <a:lnTo>
                  <a:pt x="605" y="312"/>
                </a:lnTo>
                <a:lnTo>
                  <a:pt x="634" y="293"/>
                </a:lnTo>
                <a:lnTo>
                  <a:pt x="625" y="263"/>
                </a:lnTo>
                <a:lnTo>
                  <a:pt x="634" y="254"/>
                </a:lnTo>
                <a:lnTo>
                  <a:pt x="654" y="234"/>
                </a:lnTo>
                <a:lnTo>
                  <a:pt x="654" y="195"/>
                </a:lnTo>
                <a:lnTo>
                  <a:pt x="664" y="176"/>
                </a:lnTo>
                <a:lnTo>
                  <a:pt x="654" y="146"/>
                </a:lnTo>
                <a:lnTo>
                  <a:pt x="634" y="137"/>
                </a:lnTo>
                <a:lnTo>
                  <a:pt x="634" y="127"/>
                </a:lnTo>
                <a:lnTo>
                  <a:pt x="644" y="117"/>
                </a:lnTo>
                <a:lnTo>
                  <a:pt x="644" y="98"/>
                </a:lnTo>
                <a:lnTo>
                  <a:pt x="644" y="78"/>
                </a:lnTo>
                <a:lnTo>
                  <a:pt x="654" y="88"/>
                </a:lnTo>
                <a:lnTo>
                  <a:pt x="664" y="78"/>
                </a:lnTo>
                <a:lnTo>
                  <a:pt x="644" y="59"/>
                </a:lnTo>
                <a:lnTo>
                  <a:pt x="644" y="29"/>
                </a:lnTo>
                <a:lnTo>
                  <a:pt x="634" y="20"/>
                </a:lnTo>
                <a:lnTo>
                  <a:pt x="634" y="10"/>
                </a:lnTo>
                <a:lnTo>
                  <a:pt x="644" y="10"/>
                </a:lnTo>
                <a:lnTo>
                  <a:pt x="654" y="20"/>
                </a:lnTo>
                <a:lnTo>
                  <a:pt x="673" y="20"/>
                </a:lnTo>
                <a:lnTo>
                  <a:pt x="683" y="20"/>
                </a:lnTo>
                <a:lnTo>
                  <a:pt x="703" y="0"/>
                </a:lnTo>
                <a:lnTo>
                  <a:pt x="752" y="10"/>
                </a:lnTo>
                <a:lnTo>
                  <a:pt x="752" y="20"/>
                </a:lnTo>
                <a:lnTo>
                  <a:pt x="742" y="20"/>
                </a:lnTo>
                <a:lnTo>
                  <a:pt x="732" y="29"/>
                </a:lnTo>
                <a:lnTo>
                  <a:pt x="722" y="39"/>
                </a:lnTo>
                <a:lnTo>
                  <a:pt x="722" y="49"/>
                </a:lnTo>
                <a:lnTo>
                  <a:pt x="742" y="59"/>
                </a:lnTo>
                <a:lnTo>
                  <a:pt x="771" y="59"/>
                </a:lnTo>
                <a:lnTo>
                  <a:pt x="791" y="68"/>
                </a:lnTo>
                <a:lnTo>
                  <a:pt x="800" y="88"/>
                </a:lnTo>
                <a:lnTo>
                  <a:pt x="820" y="127"/>
                </a:lnTo>
                <a:lnTo>
                  <a:pt x="810" y="146"/>
                </a:lnTo>
                <a:lnTo>
                  <a:pt x="800" y="156"/>
                </a:lnTo>
                <a:lnTo>
                  <a:pt x="810" y="176"/>
                </a:lnTo>
                <a:lnTo>
                  <a:pt x="830" y="176"/>
                </a:lnTo>
                <a:lnTo>
                  <a:pt x="839" y="176"/>
                </a:lnTo>
                <a:lnTo>
                  <a:pt x="839" y="224"/>
                </a:lnTo>
                <a:lnTo>
                  <a:pt x="839" y="234"/>
                </a:lnTo>
                <a:lnTo>
                  <a:pt x="839" y="254"/>
                </a:lnTo>
                <a:lnTo>
                  <a:pt x="839" y="263"/>
                </a:lnTo>
                <a:lnTo>
                  <a:pt x="849" y="263"/>
                </a:lnTo>
                <a:lnTo>
                  <a:pt x="849" y="273"/>
                </a:lnTo>
                <a:lnTo>
                  <a:pt x="849" y="293"/>
                </a:lnTo>
                <a:lnTo>
                  <a:pt x="859" y="303"/>
                </a:lnTo>
                <a:lnTo>
                  <a:pt x="888" y="312"/>
                </a:lnTo>
                <a:lnTo>
                  <a:pt x="898" y="322"/>
                </a:lnTo>
                <a:lnTo>
                  <a:pt x="898" y="332"/>
                </a:lnTo>
                <a:lnTo>
                  <a:pt x="898" y="342"/>
                </a:lnTo>
                <a:lnTo>
                  <a:pt x="888" y="351"/>
                </a:lnTo>
                <a:lnTo>
                  <a:pt x="898" y="361"/>
                </a:lnTo>
                <a:lnTo>
                  <a:pt x="898" y="371"/>
                </a:lnTo>
                <a:lnTo>
                  <a:pt x="878" y="371"/>
                </a:lnTo>
                <a:lnTo>
                  <a:pt x="869" y="429"/>
                </a:lnTo>
                <a:lnTo>
                  <a:pt x="869" y="478"/>
                </a:lnTo>
                <a:lnTo>
                  <a:pt x="859" y="507"/>
                </a:lnTo>
                <a:lnTo>
                  <a:pt x="859" y="527"/>
                </a:lnTo>
                <a:lnTo>
                  <a:pt x="869" y="537"/>
                </a:lnTo>
                <a:lnTo>
                  <a:pt x="888" y="556"/>
                </a:lnTo>
                <a:lnTo>
                  <a:pt x="917" y="556"/>
                </a:lnTo>
                <a:lnTo>
                  <a:pt x="927" y="546"/>
                </a:lnTo>
                <a:lnTo>
                  <a:pt x="937" y="537"/>
                </a:lnTo>
                <a:lnTo>
                  <a:pt x="956" y="537"/>
                </a:lnTo>
                <a:lnTo>
                  <a:pt x="976" y="527"/>
                </a:lnTo>
                <a:lnTo>
                  <a:pt x="995" y="517"/>
                </a:lnTo>
                <a:lnTo>
                  <a:pt x="1015" y="498"/>
                </a:lnTo>
                <a:lnTo>
                  <a:pt x="1034" y="468"/>
                </a:lnTo>
                <a:lnTo>
                  <a:pt x="1044" y="488"/>
                </a:lnTo>
                <a:lnTo>
                  <a:pt x="1054" y="488"/>
                </a:lnTo>
                <a:lnTo>
                  <a:pt x="1054" y="517"/>
                </a:lnTo>
                <a:lnTo>
                  <a:pt x="1054" y="537"/>
                </a:lnTo>
                <a:lnTo>
                  <a:pt x="1064" y="546"/>
                </a:lnTo>
                <a:lnTo>
                  <a:pt x="1073" y="527"/>
                </a:lnTo>
                <a:lnTo>
                  <a:pt x="1083" y="517"/>
                </a:lnTo>
                <a:lnTo>
                  <a:pt x="1103" y="507"/>
                </a:lnTo>
                <a:lnTo>
                  <a:pt x="1103" y="468"/>
                </a:lnTo>
                <a:lnTo>
                  <a:pt x="1112" y="459"/>
                </a:lnTo>
                <a:lnTo>
                  <a:pt x="1142" y="429"/>
                </a:lnTo>
                <a:lnTo>
                  <a:pt x="1151" y="381"/>
                </a:lnTo>
                <a:lnTo>
                  <a:pt x="1171" y="361"/>
                </a:lnTo>
                <a:lnTo>
                  <a:pt x="1171" y="342"/>
                </a:lnTo>
                <a:lnTo>
                  <a:pt x="1200" y="322"/>
                </a:lnTo>
                <a:lnTo>
                  <a:pt x="1229" y="332"/>
                </a:lnTo>
                <a:lnTo>
                  <a:pt x="1259" y="342"/>
                </a:lnTo>
                <a:lnTo>
                  <a:pt x="1288" y="351"/>
                </a:lnTo>
                <a:lnTo>
                  <a:pt x="1288" y="361"/>
                </a:lnTo>
                <a:lnTo>
                  <a:pt x="1288" y="381"/>
                </a:lnTo>
                <a:lnTo>
                  <a:pt x="1288" y="400"/>
                </a:lnTo>
                <a:lnTo>
                  <a:pt x="1298" y="420"/>
                </a:lnTo>
                <a:lnTo>
                  <a:pt x="1317" y="410"/>
                </a:lnTo>
                <a:lnTo>
                  <a:pt x="1317" y="400"/>
                </a:lnTo>
                <a:lnTo>
                  <a:pt x="1337" y="410"/>
                </a:lnTo>
                <a:lnTo>
                  <a:pt x="1347" y="400"/>
                </a:lnTo>
                <a:lnTo>
                  <a:pt x="1347" y="390"/>
                </a:lnTo>
                <a:lnTo>
                  <a:pt x="1376" y="410"/>
                </a:lnTo>
                <a:lnTo>
                  <a:pt x="1386" y="400"/>
                </a:lnTo>
                <a:lnTo>
                  <a:pt x="1395" y="410"/>
                </a:lnTo>
                <a:lnTo>
                  <a:pt x="1395" y="429"/>
                </a:lnTo>
                <a:lnTo>
                  <a:pt x="1415" y="429"/>
                </a:lnTo>
                <a:lnTo>
                  <a:pt x="1415" y="449"/>
                </a:lnTo>
                <a:lnTo>
                  <a:pt x="1415" y="468"/>
                </a:lnTo>
                <a:lnTo>
                  <a:pt x="1415" y="488"/>
                </a:lnTo>
                <a:lnTo>
                  <a:pt x="1434" y="488"/>
                </a:lnTo>
                <a:lnTo>
                  <a:pt x="1444" y="498"/>
                </a:lnTo>
                <a:lnTo>
                  <a:pt x="1434" y="527"/>
                </a:lnTo>
                <a:lnTo>
                  <a:pt x="1434" y="537"/>
                </a:lnTo>
                <a:lnTo>
                  <a:pt x="1405" y="527"/>
                </a:lnTo>
                <a:lnTo>
                  <a:pt x="1386" y="527"/>
                </a:lnTo>
                <a:lnTo>
                  <a:pt x="1376" y="527"/>
                </a:lnTo>
                <a:lnTo>
                  <a:pt x="1356" y="537"/>
                </a:lnTo>
                <a:lnTo>
                  <a:pt x="1356" y="546"/>
                </a:lnTo>
                <a:lnTo>
                  <a:pt x="1366" y="556"/>
                </a:lnTo>
                <a:lnTo>
                  <a:pt x="1356" y="566"/>
                </a:lnTo>
                <a:lnTo>
                  <a:pt x="1356" y="595"/>
                </a:lnTo>
                <a:lnTo>
                  <a:pt x="1347" y="605"/>
                </a:lnTo>
                <a:lnTo>
                  <a:pt x="1347" y="624"/>
                </a:lnTo>
                <a:lnTo>
                  <a:pt x="1366" y="624"/>
                </a:lnTo>
                <a:lnTo>
                  <a:pt x="1366" y="634"/>
                </a:lnTo>
                <a:lnTo>
                  <a:pt x="1356" y="644"/>
                </a:lnTo>
                <a:lnTo>
                  <a:pt x="1376" y="664"/>
                </a:lnTo>
                <a:lnTo>
                  <a:pt x="1376" y="654"/>
                </a:lnTo>
                <a:lnTo>
                  <a:pt x="1395" y="654"/>
                </a:lnTo>
                <a:lnTo>
                  <a:pt x="1395" y="664"/>
                </a:lnTo>
                <a:lnTo>
                  <a:pt x="1386" y="673"/>
                </a:lnTo>
                <a:lnTo>
                  <a:pt x="1395" y="683"/>
                </a:lnTo>
                <a:lnTo>
                  <a:pt x="1395" y="693"/>
                </a:lnTo>
                <a:lnTo>
                  <a:pt x="1386" y="703"/>
                </a:lnTo>
                <a:lnTo>
                  <a:pt x="1376" y="703"/>
                </a:lnTo>
                <a:lnTo>
                  <a:pt x="1366" y="712"/>
                </a:lnTo>
                <a:lnTo>
                  <a:pt x="1356" y="722"/>
                </a:lnTo>
                <a:lnTo>
                  <a:pt x="1298" y="712"/>
                </a:lnTo>
                <a:lnTo>
                  <a:pt x="1308" y="703"/>
                </a:lnTo>
                <a:lnTo>
                  <a:pt x="1308" y="693"/>
                </a:lnTo>
                <a:lnTo>
                  <a:pt x="1308" y="673"/>
                </a:lnTo>
                <a:lnTo>
                  <a:pt x="1288" y="673"/>
                </a:lnTo>
                <a:lnTo>
                  <a:pt x="1288" y="683"/>
                </a:lnTo>
                <a:lnTo>
                  <a:pt x="1278" y="703"/>
                </a:lnTo>
                <a:lnTo>
                  <a:pt x="1259" y="703"/>
                </a:lnTo>
                <a:lnTo>
                  <a:pt x="1239" y="712"/>
                </a:lnTo>
                <a:lnTo>
                  <a:pt x="1239" y="732"/>
                </a:lnTo>
                <a:lnTo>
                  <a:pt x="1239" y="751"/>
                </a:lnTo>
                <a:lnTo>
                  <a:pt x="1190" y="790"/>
                </a:lnTo>
                <a:lnTo>
                  <a:pt x="1151" y="790"/>
                </a:lnTo>
                <a:lnTo>
                  <a:pt x="1112" y="790"/>
                </a:lnTo>
                <a:lnTo>
                  <a:pt x="1103" y="781"/>
                </a:lnTo>
                <a:lnTo>
                  <a:pt x="1103" y="771"/>
                </a:lnTo>
                <a:lnTo>
                  <a:pt x="1093" y="761"/>
                </a:lnTo>
                <a:lnTo>
                  <a:pt x="1083" y="771"/>
                </a:lnTo>
                <a:lnTo>
                  <a:pt x="1064" y="771"/>
                </a:lnTo>
                <a:lnTo>
                  <a:pt x="1044" y="761"/>
                </a:lnTo>
                <a:lnTo>
                  <a:pt x="1034" y="761"/>
                </a:lnTo>
                <a:lnTo>
                  <a:pt x="1025" y="781"/>
                </a:lnTo>
                <a:lnTo>
                  <a:pt x="1005" y="790"/>
                </a:lnTo>
                <a:lnTo>
                  <a:pt x="976" y="790"/>
                </a:lnTo>
                <a:lnTo>
                  <a:pt x="956" y="781"/>
                </a:lnTo>
                <a:lnTo>
                  <a:pt x="937" y="790"/>
                </a:lnTo>
                <a:lnTo>
                  <a:pt x="927" y="810"/>
                </a:lnTo>
                <a:lnTo>
                  <a:pt x="908" y="810"/>
                </a:lnTo>
                <a:lnTo>
                  <a:pt x="898" y="820"/>
                </a:lnTo>
                <a:lnTo>
                  <a:pt x="878" y="839"/>
                </a:lnTo>
                <a:lnTo>
                  <a:pt x="859" y="859"/>
                </a:lnTo>
                <a:lnTo>
                  <a:pt x="859" y="878"/>
                </a:lnTo>
                <a:lnTo>
                  <a:pt x="888" y="878"/>
                </a:lnTo>
                <a:lnTo>
                  <a:pt x="888" y="898"/>
                </a:lnTo>
                <a:lnTo>
                  <a:pt x="898" y="898"/>
                </a:lnTo>
                <a:lnTo>
                  <a:pt x="898" y="907"/>
                </a:lnTo>
                <a:lnTo>
                  <a:pt x="888" y="917"/>
                </a:lnTo>
                <a:lnTo>
                  <a:pt x="888" y="956"/>
                </a:lnTo>
                <a:lnTo>
                  <a:pt x="898" y="985"/>
                </a:lnTo>
                <a:lnTo>
                  <a:pt x="898" y="1015"/>
                </a:lnTo>
                <a:lnTo>
                  <a:pt x="898" y="1054"/>
                </a:lnTo>
                <a:lnTo>
                  <a:pt x="937" y="1073"/>
                </a:lnTo>
                <a:lnTo>
                  <a:pt x="908" y="1132"/>
                </a:lnTo>
                <a:lnTo>
                  <a:pt x="898" y="1181"/>
                </a:lnTo>
                <a:lnTo>
                  <a:pt x="898" y="1200"/>
                </a:lnTo>
                <a:lnTo>
                  <a:pt x="878" y="1229"/>
                </a:lnTo>
                <a:lnTo>
                  <a:pt x="849" y="1259"/>
                </a:lnTo>
                <a:lnTo>
                  <a:pt x="810" y="1278"/>
                </a:lnTo>
                <a:lnTo>
                  <a:pt x="771" y="1317"/>
                </a:lnTo>
                <a:lnTo>
                  <a:pt x="752" y="1337"/>
                </a:lnTo>
                <a:lnTo>
                  <a:pt x="693" y="1288"/>
                </a:lnTo>
                <a:lnTo>
                  <a:pt x="693" y="1259"/>
                </a:lnTo>
                <a:lnTo>
                  <a:pt x="732" y="1229"/>
                </a:lnTo>
                <a:lnTo>
                  <a:pt x="703" y="1220"/>
                </a:lnTo>
                <a:lnTo>
                  <a:pt x="693" y="1190"/>
                </a:lnTo>
                <a:lnTo>
                  <a:pt x="683" y="1190"/>
                </a:lnTo>
                <a:lnTo>
                  <a:pt x="683" y="1210"/>
                </a:lnTo>
                <a:lnTo>
                  <a:pt x="664" y="1210"/>
                </a:lnTo>
                <a:lnTo>
                  <a:pt x="634" y="1229"/>
                </a:lnTo>
                <a:lnTo>
                  <a:pt x="605" y="1210"/>
                </a:lnTo>
                <a:lnTo>
                  <a:pt x="595" y="1161"/>
                </a:lnTo>
                <a:lnTo>
                  <a:pt x="576" y="1161"/>
                </a:lnTo>
                <a:lnTo>
                  <a:pt x="556" y="1171"/>
                </a:lnTo>
                <a:lnTo>
                  <a:pt x="537" y="1190"/>
                </a:lnTo>
                <a:lnTo>
                  <a:pt x="498" y="1171"/>
                </a:lnTo>
                <a:lnTo>
                  <a:pt x="478" y="1171"/>
                </a:lnTo>
                <a:lnTo>
                  <a:pt x="469" y="1190"/>
                </a:lnTo>
                <a:lnTo>
                  <a:pt x="488" y="1210"/>
                </a:lnTo>
                <a:lnTo>
                  <a:pt x="498" y="1229"/>
                </a:lnTo>
                <a:lnTo>
                  <a:pt x="478" y="1229"/>
                </a:lnTo>
                <a:lnTo>
                  <a:pt x="459" y="1239"/>
                </a:lnTo>
                <a:lnTo>
                  <a:pt x="459" y="1259"/>
                </a:lnTo>
                <a:lnTo>
                  <a:pt x="488" y="1268"/>
                </a:lnTo>
                <a:lnTo>
                  <a:pt x="517" y="1259"/>
                </a:lnTo>
                <a:lnTo>
                  <a:pt x="547" y="1239"/>
                </a:lnTo>
                <a:lnTo>
                  <a:pt x="547" y="1268"/>
                </a:lnTo>
                <a:lnTo>
                  <a:pt x="566" y="1278"/>
                </a:lnTo>
                <a:lnTo>
                  <a:pt x="586" y="1259"/>
                </a:lnTo>
                <a:lnTo>
                  <a:pt x="605" y="1259"/>
                </a:lnTo>
                <a:lnTo>
                  <a:pt x="605" y="1288"/>
                </a:lnTo>
                <a:lnTo>
                  <a:pt x="644" y="1327"/>
                </a:lnTo>
                <a:lnTo>
                  <a:pt x="693" y="1288"/>
                </a:lnTo>
                <a:lnTo>
                  <a:pt x="752" y="1337"/>
                </a:lnTo>
                <a:lnTo>
                  <a:pt x="732" y="1376"/>
                </a:lnTo>
                <a:lnTo>
                  <a:pt x="703" y="1405"/>
                </a:lnTo>
                <a:lnTo>
                  <a:pt x="664" y="1415"/>
                </a:lnTo>
                <a:lnTo>
                  <a:pt x="625" y="1425"/>
                </a:lnTo>
                <a:lnTo>
                  <a:pt x="625" y="1444"/>
                </a:lnTo>
                <a:lnTo>
                  <a:pt x="605" y="1454"/>
                </a:lnTo>
                <a:lnTo>
                  <a:pt x="595" y="1464"/>
                </a:lnTo>
                <a:lnTo>
                  <a:pt x="586" y="1464"/>
                </a:lnTo>
                <a:lnTo>
                  <a:pt x="586" y="1454"/>
                </a:lnTo>
                <a:lnTo>
                  <a:pt x="586" y="1444"/>
                </a:lnTo>
                <a:lnTo>
                  <a:pt x="556" y="1434"/>
                </a:lnTo>
                <a:lnTo>
                  <a:pt x="537" y="1434"/>
                </a:lnTo>
                <a:lnTo>
                  <a:pt x="537" y="1415"/>
                </a:lnTo>
                <a:lnTo>
                  <a:pt x="537" y="1405"/>
                </a:lnTo>
                <a:lnTo>
                  <a:pt x="517" y="1395"/>
                </a:lnTo>
                <a:lnTo>
                  <a:pt x="498" y="1386"/>
                </a:lnTo>
                <a:lnTo>
                  <a:pt x="488" y="1376"/>
                </a:lnTo>
                <a:lnTo>
                  <a:pt x="488" y="1366"/>
                </a:lnTo>
                <a:lnTo>
                  <a:pt x="469" y="1366"/>
                </a:lnTo>
                <a:lnTo>
                  <a:pt x="449" y="1366"/>
                </a:lnTo>
                <a:lnTo>
                  <a:pt x="449" y="1356"/>
                </a:lnTo>
                <a:lnTo>
                  <a:pt x="430" y="1346"/>
                </a:lnTo>
                <a:lnTo>
                  <a:pt x="400" y="1317"/>
                </a:lnTo>
                <a:lnTo>
                  <a:pt x="371" y="1298"/>
                </a:lnTo>
                <a:lnTo>
                  <a:pt x="361" y="1288"/>
                </a:lnTo>
                <a:lnTo>
                  <a:pt x="342" y="1288"/>
                </a:lnTo>
                <a:lnTo>
                  <a:pt x="342" y="1268"/>
                </a:lnTo>
                <a:lnTo>
                  <a:pt x="342" y="1259"/>
                </a:lnTo>
                <a:lnTo>
                  <a:pt x="322" y="1239"/>
                </a:lnTo>
                <a:lnTo>
                  <a:pt x="303" y="1239"/>
                </a:lnTo>
                <a:lnTo>
                  <a:pt x="293" y="1259"/>
                </a:lnTo>
                <a:lnTo>
                  <a:pt x="283" y="1259"/>
                </a:lnTo>
                <a:lnTo>
                  <a:pt x="264" y="1268"/>
                </a:lnTo>
                <a:lnTo>
                  <a:pt x="244" y="1288"/>
                </a:lnTo>
                <a:lnTo>
                  <a:pt x="235" y="1268"/>
                </a:lnTo>
                <a:lnTo>
                  <a:pt x="215" y="1268"/>
                </a:lnTo>
                <a:lnTo>
                  <a:pt x="205" y="1268"/>
                </a:lnTo>
                <a:lnTo>
                  <a:pt x="196" y="1268"/>
                </a:lnTo>
                <a:lnTo>
                  <a:pt x="186" y="1278"/>
                </a:lnTo>
                <a:lnTo>
                  <a:pt x="176" y="1259"/>
                </a:lnTo>
                <a:lnTo>
                  <a:pt x="166" y="1259"/>
                </a:lnTo>
                <a:lnTo>
                  <a:pt x="147" y="1239"/>
                </a:lnTo>
                <a:lnTo>
                  <a:pt x="127" y="1229"/>
                </a:lnTo>
                <a:lnTo>
                  <a:pt x="118" y="1220"/>
                </a:lnTo>
                <a:lnTo>
                  <a:pt x="108" y="1210"/>
                </a:lnTo>
                <a:lnTo>
                  <a:pt x="98" y="1190"/>
                </a:lnTo>
                <a:lnTo>
                  <a:pt x="69" y="1200"/>
                </a:lnTo>
                <a:close/>
              </a:path>
            </a:pathLst>
          </a:custGeom>
          <a:solidFill>
            <a:srgbClr val="C0C0C0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620" name="Freeform 118"/>
          <p:cNvSpPr>
            <a:spLocks noChangeAspect="1"/>
          </p:cNvSpPr>
          <p:nvPr>
            <p:custDataLst>
              <p:tags r:id="rId186"/>
            </p:custDataLst>
          </p:nvPr>
        </p:nvSpPr>
        <p:spPr bwMode="auto">
          <a:xfrm>
            <a:off x="5178425" y="4886325"/>
            <a:ext cx="808038" cy="577850"/>
          </a:xfrm>
          <a:custGeom>
            <a:avLst/>
            <a:gdLst>
              <a:gd name="T0" fmla="*/ 456107 w 1210"/>
              <a:gd name="T1" fmla="*/ 145865 h 927"/>
              <a:gd name="T2" fmla="*/ 430063 w 1210"/>
              <a:gd name="T3" fmla="*/ 127788 h 927"/>
              <a:gd name="T4" fmla="*/ 462785 w 1210"/>
              <a:gd name="T5" fmla="*/ 85400 h 927"/>
              <a:gd name="T6" fmla="*/ 508196 w 1210"/>
              <a:gd name="T7" fmla="*/ 72933 h 927"/>
              <a:gd name="T8" fmla="*/ 553606 w 1210"/>
              <a:gd name="T9" fmla="*/ 54855 h 927"/>
              <a:gd name="T10" fmla="*/ 593006 w 1210"/>
              <a:gd name="T11" fmla="*/ 61089 h 927"/>
              <a:gd name="T12" fmla="*/ 651105 w 1210"/>
              <a:gd name="T13" fmla="*/ 72933 h 927"/>
              <a:gd name="T14" fmla="*/ 697183 w 1210"/>
              <a:gd name="T15" fmla="*/ 18701 h 927"/>
              <a:gd name="T16" fmla="*/ 729905 w 1210"/>
              <a:gd name="T17" fmla="*/ 0 h 927"/>
              <a:gd name="T18" fmla="*/ 716549 w 1210"/>
              <a:gd name="T19" fmla="*/ 43011 h 927"/>
              <a:gd name="T20" fmla="*/ 735916 w 1210"/>
              <a:gd name="T21" fmla="*/ 79166 h 927"/>
              <a:gd name="T22" fmla="*/ 755950 w 1210"/>
              <a:gd name="T23" fmla="*/ 115944 h 927"/>
              <a:gd name="T24" fmla="*/ 788004 w 1210"/>
              <a:gd name="T25" fmla="*/ 140255 h 927"/>
              <a:gd name="T26" fmla="*/ 801360 w 1210"/>
              <a:gd name="T27" fmla="*/ 188877 h 927"/>
              <a:gd name="T28" fmla="*/ 761960 w 1210"/>
              <a:gd name="T29" fmla="*/ 200720 h 927"/>
              <a:gd name="T30" fmla="*/ 729905 w 1210"/>
              <a:gd name="T31" fmla="*/ 243732 h 927"/>
              <a:gd name="T32" fmla="*/ 709871 w 1210"/>
              <a:gd name="T33" fmla="*/ 261809 h 927"/>
              <a:gd name="T34" fmla="*/ 690505 w 1210"/>
              <a:gd name="T35" fmla="*/ 292353 h 927"/>
              <a:gd name="T36" fmla="*/ 716549 w 1210"/>
              <a:gd name="T37" fmla="*/ 334742 h 927"/>
              <a:gd name="T38" fmla="*/ 671139 w 1210"/>
              <a:gd name="T39" fmla="*/ 365286 h 927"/>
              <a:gd name="T40" fmla="*/ 625061 w 1210"/>
              <a:gd name="T41" fmla="*/ 395207 h 927"/>
              <a:gd name="T42" fmla="*/ 566962 w 1210"/>
              <a:gd name="T43" fmla="*/ 444452 h 927"/>
              <a:gd name="T44" fmla="*/ 514874 w 1210"/>
              <a:gd name="T45" fmla="*/ 456296 h 927"/>
              <a:gd name="T46" fmla="*/ 475474 w 1210"/>
              <a:gd name="T47" fmla="*/ 474373 h 927"/>
              <a:gd name="T48" fmla="*/ 475474 w 1210"/>
              <a:gd name="T49" fmla="*/ 486840 h 927"/>
              <a:gd name="T50" fmla="*/ 488830 w 1210"/>
              <a:gd name="T51" fmla="*/ 535462 h 927"/>
              <a:gd name="T52" fmla="*/ 442751 w 1210"/>
              <a:gd name="T53" fmla="*/ 577850 h 927"/>
              <a:gd name="T54" fmla="*/ 384653 w 1210"/>
              <a:gd name="T55" fmla="*/ 553539 h 927"/>
              <a:gd name="T56" fmla="*/ 351931 w 1210"/>
              <a:gd name="T57" fmla="*/ 547306 h 927"/>
              <a:gd name="T58" fmla="*/ 260442 w 1210"/>
              <a:gd name="T59" fmla="*/ 571616 h 927"/>
              <a:gd name="T60" fmla="*/ 182309 w 1210"/>
              <a:gd name="T61" fmla="*/ 547306 h 927"/>
              <a:gd name="T62" fmla="*/ 162943 w 1210"/>
              <a:gd name="T63" fmla="*/ 486840 h 927"/>
              <a:gd name="T64" fmla="*/ 84811 w 1210"/>
              <a:gd name="T65" fmla="*/ 468763 h 927"/>
              <a:gd name="T66" fmla="*/ 39400 w 1210"/>
              <a:gd name="T67" fmla="*/ 450062 h 927"/>
              <a:gd name="T68" fmla="*/ 0 w 1210"/>
              <a:gd name="T69" fmla="*/ 425751 h 927"/>
              <a:gd name="T70" fmla="*/ 0 w 1210"/>
              <a:gd name="T71" fmla="*/ 389597 h 927"/>
              <a:gd name="T72" fmla="*/ 32722 w 1210"/>
              <a:gd name="T73" fmla="*/ 370896 h 927"/>
              <a:gd name="T74" fmla="*/ 71455 w 1210"/>
              <a:gd name="T75" fmla="*/ 352819 h 927"/>
              <a:gd name="T76" fmla="*/ 97499 w 1210"/>
              <a:gd name="T77" fmla="*/ 377130 h 927"/>
              <a:gd name="T78" fmla="*/ 156265 w 1210"/>
              <a:gd name="T79" fmla="*/ 425751 h 927"/>
              <a:gd name="T80" fmla="*/ 182309 w 1210"/>
              <a:gd name="T81" fmla="*/ 425751 h 927"/>
              <a:gd name="T82" fmla="*/ 215032 w 1210"/>
              <a:gd name="T83" fmla="*/ 450062 h 927"/>
              <a:gd name="T84" fmla="*/ 247754 w 1210"/>
              <a:gd name="T85" fmla="*/ 474373 h 927"/>
              <a:gd name="T86" fmla="*/ 260442 w 1210"/>
              <a:gd name="T87" fmla="*/ 480607 h 927"/>
              <a:gd name="T88" fmla="*/ 325886 w 1210"/>
              <a:gd name="T89" fmla="*/ 456296 h 927"/>
              <a:gd name="T90" fmla="*/ 397341 w 1210"/>
              <a:gd name="T91" fmla="*/ 377130 h 927"/>
              <a:gd name="T92" fmla="*/ 449429 w 1210"/>
              <a:gd name="T93" fmla="*/ 316664 h 927"/>
              <a:gd name="T94" fmla="*/ 449429 w 1210"/>
              <a:gd name="T95" fmla="*/ 213187 h 927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1210"/>
              <a:gd name="T145" fmla="*/ 0 h 927"/>
              <a:gd name="T146" fmla="*/ 1210 w 1210"/>
              <a:gd name="T147" fmla="*/ 927 h 927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1210" h="927">
                <a:moveTo>
                  <a:pt x="673" y="312"/>
                </a:moveTo>
                <a:lnTo>
                  <a:pt x="673" y="283"/>
                </a:lnTo>
                <a:lnTo>
                  <a:pt x="673" y="244"/>
                </a:lnTo>
                <a:lnTo>
                  <a:pt x="683" y="234"/>
                </a:lnTo>
                <a:lnTo>
                  <a:pt x="683" y="225"/>
                </a:lnTo>
                <a:lnTo>
                  <a:pt x="673" y="225"/>
                </a:lnTo>
                <a:lnTo>
                  <a:pt x="673" y="205"/>
                </a:lnTo>
                <a:lnTo>
                  <a:pt x="644" y="205"/>
                </a:lnTo>
                <a:lnTo>
                  <a:pt x="644" y="186"/>
                </a:lnTo>
                <a:lnTo>
                  <a:pt x="663" y="166"/>
                </a:lnTo>
                <a:lnTo>
                  <a:pt x="683" y="147"/>
                </a:lnTo>
                <a:lnTo>
                  <a:pt x="693" y="137"/>
                </a:lnTo>
                <a:lnTo>
                  <a:pt x="712" y="137"/>
                </a:lnTo>
                <a:lnTo>
                  <a:pt x="722" y="117"/>
                </a:lnTo>
                <a:lnTo>
                  <a:pt x="741" y="108"/>
                </a:lnTo>
                <a:lnTo>
                  <a:pt x="761" y="117"/>
                </a:lnTo>
                <a:lnTo>
                  <a:pt x="790" y="117"/>
                </a:lnTo>
                <a:lnTo>
                  <a:pt x="810" y="108"/>
                </a:lnTo>
                <a:lnTo>
                  <a:pt x="819" y="88"/>
                </a:lnTo>
                <a:lnTo>
                  <a:pt x="829" y="88"/>
                </a:lnTo>
                <a:lnTo>
                  <a:pt x="849" y="98"/>
                </a:lnTo>
                <a:lnTo>
                  <a:pt x="868" y="98"/>
                </a:lnTo>
                <a:lnTo>
                  <a:pt x="878" y="88"/>
                </a:lnTo>
                <a:lnTo>
                  <a:pt x="888" y="98"/>
                </a:lnTo>
                <a:lnTo>
                  <a:pt x="888" y="108"/>
                </a:lnTo>
                <a:lnTo>
                  <a:pt x="897" y="117"/>
                </a:lnTo>
                <a:lnTo>
                  <a:pt x="936" y="117"/>
                </a:lnTo>
                <a:lnTo>
                  <a:pt x="975" y="117"/>
                </a:lnTo>
                <a:lnTo>
                  <a:pt x="1024" y="78"/>
                </a:lnTo>
                <a:lnTo>
                  <a:pt x="1024" y="59"/>
                </a:lnTo>
                <a:lnTo>
                  <a:pt x="1024" y="39"/>
                </a:lnTo>
                <a:lnTo>
                  <a:pt x="1044" y="30"/>
                </a:lnTo>
                <a:lnTo>
                  <a:pt x="1063" y="30"/>
                </a:lnTo>
                <a:lnTo>
                  <a:pt x="1063" y="10"/>
                </a:lnTo>
                <a:lnTo>
                  <a:pt x="1073" y="0"/>
                </a:lnTo>
                <a:lnTo>
                  <a:pt x="1093" y="0"/>
                </a:lnTo>
                <a:lnTo>
                  <a:pt x="1093" y="20"/>
                </a:lnTo>
                <a:lnTo>
                  <a:pt x="1093" y="30"/>
                </a:lnTo>
                <a:lnTo>
                  <a:pt x="1083" y="39"/>
                </a:lnTo>
                <a:lnTo>
                  <a:pt x="1073" y="69"/>
                </a:lnTo>
                <a:lnTo>
                  <a:pt x="1073" y="78"/>
                </a:lnTo>
                <a:lnTo>
                  <a:pt x="1093" y="98"/>
                </a:lnTo>
                <a:lnTo>
                  <a:pt x="1093" y="127"/>
                </a:lnTo>
                <a:lnTo>
                  <a:pt x="1102" y="127"/>
                </a:lnTo>
                <a:lnTo>
                  <a:pt x="1112" y="147"/>
                </a:lnTo>
                <a:lnTo>
                  <a:pt x="1122" y="156"/>
                </a:lnTo>
                <a:lnTo>
                  <a:pt x="1122" y="176"/>
                </a:lnTo>
                <a:lnTo>
                  <a:pt x="1132" y="186"/>
                </a:lnTo>
                <a:lnTo>
                  <a:pt x="1132" y="205"/>
                </a:lnTo>
                <a:lnTo>
                  <a:pt x="1151" y="215"/>
                </a:lnTo>
                <a:lnTo>
                  <a:pt x="1171" y="215"/>
                </a:lnTo>
                <a:lnTo>
                  <a:pt x="1180" y="225"/>
                </a:lnTo>
                <a:lnTo>
                  <a:pt x="1210" y="234"/>
                </a:lnTo>
                <a:lnTo>
                  <a:pt x="1210" y="254"/>
                </a:lnTo>
                <a:lnTo>
                  <a:pt x="1210" y="293"/>
                </a:lnTo>
                <a:lnTo>
                  <a:pt x="1200" y="303"/>
                </a:lnTo>
                <a:lnTo>
                  <a:pt x="1190" y="303"/>
                </a:lnTo>
                <a:lnTo>
                  <a:pt x="1171" y="312"/>
                </a:lnTo>
                <a:lnTo>
                  <a:pt x="1151" y="312"/>
                </a:lnTo>
                <a:lnTo>
                  <a:pt x="1141" y="322"/>
                </a:lnTo>
                <a:lnTo>
                  <a:pt x="1132" y="342"/>
                </a:lnTo>
                <a:lnTo>
                  <a:pt x="1122" y="352"/>
                </a:lnTo>
                <a:lnTo>
                  <a:pt x="1112" y="381"/>
                </a:lnTo>
                <a:lnTo>
                  <a:pt x="1093" y="391"/>
                </a:lnTo>
                <a:lnTo>
                  <a:pt x="1083" y="400"/>
                </a:lnTo>
                <a:lnTo>
                  <a:pt x="1083" y="410"/>
                </a:lnTo>
                <a:lnTo>
                  <a:pt x="1073" y="410"/>
                </a:lnTo>
                <a:lnTo>
                  <a:pt x="1063" y="420"/>
                </a:lnTo>
                <a:lnTo>
                  <a:pt x="1054" y="420"/>
                </a:lnTo>
                <a:lnTo>
                  <a:pt x="1054" y="430"/>
                </a:lnTo>
                <a:lnTo>
                  <a:pt x="1034" y="449"/>
                </a:lnTo>
                <a:lnTo>
                  <a:pt x="1034" y="469"/>
                </a:lnTo>
                <a:lnTo>
                  <a:pt x="1054" y="478"/>
                </a:lnTo>
                <a:lnTo>
                  <a:pt x="1063" y="488"/>
                </a:lnTo>
                <a:lnTo>
                  <a:pt x="1073" y="498"/>
                </a:lnTo>
                <a:lnTo>
                  <a:pt x="1073" y="537"/>
                </a:lnTo>
                <a:lnTo>
                  <a:pt x="1063" y="547"/>
                </a:lnTo>
                <a:lnTo>
                  <a:pt x="1044" y="566"/>
                </a:lnTo>
                <a:lnTo>
                  <a:pt x="1024" y="566"/>
                </a:lnTo>
                <a:lnTo>
                  <a:pt x="1005" y="586"/>
                </a:lnTo>
                <a:lnTo>
                  <a:pt x="975" y="595"/>
                </a:lnTo>
                <a:lnTo>
                  <a:pt x="975" y="615"/>
                </a:lnTo>
                <a:lnTo>
                  <a:pt x="956" y="615"/>
                </a:lnTo>
                <a:lnTo>
                  <a:pt x="936" y="634"/>
                </a:lnTo>
                <a:lnTo>
                  <a:pt x="907" y="654"/>
                </a:lnTo>
                <a:lnTo>
                  <a:pt x="868" y="693"/>
                </a:lnTo>
                <a:lnTo>
                  <a:pt x="868" y="703"/>
                </a:lnTo>
                <a:lnTo>
                  <a:pt x="849" y="713"/>
                </a:lnTo>
                <a:lnTo>
                  <a:pt x="839" y="703"/>
                </a:lnTo>
                <a:lnTo>
                  <a:pt x="819" y="703"/>
                </a:lnTo>
                <a:lnTo>
                  <a:pt x="790" y="722"/>
                </a:lnTo>
                <a:lnTo>
                  <a:pt x="771" y="732"/>
                </a:lnTo>
                <a:lnTo>
                  <a:pt x="761" y="722"/>
                </a:lnTo>
                <a:lnTo>
                  <a:pt x="722" y="732"/>
                </a:lnTo>
                <a:lnTo>
                  <a:pt x="712" y="752"/>
                </a:lnTo>
                <a:lnTo>
                  <a:pt x="712" y="761"/>
                </a:lnTo>
                <a:lnTo>
                  <a:pt x="722" y="771"/>
                </a:lnTo>
                <a:lnTo>
                  <a:pt x="722" y="781"/>
                </a:lnTo>
                <a:lnTo>
                  <a:pt x="712" y="781"/>
                </a:lnTo>
                <a:lnTo>
                  <a:pt x="712" y="810"/>
                </a:lnTo>
                <a:lnTo>
                  <a:pt x="712" y="839"/>
                </a:lnTo>
                <a:lnTo>
                  <a:pt x="732" y="849"/>
                </a:lnTo>
                <a:lnTo>
                  <a:pt x="732" y="859"/>
                </a:lnTo>
                <a:lnTo>
                  <a:pt x="722" y="869"/>
                </a:lnTo>
                <a:lnTo>
                  <a:pt x="693" y="888"/>
                </a:lnTo>
                <a:lnTo>
                  <a:pt x="683" y="898"/>
                </a:lnTo>
                <a:lnTo>
                  <a:pt x="663" y="927"/>
                </a:lnTo>
                <a:lnTo>
                  <a:pt x="634" y="917"/>
                </a:lnTo>
                <a:lnTo>
                  <a:pt x="624" y="908"/>
                </a:lnTo>
                <a:lnTo>
                  <a:pt x="605" y="888"/>
                </a:lnTo>
                <a:lnTo>
                  <a:pt x="576" y="888"/>
                </a:lnTo>
                <a:lnTo>
                  <a:pt x="566" y="908"/>
                </a:lnTo>
                <a:lnTo>
                  <a:pt x="556" y="898"/>
                </a:lnTo>
                <a:lnTo>
                  <a:pt x="556" y="888"/>
                </a:lnTo>
                <a:lnTo>
                  <a:pt x="527" y="878"/>
                </a:lnTo>
                <a:lnTo>
                  <a:pt x="488" y="888"/>
                </a:lnTo>
                <a:lnTo>
                  <a:pt x="449" y="908"/>
                </a:lnTo>
                <a:lnTo>
                  <a:pt x="419" y="917"/>
                </a:lnTo>
                <a:lnTo>
                  <a:pt x="390" y="917"/>
                </a:lnTo>
                <a:lnTo>
                  <a:pt x="351" y="917"/>
                </a:lnTo>
                <a:lnTo>
                  <a:pt x="332" y="908"/>
                </a:lnTo>
                <a:lnTo>
                  <a:pt x="302" y="888"/>
                </a:lnTo>
                <a:lnTo>
                  <a:pt x="273" y="878"/>
                </a:lnTo>
                <a:lnTo>
                  <a:pt x="273" y="859"/>
                </a:lnTo>
                <a:lnTo>
                  <a:pt x="263" y="820"/>
                </a:lnTo>
                <a:lnTo>
                  <a:pt x="254" y="791"/>
                </a:lnTo>
                <a:lnTo>
                  <a:pt x="244" y="781"/>
                </a:lnTo>
                <a:lnTo>
                  <a:pt x="215" y="771"/>
                </a:lnTo>
                <a:lnTo>
                  <a:pt x="185" y="771"/>
                </a:lnTo>
                <a:lnTo>
                  <a:pt x="156" y="761"/>
                </a:lnTo>
                <a:lnTo>
                  <a:pt x="127" y="752"/>
                </a:lnTo>
                <a:lnTo>
                  <a:pt x="98" y="752"/>
                </a:lnTo>
                <a:lnTo>
                  <a:pt x="98" y="742"/>
                </a:lnTo>
                <a:lnTo>
                  <a:pt x="88" y="722"/>
                </a:lnTo>
                <a:lnTo>
                  <a:pt x="59" y="722"/>
                </a:lnTo>
                <a:lnTo>
                  <a:pt x="49" y="722"/>
                </a:lnTo>
                <a:lnTo>
                  <a:pt x="29" y="703"/>
                </a:lnTo>
                <a:lnTo>
                  <a:pt x="20" y="703"/>
                </a:lnTo>
                <a:lnTo>
                  <a:pt x="0" y="683"/>
                </a:lnTo>
                <a:lnTo>
                  <a:pt x="10" y="673"/>
                </a:lnTo>
                <a:lnTo>
                  <a:pt x="20" y="654"/>
                </a:lnTo>
                <a:lnTo>
                  <a:pt x="10" y="634"/>
                </a:lnTo>
                <a:lnTo>
                  <a:pt x="0" y="625"/>
                </a:lnTo>
                <a:lnTo>
                  <a:pt x="0" y="615"/>
                </a:lnTo>
                <a:lnTo>
                  <a:pt x="29" y="625"/>
                </a:lnTo>
                <a:lnTo>
                  <a:pt x="29" y="615"/>
                </a:lnTo>
                <a:lnTo>
                  <a:pt x="49" y="595"/>
                </a:lnTo>
                <a:lnTo>
                  <a:pt x="68" y="586"/>
                </a:lnTo>
                <a:lnTo>
                  <a:pt x="78" y="586"/>
                </a:lnTo>
                <a:lnTo>
                  <a:pt x="88" y="566"/>
                </a:lnTo>
                <a:lnTo>
                  <a:pt x="107" y="566"/>
                </a:lnTo>
                <a:lnTo>
                  <a:pt x="117" y="576"/>
                </a:lnTo>
                <a:lnTo>
                  <a:pt x="117" y="586"/>
                </a:lnTo>
                <a:lnTo>
                  <a:pt x="127" y="605"/>
                </a:lnTo>
                <a:lnTo>
                  <a:pt x="146" y="605"/>
                </a:lnTo>
                <a:lnTo>
                  <a:pt x="156" y="625"/>
                </a:lnTo>
                <a:lnTo>
                  <a:pt x="185" y="644"/>
                </a:lnTo>
                <a:lnTo>
                  <a:pt x="215" y="664"/>
                </a:lnTo>
                <a:lnTo>
                  <a:pt x="234" y="683"/>
                </a:lnTo>
                <a:lnTo>
                  <a:pt x="234" y="693"/>
                </a:lnTo>
                <a:lnTo>
                  <a:pt x="254" y="683"/>
                </a:lnTo>
                <a:lnTo>
                  <a:pt x="273" y="683"/>
                </a:lnTo>
                <a:lnTo>
                  <a:pt x="273" y="703"/>
                </a:lnTo>
                <a:lnTo>
                  <a:pt x="283" y="713"/>
                </a:lnTo>
                <a:lnTo>
                  <a:pt x="302" y="722"/>
                </a:lnTo>
                <a:lnTo>
                  <a:pt x="322" y="722"/>
                </a:lnTo>
                <a:lnTo>
                  <a:pt x="322" y="742"/>
                </a:lnTo>
                <a:lnTo>
                  <a:pt x="322" y="761"/>
                </a:lnTo>
                <a:lnTo>
                  <a:pt x="341" y="761"/>
                </a:lnTo>
                <a:lnTo>
                  <a:pt x="371" y="761"/>
                </a:lnTo>
                <a:lnTo>
                  <a:pt x="371" y="771"/>
                </a:lnTo>
                <a:lnTo>
                  <a:pt x="371" y="791"/>
                </a:lnTo>
                <a:lnTo>
                  <a:pt x="380" y="791"/>
                </a:lnTo>
                <a:lnTo>
                  <a:pt x="390" y="771"/>
                </a:lnTo>
                <a:lnTo>
                  <a:pt x="410" y="761"/>
                </a:lnTo>
                <a:lnTo>
                  <a:pt x="410" y="752"/>
                </a:lnTo>
                <a:lnTo>
                  <a:pt x="449" y="742"/>
                </a:lnTo>
                <a:lnTo>
                  <a:pt x="488" y="732"/>
                </a:lnTo>
                <a:lnTo>
                  <a:pt x="517" y="703"/>
                </a:lnTo>
                <a:lnTo>
                  <a:pt x="537" y="664"/>
                </a:lnTo>
                <a:lnTo>
                  <a:pt x="556" y="644"/>
                </a:lnTo>
                <a:lnTo>
                  <a:pt x="595" y="605"/>
                </a:lnTo>
                <a:lnTo>
                  <a:pt x="634" y="576"/>
                </a:lnTo>
                <a:lnTo>
                  <a:pt x="663" y="547"/>
                </a:lnTo>
                <a:lnTo>
                  <a:pt x="683" y="527"/>
                </a:lnTo>
                <a:lnTo>
                  <a:pt x="673" y="508"/>
                </a:lnTo>
                <a:lnTo>
                  <a:pt x="693" y="459"/>
                </a:lnTo>
                <a:lnTo>
                  <a:pt x="712" y="400"/>
                </a:lnTo>
                <a:lnTo>
                  <a:pt x="683" y="381"/>
                </a:lnTo>
                <a:lnTo>
                  <a:pt x="673" y="342"/>
                </a:lnTo>
                <a:lnTo>
                  <a:pt x="673" y="312"/>
                </a:lnTo>
                <a:close/>
              </a:path>
            </a:pathLst>
          </a:custGeom>
          <a:solidFill>
            <a:srgbClr val="CCFFCC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621" name="Freeform 117"/>
          <p:cNvSpPr>
            <a:spLocks noChangeAspect="1"/>
          </p:cNvSpPr>
          <p:nvPr>
            <p:custDataLst>
              <p:tags r:id="rId187"/>
            </p:custDataLst>
          </p:nvPr>
        </p:nvSpPr>
        <p:spPr bwMode="auto">
          <a:xfrm>
            <a:off x="5178425" y="4886325"/>
            <a:ext cx="808038" cy="576263"/>
          </a:xfrm>
          <a:custGeom>
            <a:avLst/>
            <a:gdLst>
              <a:gd name="T0" fmla="*/ 456107 w 1210"/>
              <a:gd name="T1" fmla="*/ 145464 h 927"/>
              <a:gd name="T2" fmla="*/ 430063 w 1210"/>
              <a:gd name="T3" fmla="*/ 127437 h 927"/>
              <a:gd name="T4" fmla="*/ 462785 w 1210"/>
              <a:gd name="T5" fmla="*/ 85165 h 927"/>
              <a:gd name="T6" fmla="*/ 508196 w 1210"/>
              <a:gd name="T7" fmla="*/ 72732 h 927"/>
              <a:gd name="T8" fmla="*/ 553606 w 1210"/>
              <a:gd name="T9" fmla="*/ 54704 h 927"/>
              <a:gd name="T10" fmla="*/ 593006 w 1210"/>
              <a:gd name="T11" fmla="*/ 60921 h 927"/>
              <a:gd name="T12" fmla="*/ 645095 w 1210"/>
              <a:gd name="T13" fmla="*/ 72732 h 927"/>
              <a:gd name="T14" fmla="*/ 697183 w 1210"/>
              <a:gd name="T15" fmla="*/ 18649 h 927"/>
              <a:gd name="T16" fmla="*/ 729905 w 1210"/>
              <a:gd name="T17" fmla="*/ 0 h 927"/>
              <a:gd name="T18" fmla="*/ 716549 w 1210"/>
              <a:gd name="T19" fmla="*/ 42893 h 927"/>
              <a:gd name="T20" fmla="*/ 735916 w 1210"/>
              <a:gd name="T21" fmla="*/ 78949 h 927"/>
              <a:gd name="T22" fmla="*/ 755950 w 1210"/>
              <a:gd name="T23" fmla="*/ 115625 h 927"/>
              <a:gd name="T24" fmla="*/ 788004 w 1210"/>
              <a:gd name="T25" fmla="*/ 139869 h 927"/>
              <a:gd name="T26" fmla="*/ 801360 w 1210"/>
              <a:gd name="T27" fmla="*/ 188358 h 927"/>
              <a:gd name="T28" fmla="*/ 761960 w 1210"/>
              <a:gd name="T29" fmla="*/ 200169 h 927"/>
              <a:gd name="T30" fmla="*/ 729905 w 1210"/>
              <a:gd name="T31" fmla="*/ 243062 h 927"/>
              <a:gd name="T32" fmla="*/ 709871 w 1210"/>
              <a:gd name="T33" fmla="*/ 261090 h 927"/>
              <a:gd name="T34" fmla="*/ 690505 w 1210"/>
              <a:gd name="T35" fmla="*/ 290928 h 927"/>
              <a:gd name="T36" fmla="*/ 716549 w 1210"/>
              <a:gd name="T37" fmla="*/ 333200 h 927"/>
              <a:gd name="T38" fmla="*/ 671139 w 1210"/>
              <a:gd name="T39" fmla="*/ 363661 h 927"/>
              <a:gd name="T40" fmla="*/ 625061 w 1210"/>
              <a:gd name="T41" fmla="*/ 393499 h 927"/>
              <a:gd name="T42" fmla="*/ 566962 w 1210"/>
              <a:gd name="T43" fmla="*/ 442609 h 927"/>
              <a:gd name="T44" fmla="*/ 514874 w 1210"/>
              <a:gd name="T45" fmla="*/ 460637 h 927"/>
              <a:gd name="T46" fmla="*/ 475474 w 1210"/>
              <a:gd name="T47" fmla="*/ 472448 h 927"/>
              <a:gd name="T48" fmla="*/ 475474 w 1210"/>
              <a:gd name="T49" fmla="*/ 484881 h 927"/>
              <a:gd name="T50" fmla="*/ 488830 w 1210"/>
              <a:gd name="T51" fmla="*/ 533369 h 927"/>
              <a:gd name="T52" fmla="*/ 442751 w 1210"/>
              <a:gd name="T53" fmla="*/ 575640 h 927"/>
              <a:gd name="T54" fmla="*/ 384653 w 1210"/>
              <a:gd name="T55" fmla="*/ 551396 h 927"/>
              <a:gd name="T56" fmla="*/ 351931 w 1210"/>
              <a:gd name="T57" fmla="*/ 545180 h 927"/>
              <a:gd name="T58" fmla="*/ 260442 w 1210"/>
              <a:gd name="T59" fmla="*/ 569424 h 927"/>
              <a:gd name="T60" fmla="*/ 182309 w 1210"/>
              <a:gd name="T61" fmla="*/ 545180 h 927"/>
              <a:gd name="T62" fmla="*/ 162943 w 1210"/>
              <a:gd name="T63" fmla="*/ 484881 h 927"/>
              <a:gd name="T64" fmla="*/ 84811 w 1210"/>
              <a:gd name="T65" fmla="*/ 466853 h 927"/>
              <a:gd name="T66" fmla="*/ 39400 w 1210"/>
              <a:gd name="T67" fmla="*/ 448204 h 927"/>
              <a:gd name="T68" fmla="*/ 0 w 1210"/>
              <a:gd name="T69" fmla="*/ 423960 h 927"/>
              <a:gd name="T70" fmla="*/ 0 w 1210"/>
              <a:gd name="T71" fmla="*/ 387905 h 927"/>
              <a:gd name="T72" fmla="*/ 32722 w 1210"/>
              <a:gd name="T73" fmla="*/ 369255 h 927"/>
              <a:gd name="T74" fmla="*/ 71455 w 1210"/>
              <a:gd name="T75" fmla="*/ 351228 h 927"/>
              <a:gd name="T76" fmla="*/ 97499 w 1210"/>
              <a:gd name="T77" fmla="*/ 375472 h 927"/>
              <a:gd name="T78" fmla="*/ 156265 w 1210"/>
              <a:gd name="T79" fmla="*/ 423960 h 927"/>
              <a:gd name="T80" fmla="*/ 182309 w 1210"/>
              <a:gd name="T81" fmla="*/ 423960 h 927"/>
              <a:gd name="T82" fmla="*/ 215032 w 1210"/>
              <a:gd name="T83" fmla="*/ 448204 h 927"/>
              <a:gd name="T84" fmla="*/ 247754 w 1210"/>
              <a:gd name="T85" fmla="*/ 472448 h 927"/>
              <a:gd name="T86" fmla="*/ 260442 w 1210"/>
              <a:gd name="T87" fmla="*/ 478664 h 927"/>
              <a:gd name="T88" fmla="*/ 325886 w 1210"/>
              <a:gd name="T89" fmla="*/ 454420 h 927"/>
              <a:gd name="T90" fmla="*/ 397341 w 1210"/>
              <a:gd name="T91" fmla="*/ 375472 h 927"/>
              <a:gd name="T92" fmla="*/ 449429 w 1210"/>
              <a:gd name="T93" fmla="*/ 315172 h 927"/>
              <a:gd name="T94" fmla="*/ 449429 w 1210"/>
              <a:gd name="T95" fmla="*/ 212602 h 927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1210"/>
              <a:gd name="T145" fmla="*/ 0 h 927"/>
              <a:gd name="T146" fmla="*/ 1210 w 1210"/>
              <a:gd name="T147" fmla="*/ 927 h 927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1210" h="927">
                <a:moveTo>
                  <a:pt x="673" y="312"/>
                </a:moveTo>
                <a:lnTo>
                  <a:pt x="673" y="283"/>
                </a:lnTo>
                <a:lnTo>
                  <a:pt x="673" y="244"/>
                </a:lnTo>
                <a:lnTo>
                  <a:pt x="683" y="234"/>
                </a:lnTo>
                <a:lnTo>
                  <a:pt x="683" y="225"/>
                </a:lnTo>
                <a:lnTo>
                  <a:pt x="673" y="225"/>
                </a:lnTo>
                <a:lnTo>
                  <a:pt x="673" y="205"/>
                </a:lnTo>
                <a:lnTo>
                  <a:pt x="644" y="205"/>
                </a:lnTo>
                <a:lnTo>
                  <a:pt x="644" y="186"/>
                </a:lnTo>
                <a:lnTo>
                  <a:pt x="663" y="166"/>
                </a:lnTo>
                <a:lnTo>
                  <a:pt x="683" y="147"/>
                </a:lnTo>
                <a:lnTo>
                  <a:pt x="693" y="137"/>
                </a:lnTo>
                <a:lnTo>
                  <a:pt x="712" y="137"/>
                </a:lnTo>
                <a:lnTo>
                  <a:pt x="722" y="117"/>
                </a:lnTo>
                <a:lnTo>
                  <a:pt x="741" y="108"/>
                </a:lnTo>
                <a:lnTo>
                  <a:pt x="761" y="117"/>
                </a:lnTo>
                <a:lnTo>
                  <a:pt x="790" y="117"/>
                </a:lnTo>
                <a:lnTo>
                  <a:pt x="810" y="108"/>
                </a:lnTo>
                <a:lnTo>
                  <a:pt x="819" y="88"/>
                </a:lnTo>
                <a:lnTo>
                  <a:pt x="829" y="88"/>
                </a:lnTo>
                <a:lnTo>
                  <a:pt x="849" y="98"/>
                </a:lnTo>
                <a:lnTo>
                  <a:pt x="868" y="98"/>
                </a:lnTo>
                <a:lnTo>
                  <a:pt x="878" y="88"/>
                </a:lnTo>
                <a:lnTo>
                  <a:pt x="888" y="98"/>
                </a:lnTo>
                <a:lnTo>
                  <a:pt x="888" y="108"/>
                </a:lnTo>
                <a:lnTo>
                  <a:pt x="897" y="117"/>
                </a:lnTo>
                <a:lnTo>
                  <a:pt x="936" y="117"/>
                </a:lnTo>
                <a:lnTo>
                  <a:pt x="966" y="117"/>
                </a:lnTo>
                <a:lnTo>
                  <a:pt x="1024" y="78"/>
                </a:lnTo>
                <a:lnTo>
                  <a:pt x="1024" y="59"/>
                </a:lnTo>
                <a:lnTo>
                  <a:pt x="1024" y="39"/>
                </a:lnTo>
                <a:lnTo>
                  <a:pt x="1044" y="30"/>
                </a:lnTo>
                <a:lnTo>
                  <a:pt x="1063" y="30"/>
                </a:lnTo>
                <a:lnTo>
                  <a:pt x="1063" y="10"/>
                </a:lnTo>
                <a:lnTo>
                  <a:pt x="1073" y="0"/>
                </a:lnTo>
                <a:lnTo>
                  <a:pt x="1093" y="0"/>
                </a:lnTo>
                <a:lnTo>
                  <a:pt x="1093" y="20"/>
                </a:lnTo>
                <a:lnTo>
                  <a:pt x="1093" y="30"/>
                </a:lnTo>
                <a:lnTo>
                  <a:pt x="1083" y="39"/>
                </a:lnTo>
                <a:lnTo>
                  <a:pt x="1073" y="69"/>
                </a:lnTo>
                <a:lnTo>
                  <a:pt x="1073" y="78"/>
                </a:lnTo>
                <a:lnTo>
                  <a:pt x="1093" y="98"/>
                </a:lnTo>
                <a:lnTo>
                  <a:pt x="1093" y="127"/>
                </a:lnTo>
                <a:lnTo>
                  <a:pt x="1102" y="127"/>
                </a:lnTo>
                <a:lnTo>
                  <a:pt x="1112" y="147"/>
                </a:lnTo>
                <a:lnTo>
                  <a:pt x="1112" y="156"/>
                </a:lnTo>
                <a:lnTo>
                  <a:pt x="1112" y="176"/>
                </a:lnTo>
                <a:lnTo>
                  <a:pt x="1132" y="186"/>
                </a:lnTo>
                <a:lnTo>
                  <a:pt x="1132" y="205"/>
                </a:lnTo>
                <a:lnTo>
                  <a:pt x="1151" y="215"/>
                </a:lnTo>
                <a:lnTo>
                  <a:pt x="1171" y="215"/>
                </a:lnTo>
                <a:lnTo>
                  <a:pt x="1180" y="225"/>
                </a:lnTo>
                <a:lnTo>
                  <a:pt x="1210" y="234"/>
                </a:lnTo>
                <a:lnTo>
                  <a:pt x="1210" y="254"/>
                </a:lnTo>
                <a:lnTo>
                  <a:pt x="1210" y="293"/>
                </a:lnTo>
                <a:lnTo>
                  <a:pt x="1200" y="303"/>
                </a:lnTo>
                <a:lnTo>
                  <a:pt x="1190" y="303"/>
                </a:lnTo>
                <a:lnTo>
                  <a:pt x="1171" y="312"/>
                </a:lnTo>
                <a:lnTo>
                  <a:pt x="1151" y="322"/>
                </a:lnTo>
                <a:lnTo>
                  <a:pt x="1141" y="322"/>
                </a:lnTo>
                <a:lnTo>
                  <a:pt x="1132" y="342"/>
                </a:lnTo>
                <a:lnTo>
                  <a:pt x="1112" y="352"/>
                </a:lnTo>
                <a:lnTo>
                  <a:pt x="1112" y="381"/>
                </a:lnTo>
                <a:lnTo>
                  <a:pt x="1093" y="391"/>
                </a:lnTo>
                <a:lnTo>
                  <a:pt x="1083" y="400"/>
                </a:lnTo>
                <a:lnTo>
                  <a:pt x="1083" y="410"/>
                </a:lnTo>
                <a:lnTo>
                  <a:pt x="1073" y="410"/>
                </a:lnTo>
                <a:lnTo>
                  <a:pt x="1063" y="420"/>
                </a:lnTo>
                <a:lnTo>
                  <a:pt x="1054" y="420"/>
                </a:lnTo>
                <a:lnTo>
                  <a:pt x="1054" y="430"/>
                </a:lnTo>
                <a:lnTo>
                  <a:pt x="1034" y="449"/>
                </a:lnTo>
                <a:lnTo>
                  <a:pt x="1034" y="469"/>
                </a:lnTo>
                <a:lnTo>
                  <a:pt x="1054" y="478"/>
                </a:lnTo>
                <a:lnTo>
                  <a:pt x="1063" y="488"/>
                </a:lnTo>
                <a:lnTo>
                  <a:pt x="1073" y="498"/>
                </a:lnTo>
                <a:lnTo>
                  <a:pt x="1073" y="537"/>
                </a:lnTo>
                <a:lnTo>
                  <a:pt x="1063" y="547"/>
                </a:lnTo>
                <a:lnTo>
                  <a:pt x="1044" y="566"/>
                </a:lnTo>
                <a:lnTo>
                  <a:pt x="1024" y="566"/>
                </a:lnTo>
                <a:lnTo>
                  <a:pt x="1005" y="586"/>
                </a:lnTo>
                <a:lnTo>
                  <a:pt x="975" y="595"/>
                </a:lnTo>
                <a:lnTo>
                  <a:pt x="975" y="615"/>
                </a:lnTo>
                <a:lnTo>
                  <a:pt x="956" y="615"/>
                </a:lnTo>
                <a:lnTo>
                  <a:pt x="936" y="634"/>
                </a:lnTo>
                <a:lnTo>
                  <a:pt x="907" y="664"/>
                </a:lnTo>
                <a:lnTo>
                  <a:pt x="868" y="693"/>
                </a:lnTo>
                <a:lnTo>
                  <a:pt x="868" y="703"/>
                </a:lnTo>
                <a:lnTo>
                  <a:pt x="849" y="713"/>
                </a:lnTo>
                <a:lnTo>
                  <a:pt x="839" y="703"/>
                </a:lnTo>
                <a:lnTo>
                  <a:pt x="819" y="703"/>
                </a:lnTo>
                <a:lnTo>
                  <a:pt x="790" y="722"/>
                </a:lnTo>
                <a:lnTo>
                  <a:pt x="771" y="742"/>
                </a:lnTo>
                <a:lnTo>
                  <a:pt x="761" y="722"/>
                </a:lnTo>
                <a:lnTo>
                  <a:pt x="722" y="742"/>
                </a:lnTo>
                <a:lnTo>
                  <a:pt x="722" y="752"/>
                </a:lnTo>
                <a:lnTo>
                  <a:pt x="712" y="761"/>
                </a:lnTo>
                <a:lnTo>
                  <a:pt x="722" y="771"/>
                </a:lnTo>
                <a:lnTo>
                  <a:pt x="722" y="781"/>
                </a:lnTo>
                <a:lnTo>
                  <a:pt x="712" y="781"/>
                </a:lnTo>
                <a:lnTo>
                  <a:pt x="712" y="820"/>
                </a:lnTo>
                <a:lnTo>
                  <a:pt x="722" y="839"/>
                </a:lnTo>
                <a:lnTo>
                  <a:pt x="732" y="849"/>
                </a:lnTo>
                <a:lnTo>
                  <a:pt x="732" y="859"/>
                </a:lnTo>
                <a:lnTo>
                  <a:pt x="722" y="869"/>
                </a:lnTo>
                <a:lnTo>
                  <a:pt x="693" y="888"/>
                </a:lnTo>
                <a:lnTo>
                  <a:pt x="683" y="898"/>
                </a:lnTo>
                <a:lnTo>
                  <a:pt x="663" y="927"/>
                </a:lnTo>
                <a:lnTo>
                  <a:pt x="634" y="917"/>
                </a:lnTo>
                <a:lnTo>
                  <a:pt x="624" y="908"/>
                </a:lnTo>
                <a:lnTo>
                  <a:pt x="605" y="888"/>
                </a:lnTo>
                <a:lnTo>
                  <a:pt x="576" y="888"/>
                </a:lnTo>
                <a:lnTo>
                  <a:pt x="576" y="908"/>
                </a:lnTo>
                <a:lnTo>
                  <a:pt x="556" y="898"/>
                </a:lnTo>
                <a:lnTo>
                  <a:pt x="556" y="888"/>
                </a:lnTo>
                <a:lnTo>
                  <a:pt x="527" y="878"/>
                </a:lnTo>
                <a:lnTo>
                  <a:pt x="488" y="888"/>
                </a:lnTo>
                <a:lnTo>
                  <a:pt x="449" y="908"/>
                </a:lnTo>
                <a:lnTo>
                  <a:pt x="429" y="917"/>
                </a:lnTo>
                <a:lnTo>
                  <a:pt x="390" y="917"/>
                </a:lnTo>
                <a:lnTo>
                  <a:pt x="351" y="917"/>
                </a:lnTo>
                <a:lnTo>
                  <a:pt x="332" y="908"/>
                </a:lnTo>
                <a:lnTo>
                  <a:pt x="302" y="888"/>
                </a:lnTo>
                <a:lnTo>
                  <a:pt x="273" y="878"/>
                </a:lnTo>
                <a:lnTo>
                  <a:pt x="273" y="859"/>
                </a:lnTo>
                <a:lnTo>
                  <a:pt x="263" y="820"/>
                </a:lnTo>
                <a:lnTo>
                  <a:pt x="254" y="791"/>
                </a:lnTo>
                <a:lnTo>
                  <a:pt x="244" y="781"/>
                </a:lnTo>
                <a:lnTo>
                  <a:pt x="215" y="771"/>
                </a:lnTo>
                <a:lnTo>
                  <a:pt x="185" y="771"/>
                </a:lnTo>
                <a:lnTo>
                  <a:pt x="156" y="761"/>
                </a:lnTo>
                <a:lnTo>
                  <a:pt x="127" y="752"/>
                </a:lnTo>
                <a:lnTo>
                  <a:pt x="98" y="752"/>
                </a:lnTo>
                <a:lnTo>
                  <a:pt x="98" y="742"/>
                </a:lnTo>
                <a:lnTo>
                  <a:pt x="78" y="722"/>
                </a:lnTo>
                <a:lnTo>
                  <a:pt x="59" y="722"/>
                </a:lnTo>
                <a:lnTo>
                  <a:pt x="49" y="722"/>
                </a:lnTo>
                <a:lnTo>
                  <a:pt x="29" y="703"/>
                </a:lnTo>
                <a:lnTo>
                  <a:pt x="20" y="703"/>
                </a:lnTo>
                <a:lnTo>
                  <a:pt x="0" y="683"/>
                </a:lnTo>
                <a:lnTo>
                  <a:pt x="10" y="673"/>
                </a:lnTo>
                <a:lnTo>
                  <a:pt x="20" y="654"/>
                </a:lnTo>
                <a:lnTo>
                  <a:pt x="10" y="634"/>
                </a:lnTo>
                <a:lnTo>
                  <a:pt x="0" y="625"/>
                </a:lnTo>
                <a:lnTo>
                  <a:pt x="0" y="615"/>
                </a:lnTo>
                <a:lnTo>
                  <a:pt x="29" y="625"/>
                </a:lnTo>
                <a:lnTo>
                  <a:pt x="29" y="615"/>
                </a:lnTo>
                <a:lnTo>
                  <a:pt x="49" y="595"/>
                </a:lnTo>
                <a:lnTo>
                  <a:pt x="68" y="586"/>
                </a:lnTo>
                <a:lnTo>
                  <a:pt x="78" y="586"/>
                </a:lnTo>
                <a:lnTo>
                  <a:pt x="88" y="566"/>
                </a:lnTo>
                <a:lnTo>
                  <a:pt x="107" y="566"/>
                </a:lnTo>
                <a:lnTo>
                  <a:pt x="127" y="576"/>
                </a:lnTo>
                <a:lnTo>
                  <a:pt x="127" y="586"/>
                </a:lnTo>
                <a:lnTo>
                  <a:pt x="127" y="605"/>
                </a:lnTo>
                <a:lnTo>
                  <a:pt x="146" y="605"/>
                </a:lnTo>
                <a:lnTo>
                  <a:pt x="156" y="625"/>
                </a:lnTo>
                <a:lnTo>
                  <a:pt x="185" y="644"/>
                </a:lnTo>
                <a:lnTo>
                  <a:pt x="215" y="664"/>
                </a:lnTo>
                <a:lnTo>
                  <a:pt x="234" y="683"/>
                </a:lnTo>
                <a:lnTo>
                  <a:pt x="234" y="693"/>
                </a:lnTo>
                <a:lnTo>
                  <a:pt x="254" y="683"/>
                </a:lnTo>
                <a:lnTo>
                  <a:pt x="273" y="683"/>
                </a:lnTo>
                <a:lnTo>
                  <a:pt x="273" y="703"/>
                </a:lnTo>
                <a:lnTo>
                  <a:pt x="283" y="713"/>
                </a:lnTo>
                <a:lnTo>
                  <a:pt x="302" y="722"/>
                </a:lnTo>
                <a:lnTo>
                  <a:pt x="322" y="722"/>
                </a:lnTo>
                <a:lnTo>
                  <a:pt x="322" y="742"/>
                </a:lnTo>
                <a:lnTo>
                  <a:pt x="322" y="761"/>
                </a:lnTo>
                <a:lnTo>
                  <a:pt x="341" y="761"/>
                </a:lnTo>
                <a:lnTo>
                  <a:pt x="371" y="761"/>
                </a:lnTo>
                <a:lnTo>
                  <a:pt x="371" y="771"/>
                </a:lnTo>
                <a:lnTo>
                  <a:pt x="371" y="791"/>
                </a:lnTo>
                <a:lnTo>
                  <a:pt x="380" y="791"/>
                </a:lnTo>
                <a:lnTo>
                  <a:pt x="390" y="771"/>
                </a:lnTo>
                <a:lnTo>
                  <a:pt x="410" y="761"/>
                </a:lnTo>
                <a:lnTo>
                  <a:pt x="410" y="752"/>
                </a:lnTo>
                <a:lnTo>
                  <a:pt x="449" y="742"/>
                </a:lnTo>
                <a:lnTo>
                  <a:pt x="488" y="732"/>
                </a:lnTo>
                <a:lnTo>
                  <a:pt x="517" y="703"/>
                </a:lnTo>
                <a:lnTo>
                  <a:pt x="537" y="664"/>
                </a:lnTo>
                <a:lnTo>
                  <a:pt x="556" y="644"/>
                </a:lnTo>
                <a:lnTo>
                  <a:pt x="595" y="605"/>
                </a:lnTo>
                <a:lnTo>
                  <a:pt x="634" y="576"/>
                </a:lnTo>
                <a:lnTo>
                  <a:pt x="663" y="547"/>
                </a:lnTo>
                <a:lnTo>
                  <a:pt x="683" y="527"/>
                </a:lnTo>
                <a:lnTo>
                  <a:pt x="673" y="508"/>
                </a:lnTo>
                <a:lnTo>
                  <a:pt x="693" y="459"/>
                </a:lnTo>
                <a:lnTo>
                  <a:pt x="722" y="400"/>
                </a:lnTo>
                <a:lnTo>
                  <a:pt x="683" y="381"/>
                </a:lnTo>
                <a:lnTo>
                  <a:pt x="673" y="342"/>
                </a:lnTo>
              </a:path>
            </a:pathLst>
          </a:custGeom>
          <a:solidFill>
            <a:srgbClr val="C0C0C0"/>
          </a:solidFill>
          <a:ln w="6350" cap="rnd">
            <a:solidFill>
              <a:srgbClr val="7F7E61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622" name="Freeform 116"/>
          <p:cNvSpPr>
            <a:spLocks noChangeAspect="1"/>
          </p:cNvSpPr>
          <p:nvPr>
            <p:custDataLst>
              <p:tags r:id="rId188"/>
            </p:custDataLst>
          </p:nvPr>
        </p:nvSpPr>
        <p:spPr bwMode="auto">
          <a:xfrm>
            <a:off x="5635625" y="4784725"/>
            <a:ext cx="612775" cy="715963"/>
          </a:xfrm>
          <a:custGeom>
            <a:avLst/>
            <a:gdLst>
              <a:gd name="T0" fmla="*/ 32744 w 917"/>
              <a:gd name="T1" fmla="*/ 642626 h 1152"/>
              <a:gd name="T2" fmla="*/ 26061 w 917"/>
              <a:gd name="T3" fmla="*/ 587934 h 1152"/>
              <a:gd name="T4" fmla="*/ 26061 w 917"/>
              <a:gd name="T5" fmla="*/ 563696 h 1152"/>
              <a:gd name="T6" fmla="*/ 104245 w 917"/>
              <a:gd name="T7" fmla="*/ 539457 h 1152"/>
              <a:gd name="T8" fmla="*/ 169064 w 917"/>
              <a:gd name="T9" fmla="*/ 496574 h 1152"/>
              <a:gd name="T10" fmla="*/ 227869 w 917"/>
              <a:gd name="T11" fmla="*/ 460528 h 1152"/>
              <a:gd name="T12" fmla="*/ 260613 w 917"/>
              <a:gd name="T13" fmla="*/ 405836 h 1152"/>
              <a:gd name="T14" fmla="*/ 247917 w 917"/>
              <a:gd name="T15" fmla="*/ 375383 h 1152"/>
              <a:gd name="T16" fmla="*/ 267296 w 917"/>
              <a:gd name="T17" fmla="*/ 351766 h 1152"/>
              <a:gd name="T18" fmla="*/ 306053 w 917"/>
              <a:gd name="T19" fmla="*/ 303289 h 1152"/>
              <a:gd name="T20" fmla="*/ 352162 w 917"/>
              <a:gd name="T21" fmla="*/ 285266 h 1152"/>
              <a:gd name="T22" fmla="*/ 312736 w 917"/>
              <a:gd name="T23" fmla="*/ 236789 h 1152"/>
              <a:gd name="T24" fmla="*/ 286674 w 917"/>
              <a:gd name="T25" fmla="*/ 194528 h 1152"/>
              <a:gd name="T26" fmla="*/ 260613 w 917"/>
              <a:gd name="T27" fmla="*/ 146051 h 1152"/>
              <a:gd name="T28" fmla="*/ 286674 w 917"/>
              <a:gd name="T29" fmla="*/ 127406 h 1152"/>
              <a:gd name="T30" fmla="*/ 332115 w 917"/>
              <a:gd name="T31" fmla="*/ 115598 h 1152"/>
              <a:gd name="T32" fmla="*/ 326101 w 917"/>
              <a:gd name="T33" fmla="*/ 91360 h 1152"/>
              <a:gd name="T34" fmla="*/ 300039 w 917"/>
              <a:gd name="T35" fmla="*/ 72715 h 1152"/>
              <a:gd name="T36" fmla="*/ 306053 w 917"/>
              <a:gd name="T37" fmla="*/ 24238 h 1152"/>
              <a:gd name="T38" fmla="*/ 358176 w 917"/>
              <a:gd name="T39" fmla="*/ 12430 h 1152"/>
              <a:gd name="T40" fmla="*/ 378223 w 917"/>
              <a:gd name="T41" fmla="*/ 36668 h 1152"/>
              <a:gd name="T42" fmla="*/ 384237 w 917"/>
              <a:gd name="T43" fmla="*/ 54692 h 1152"/>
              <a:gd name="T44" fmla="*/ 436360 w 917"/>
              <a:gd name="T45" fmla="*/ 91360 h 1152"/>
              <a:gd name="T46" fmla="*/ 462421 w 917"/>
              <a:gd name="T47" fmla="*/ 133621 h 1152"/>
              <a:gd name="T48" fmla="*/ 501847 w 917"/>
              <a:gd name="T49" fmla="*/ 133621 h 1152"/>
              <a:gd name="T50" fmla="*/ 540605 w 917"/>
              <a:gd name="T51" fmla="*/ 157860 h 1152"/>
              <a:gd name="T52" fmla="*/ 560652 w 917"/>
              <a:gd name="T53" fmla="*/ 206336 h 1152"/>
              <a:gd name="T54" fmla="*/ 586714 w 917"/>
              <a:gd name="T55" fmla="*/ 230575 h 1152"/>
              <a:gd name="T56" fmla="*/ 592728 w 917"/>
              <a:gd name="T57" fmla="*/ 267243 h 1152"/>
              <a:gd name="T58" fmla="*/ 560652 w 917"/>
              <a:gd name="T59" fmla="*/ 339958 h 1152"/>
              <a:gd name="T60" fmla="*/ 566667 w 917"/>
              <a:gd name="T61" fmla="*/ 375383 h 1152"/>
              <a:gd name="T62" fmla="*/ 586714 w 917"/>
              <a:gd name="T63" fmla="*/ 418266 h 1152"/>
              <a:gd name="T64" fmla="*/ 566667 w 917"/>
              <a:gd name="T65" fmla="*/ 472336 h 1152"/>
              <a:gd name="T66" fmla="*/ 553970 w 917"/>
              <a:gd name="T67" fmla="*/ 533242 h 1152"/>
              <a:gd name="T68" fmla="*/ 560652 w 917"/>
              <a:gd name="T69" fmla="*/ 569911 h 1152"/>
              <a:gd name="T70" fmla="*/ 508530 w 917"/>
              <a:gd name="T71" fmla="*/ 618387 h 1152"/>
              <a:gd name="T72" fmla="*/ 410299 w 917"/>
              <a:gd name="T73" fmla="*/ 605957 h 1152"/>
              <a:gd name="T74" fmla="*/ 326101 w 917"/>
              <a:gd name="T75" fmla="*/ 605957 h 1152"/>
              <a:gd name="T76" fmla="*/ 378223 w 917"/>
              <a:gd name="T77" fmla="*/ 557481 h 1152"/>
              <a:gd name="T78" fmla="*/ 364858 w 917"/>
              <a:gd name="T79" fmla="*/ 533242 h 1152"/>
              <a:gd name="T80" fmla="*/ 352162 w 917"/>
              <a:gd name="T81" fmla="*/ 509004 h 1152"/>
              <a:gd name="T82" fmla="*/ 306053 w 917"/>
              <a:gd name="T83" fmla="*/ 509004 h 1152"/>
              <a:gd name="T84" fmla="*/ 267296 w 917"/>
              <a:gd name="T85" fmla="*/ 545672 h 1152"/>
              <a:gd name="T86" fmla="*/ 234552 w 917"/>
              <a:gd name="T87" fmla="*/ 569911 h 1152"/>
              <a:gd name="T88" fmla="*/ 221187 w 917"/>
              <a:gd name="T89" fmla="*/ 563696 h 1152"/>
              <a:gd name="T90" fmla="*/ 215173 w 917"/>
              <a:gd name="T91" fmla="*/ 587934 h 1152"/>
              <a:gd name="T92" fmla="*/ 253931 w 917"/>
              <a:gd name="T93" fmla="*/ 594149 h 1152"/>
              <a:gd name="T94" fmla="*/ 319418 w 917"/>
              <a:gd name="T95" fmla="*/ 587934 h 1152"/>
              <a:gd name="T96" fmla="*/ 260613 w 917"/>
              <a:gd name="T97" fmla="*/ 672457 h 1152"/>
              <a:gd name="T98" fmla="*/ 195126 w 917"/>
              <a:gd name="T99" fmla="*/ 702911 h 1152"/>
              <a:gd name="T100" fmla="*/ 116942 w 917"/>
              <a:gd name="T101" fmla="*/ 715341 h 1152"/>
              <a:gd name="T102" fmla="*/ 38758 w 917"/>
              <a:gd name="T103" fmla="*/ 702911 h 1152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917"/>
              <a:gd name="T157" fmla="*/ 0 h 1152"/>
              <a:gd name="T158" fmla="*/ 917 w 917"/>
              <a:gd name="T159" fmla="*/ 1152 h 1152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917" h="1152">
                <a:moveTo>
                  <a:pt x="10" y="1093"/>
                </a:moveTo>
                <a:lnTo>
                  <a:pt x="0" y="1074"/>
                </a:lnTo>
                <a:lnTo>
                  <a:pt x="10" y="1054"/>
                </a:lnTo>
                <a:lnTo>
                  <a:pt x="39" y="1035"/>
                </a:lnTo>
                <a:lnTo>
                  <a:pt x="49" y="1035"/>
                </a:lnTo>
                <a:lnTo>
                  <a:pt x="49" y="1015"/>
                </a:lnTo>
                <a:lnTo>
                  <a:pt x="29" y="1005"/>
                </a:lnTo>
                <a:lnTo>
                  <a:pt x="29" y="986"/>
                </a:lnTo>
                <a:lnTo>
                  <a:pt x="29" y="957"/>
                </a:lnTo>
                <a:lnTo>
                  <a:pt x="39" y="947"/>
                </a:lnTo>
                <a:lnTo>
                  <a:pt x="39" y="937"/>
                </a:lnTo>
                <a:lnTo>
                  <a:pt x="29" y="937"/>
                </a:lnTo>
                <a:lnTo>
                  <a:pt x="29" y="927"/>
                </a:lnTo>
                <a:lnTo>
                  <a:pt x="29" y="918"/>
                </a:lnTo>
                <a:lnTo>
                  <a:pt x="39" y="908"/>
                </a:lnTo>
                <a:lnTo>
                  <a:pt x="78" y="898"/>
                </a:lnTo>
                <a:lnTo>
                  <a:pt x="88" y="908"/>
                </a:lnTo>
                <a:lnTo>
                  <a:pt x="107" y="898"/>
                </a:lnTo>
                <a:lnTo>
                  <a:pt x="136" y="869"/>
                </a:lnTo>
                <a:lnTo>
                  <a:pt x="156" y="869"/>
                </a:lnTo>
                <a:lnTo>
                  <a:pt x="166" y="879"/>
                </a:lnTo>
                <a:lnTo>
                  <a:pt x="185" y="879"/>
                </a:lnTo>
                <a:lnTo>
                  <a:pt x="185" y="859"/>
                </a:lnTo>
                <a:lnTo>
                  <a:pt x="224" y="830"/>
                </a:lnTo>
                <a:lnTo>
                  <a:pt x="253" y="800"/>
                </a:lnTo>
                <a:lnTo>
                  <a:pt x="273" y="781"/>
                </a:lnTo>
                <a:lnTo>
                  <a:pt x="292" y="781"/>
                </a:lnTo>
                <a:lnTo>
                  <a:pt x="292" y="761"/>
                </a:lnTo>
                <a:lnTo>
                  <a:pt x="322" y="752"/>
                </a:lnTo>
                <a:lnTo>
                  <a:pt x="341" y="742"/>
                </a:lnTo>
                <a:lnTo>
                  <a:pt x="361" y="742"/>
                </a:lnTo>
                <a:lnTo>
                  <a:pt x="390" y="722"/>
                </a:lnTo>
                <a:lnTo>
                  <a:pt x="390" y="703"/>
                </a:lnTo>
                <a:lnTo>
                  <a:pt x="390" y="664"/>
                </a:lnTo>
                <a:lnTo>
                  <a:pt x="390" y="654"/>
                </a:lnTo>
                <a:lnTo>
                  <a:pt x="371" y="644"/>
                </a:lnTo>
                <a:lnTo>
                  <a:pt x="351" y="635"/>
                </a:lnTo>
                <a:lnTo>
                  <a:pt x="351" y="625"/>
                </a:lnTo>
                <a:lnTo>
                  <a:pt x="351" y="615"/>
                </a:lnTo>
                <a:lnTo>
                  <a:pt x="371" y="605"/>
                </a:lnTo>
                <a:lnTo>
                  <a:pt x="371" y="586"/>
                </a:lnTo>
                <a:lnTo>
                  <a:pt x="390" y="586"/>
                </a:lnTo>
                <a:lnTo>
                  <a:pt x="390" y="576"/>
                </a:lnTo>
                <a:lnTo>
                  <a:pt x="400" y="576"/>
                </a:lnTo>
                <a:lnTo>
                  <a:pt x="400" y="566"/>
                </a:lnTo>
                <a:lnTo>
                  <a:pt x="410" y="557"/>
                </a:lnTo>
                <a:lnTo>
                  <a:pt x="429" y="547"/>
                </a:lnTo>
                <a:lnTo>
                  <a:pt x="439" y="518"/>
                </a:lnTo>
                <a:lnTo>
                  <a:pt x="449" y="508"/>
                </a:lnTo>
                <a:lnTo>
                  <a:pt x="458" y="488"/>
                </a:lnTo>
                <a:lnTo>
                  <a:pt x="468" y="488"/>
                </a:lnTo>
                <a:lnTo>
                  <a:pt x="488" y="478"/>
                </a:lnTo>
                <a:lnTo>
                  <a:pt x="507" y="469"/>
                </a:lnTo>
                <a:lnTo>
                  <a:pt x="517" y="469"/>
                </a:lnTo>
                <a:lnTo>
                  <a:pt x="527" y="459"/>
                </a:lnTo>
                <a:lnTo>
                  <a:pt x="536" y="420"/>
                </a:lnTo>
                <a:lnTo>
                  <a:pt x="527" y="400"/>
                </a:lnTo>
                <a:lnTo>
                  <a:pt x="497" y="391"/>
                </a:lnTo>
                <a:lnTo>
                  <a:pt x="488" y="381"/>
                </a:lnTo>
                <a:lnTo>
                  <a:pt x="468" y="381"/>
                </a:lnTo>
                <a:lnTo>
                  <a:pt x="449" y="371"/>
                </a:lnTo>
                <a:lnTo>
                  <a:pt x="449" y="352"/>
                </a:lnTo>
                <a:lnTo>
                  <a:pt x="439" y="342"/>
                </a:lnTo>
                <a:lnTo>
                  <a:pt x="439" y="322"/>
                </a:lnTo>
                <a:lnTo>
                  <a:pt x="429" y="313"/>
                </a:lnTo>
                <a:lnTo>
                  <a:pt x="419" y="293"/>
                </a:lnTo>
                <a:lnTo>
                  <a:pt x="410" y="293"/>
                </a:lnTo>
                <a:lnTo>
                  <a:pt x="410" y="264"/>
                </a:lnTo>
                <a:lnTo>
                  <a:pt x="390" y="244"/>
                </a:lnTo>
                <a:lnTo>
                  <a:pt x="390" y="235"/>
                </a:lnTo>
                <a:lnTo>
                  <a:pt x="390" y="215"/>
                </a:lnTo>
                <a:lnTo>
                  <a:pt x="400" y="205"/>
                </a:lnTo>
                <a:lnTo>
                  <a:pt x="410" y="205"/>
                </a:lnTo>
                <a:lnTo>
                  <a:pt x="419" y="205"/>
                </a:lnTo>
                <a:lnTo>
                  <a:pt x="429" y="205"/>
                </a:lnTo>
                <a:lnTo>
                  <a:pt x="458" y="215"/>
                </a:lnTo>
                <a:lnTo>
                  <a:pt x="468" y="205"/>
                </a:lnTo>
                <a:lnTo>
                  <a:pt x="478" y="196"/>
                </a:lnTo>
                <a:lnTo>
                  <a:pt x="488" y="196"/>
                </a:lnTo>
                <a:lnTo>
                  <a:pt x="497" y="186"/>
                </a:lnTo>
                <a:lnTo>
                  <a:pt x="497" y="176"/>
                </a:lnTo>
                <a:lnTo>
                  <a:pt x="488" y="166"/>
                </a:lnTo>
                <a:lnTo>
                  <a:pt x="497" y="157"/>
                </a:lnTo>
                <a:lnTo>
                  <a:pt x="497" y="147"/>
                </a:lnTo>
                <a:lnTo>
                  <a:pt x="488" y="147"/>
                </a:lnTo>
                <a:lnTo>
                  <a:pt x="478" y="157"/>
                </a:lnTo>
                <a:lnTo>
                  <a:pt x="458" y="137"/>
                </a:lnTo>
                <a:lnTo>
                  <a:pt x="468" y="127"/>
                </a:lnTo>
                <a:lnTo>
                  <a:pt x="468" y="117"/>
                </a:lnTo>
                <a:lnTo>
                  <a:pt x="449" y="117"/>
                </a:lnTo>
                <a:lnTo>
                  <a:pt x="449" y="88"/>
                </a:lnTo>
                <a:lnTo>
                  <a:pt x="458" y="88"/>
                </a:lnTo>
                <a:lnTo>
                  <a:pt x="458" y="59"/>
                </a:lnTo>
                <a:lnTo>
                  <a:pt x="468" y="49"/>
                </a:lnTo>
                <a:lnTo>
                  <a:pt x="458" y="39"/>
                </a:lnTo>
                <a:lnTo>
                  <a:pt x="458" y="30"/>
                </a:lnTo>
                <a:lnTo>
                  <a:pt x="478" y="20"/>
                </a:lnTo>
                <a:lnTo>
                  <a:pt x="488" y="20"/>
                </a:lnTo>
                <a:lnTo>
                  <a:pt x="507" y="20"/>
                </a:lnTo>
                <a:lnTo>
                  <a:pt x="536" y="20"/>
                </a:lnTo>
                <a:lnTo>
                  <a:pt x="546" y="10"/>
                </a:lnTo>
                <a:lnTo>
                  <a:pt x="546" y="0"/>
                </a:lnTo>
                <a:lnTo>
                  <a:pt x="556" y="20"/>
                </a:lnTo>
                <a:lnTo>
                  <a:pt x="566" y="39"/>
                </a:lnTo>
                <a:lnTo>
                  <a:pt x="566" y="59"/>
                </a:lnTo>
                <a:lnTo>
                  <a:pt x="566" y="69"/>
                </a:lnTo>
                <a:lnTo>
                  <a:pt x="575" y="69"/>
                </a:lnTo>
                <a:lnTo>
                  <a:pt x="575" y="78"/>
                </a:lnTo>
                <a:lnTo>
                  <a:pt x="566" y="88"/>
                </a:lnTo>
                <a:lnTo>
                  <a:pt x="575" y="88"/>
                </a:lnTo>
                <a:lnTo>
                  <a:pt x="595" y="69"/>
                </a:lnTo>
                <a:lnTo>
                  <a:pt x="605" y="78"/>
                </a:lnTo>
                <a:lnTo>
                  <a:pt x="605" y="98"/>
                </a:lnTo>
                <a:lnTo>
                  <a:pt x="634" y="137"/>
                </a:lnTo>
                <a:lnTo>
                  <a:pt x="653" y="147"/>
                </a:lnTo>
                <a:lnTo>
                  <a:pt x="653" y="157"/>
                </a:lnTo>
                <a:lnTo>
                  <a:pt x="673" y="186"/>
                </a:lnTo>
                <a:lnTo>
                  <a:pt x="692" y="196"/>
                </a:lnTo>
                <a:lnTo>
                  <a:pt x="712" y="205"/>
                </a:lnTo>
                <a:lnTo>
                  <a:pt x="692" y="215"/>
                </a:lnTo>
                <a:lnTo>
                  <a:pt x="683" y="225"/>
                </a:lnTo>
                <a:lnTo>
                  <a:pt x="692" y="235"/>
                </a:lnTo>
                <a:lnTo>
                  <a:pt x="702" y="244"/>
                </a:lnTo>
                <a:lnTo>
                  <a:pt x="731" y="225"/>
                </a:lnTo>
                <a:lnTo>
                  <a:pt x="751" y="215"/>
                </a:lnTo>
                <a:lnTo>
                  <a:pt x="770" y="225"/>
                </a:lnTo>
                <a:lnTo>
                  <a:pt x="780" y="254"/>
                </a:lnTo>
                <a:lnTo>
                  <a:pt x="780" y="264"/>
                </a:lnTo>
                <a:lnTo>
                  <a:pt x="790" y="274"/>
                </a:lnTo>
                <a:lnTo>
                  <a:pt x="809" y="254"/>
                </a:lnTo>
                <a:lnTo>
                  <a:pt x="829" y="264"/>
                </a:lnTo>
                <a:lnTo>
                  <a:pt x="829" y="283"/>
                </a:lnTo>
                <a:lnTo>
                  <a:pt x="839" y="293"/>
                </a:lnTo>
                <a:lnTo>
                  <a:pt x="839" y="313"/>
                </a:lnTo>
                <a:lnTo>
                  <a:pt x="839" y="332"/>
                </a:lnTo>
                <a:lnTo>
                  <a:pt x="839" y="342"/>
                </a:lnTo>
                <a:lnTo>
                  <a:pt x="858" y="342"/>
                </a:lnTo>
                <a:lnTo>
                  <a:pt x="858" y="352"/>
                </a:lnTo>
                <a:lnTo>
                  <a:pt x="878" y="371"/>
                </a:lnTo>
                <a:lnTo>
                  <a:pt x="858" y="371"/>
                </a:lnTo>
                <a:lnTo>
                  <a:pt x="858" y="391"/>
                </a:lnTo>
                <a:lnTo>
                  <a:pt x="858" y="400"/>
                </a:lnTo>
                <a:lnTo>
                  <a:pt x="858" y="430"/>
                </a:lnTo>
                <a:lnTo>
                  <a:pt x="887" y="430"/>
                </a:lnTo>
                <a:lnTo>
                  <a:pt x="917" y="488"/>
                </a:lnTo>
                <a:lnTo>
                  <a:pt x="897" y="498"/>
                </a:lnTo>
                <a:lnTo>
                  <a:pt x="878" y="508"/>
                </a:lnTo>
                <a:lnTo>
                  <a:pt x="848" y="527"/>
                </a:lnTo>
                <a:lnTo>
                  <a:pt x="839" y="547"/>
                </a:lnTo>
                <a:lnTo>
                  <a:pt x="819" y="566"/>
                </a:lnTo>
                <a:lnTo>
                  <a:pt x="809" y="605"/>
                </a:lnTo>
                <a:lnTo>
                  <a:pt x="829" y="605"/>
                </a:lnTo>
                <a:lnTo>
                  <a:pt x="848" y="596"/>
                </a:lnTo>
                <a:lnTo>
                  <a:pt x="848" y="605"/>
                </a:lnTo>
                <a:lnTo>
                  <a:pt x="868" y="615"/>
                </a:lnTo>
                <a:lnTo>
                  <a:pt x="868" y="635"/>
                </a:lnTo>
                <a:lnTo>
                  <a:pt x="878" y="644"/>
                </a:lnTo>
                <a:lnTo>
                  <a:pt x="878" y="654"/>
                </a:lnTo>
                <a:lnTo>
                  <a:pt x="878" y="674"/>
                </a:lnTo>
                <a:lnTo>
                  <a:pt x="868" y="683"/>
                </a:lnTo>
                <a:lnTo>
                  <a:pt x="858" y="703"/>
                </a:lnTo>
                <a:lnTo>
                  <a:pt x="848" y="722"/>
                </a:lnTo>
                <a:lnTo>
                  <a:pt x="848" y="742"/>
                </a:lnTo>
                <a:lnTo>
                  <a:pt x="848" y="761"/>
                </a:lnTo>
                <a:lnTo>
                  <a:pt x="848" y="791"/>
                </a:lnTo>
                <a:lnTo>
                  <a:pt x="839" y="820"/>
                </a:lnTo>
                <a:lnTo>
                  <a:pt x="839" y="830"/>
                </a:lnTo>
                <a:lnTo>
                  <a:pt x="829" y="839"/>
                </a:lnTo>
                <a:lnTo>
                  <a:pt x="829" y="859"/>
                </a:lnTo>
                <a:lnTo>
                  <a:pt x="839" y="869"/>
                </a:lnTo>
                <a:lnTo>
                  <a:pt x="848" y="879"/>
                </a:lnTo>
                <a:lnTo>
                  <a:pt x="848" y="898"/>
                </a:lnTo>
                <a:lnTo>
                  <a:pt x="839" y="908"/>
                </a:lnTo>
                <a:lnTo>
                  <a:pt x="839" y="918"/>
                </a:lnTo>
                <a:lnTo>
                  <a:pt x="809" y="927"/>
                </a:lnTo>
                <a:lnTo>
                  <a:pt x="790" y="957"/>
                </a:lnTo>
                <a:lnTo>
                  <a:pt x="770" y="976"/>
                </a:lnTo>
                <a:lnTo>
                  <a:pt x="770" y="996"/>
                </a:lnTo>
                <a:lnTo>
                  <a:pt x="761" y="996"/>
                </a:lnTo>
                <a:lnTo>
                  <a:pt x="722" y="996"/>
                </a:lnTo>
                <a:lnTo>
                  <a:pt x="683" y="986"/>
                </a:lnTo>
                <a:lnTo>
                  <a:pt x="653" y="976"/>
                </a:lnTo>
                <a:lnTo>
                  <a:pt x="624" y="966"/>
                </a:lnTo>
                <a:lnTo>
                  <a:pt x="614" y="976"/>
                </a:lnTo>
                <a:lnTo>
                  <a:pt x="605" y="996"/>
                </a:lnTo>
                <a:lnTo>
                  <a:pt x="585" y="996"/>
                </a:lnTo>
                <a:lnTo>
                  <a:pt x="556" y="986"/>
                </a:lnTo>
                <a:lnTo>
                  <a:pt x="527" y="976"/>
                </a:lnTo>
                <a:lnTo>
                  <a:pt x="488" y="976"/>
                </a:lnTo>
                <a:lnTo>
                  <a:pt x="478" y="947"/>
                </a:lnTo>
                <a:lnTo>
                  <a:pt x="497" y="937"/>
                </a:lnTo>
                <a:lnTo>
                  <a:pt x="517" y="927"/>
                </a:lnTo>
                <a:lnTo>
                  <a:pt x="556" y="918"/>
                </a:lnTo>
                <a:lnTo>
                  <a:pt x="566" y="898"/>
                </a:lnTo>
                <a:lnTo>
                  <a:pt x="575" y="888"/>
                </a:lnTo>
                <a:lnTo>
                  <a:pt x="556" y="888"/>
                </a:lnTo>
                <a:lnTo>
                  <a:pt x="536" y="888"/>
                </a:lnTo>
                <a:lnTo>
                  <a:pt x="536" y="859"/>
                </a:lnTo>
                <a:lnTo>
                  <a:pt x="546" y="859"/>
                </a:lnTo>
                <a:lnTo>
                  <a:pt x="566" y="859"/>
                </a:lnTo>
                <a:lnTo>
                  <a:pt x="566" y="839"/>
                </a:lnTo>
                <a:lnTo>
                  <a:pt x="556" y="839"/>
                </a:lnTo>
                <a:lnTo>
                  <a:pt x="546" y="820"/>
                </a:lnTo>
                <a:lnTo>
                  <a:pt x="527" y="820"/>
                </a:lnTo>
                <a:lnTo>
                  <a:pt x="517" y="810"/>
                </a:lnTo>
                <a:lnTo>
                  <a:pt x="507" y="800"/>
                </a:lnTo>
                <a:lnTo>
                  <a:pt x="488" y="800"/>
                </a:lnTo>
                <a:lnTo>
                  <a:pt x="478" y="810"/>
                </a:lnTo>
                <a:lnTo>
                  <a:pt x="458" y="820"/>
                </a:lnTo>
                <a:lnTo>
                  <a:pt x="458" y="830"/>
                </a:lnTo>
                <a:lnTo>
                  <a:pt x="449" y="839"/>
                </a:lnTo>
                <a:lnTo>
                  <a:pt x="410" y="839"/>
                </a:lnTo>
                <a:lnTo>
                  <a:pt x="390" y="859"/>
                </a:lnTo>
                <a:lnTo>
                  <a:pt x="400" y="879"/>
                </a:lnTo>
                <a:lnTo>
                  <a:pt x="410" y="879"/>
                </a:lnTo>
                <a:lnTo>
                  <a:pt x="390" y="888"/>
                </a:lnTo>
                <a:lnTo>
                  <a:pt x="380" y="888"/>
                </a:lnTo>
                <a:lnTo>
                  <a:pt x="361" y="898"/>
                </a:lnTo>
                <a:lnTo>
                  <a:pt x="351" y="918"/>
                </a:lnTo>
                <a:lnTo>
                  <a:pt x="341" y="927"/>
                </a:lnTo>
                <a:lnTo>
                  <a:pt x="341" y="937"/>
                </a:lnTo>
                <a:lnTo>
                  <a:pt x="331" y="937"/>
                </a:lnTo>
                <a:lnTo>
                  <a:pt x="331" y="918"/>
                </a:lnTo>
                <a:lnTo>
                  <a:pt x="331" y="908"/>
                </a:lnTo>
                <a:lnTo>
                  <a:pt x="322" y="908"/>
                </a:lnTo>
                <a:lnTo>
                  <a:pt x="322" y="918"/>
                </a:lnTo>
                <a:lnTo>
                  <a:pt x="322" y="937"/>
                </a:lnTo>
                <a:lnTo>
                  <a:pt x="322" y="947"/>
                </a:lnTo>
                <a:lnTo>
                  <a:pt x="322" y="957"/>
                </a:lnTo>
                <a:lnTo>
                  <a:pt x="341" y="966"/>
                </a:lnTo>
                <a:lnTo>
                  <a:pt x="351" y="976"/>
                </a:lnTo>
                <a:lnTo>
                  <a:pt x="371" y="957"/>
                </a:lnTo>
                <a:lnTo>
                  <a:pt x="380" y="957"/>
                </a:lnTo>
                <a:lnTo>
                  <a:pt x="390" y="976"/>
                </a:lnTo>
                <a:lnTo>
                  <a:pt x="400" y="976"/>
                </a:lnTo>
                <a:lnTo>
                  <a:pt x="439" y="966"/>
                </a:lnTo>
                <a:lnTo>
                  <a:pt x="449" y="947"/>
                </a:lnTo>
                <a:lnTo>
                  <a:pt x="478" y="947"/>
                </a:lnTo>
                <a:lnTo>
                  <a:pt x="488" y="976"/>
                </a:lnTo>
                <a:lnTo>
                  <a:pt x="458" y="986"/>
                </a:lnTo>
                <a:lnTo>
                  <a:pt x="410" y="1044"/>
                </a:lnTo>
                <a:lnTo>
                  <a:pt x="410" y="1074"/>
                </a:lnTo>
                <a:lnTo>
                  <a:pt x="390" y="1083"/>
                </a:lnTo>
                <a:lnTo>
                  <a:pt x="371" y="1083"/>
                </a:lnTo>
                <a:lnTo>
                  <a:pt x="351" y="1093"/>
                </a:lnTo>
                <a:lnTo>
                  <a:pt x="331" y="1113"/>
                </a:lnTo>
                <a:lnTo>
                  <a:pt x="302" y="1122"/>
                </a:lnTo>
                <a:lnTo>
                  <a:pt x="292" y="1132"/>
                </a:lnTo>
                <a:lnTo>
                  <a:pt x="273" y="1152"/>
                </a:lnTo>
                <a:lnTo>
                  <a:pt x="244" y="1152"/>
                </a:lnTo>
                <a:lnTo>
                  <a:pt x="224" y="1152"/>
                </a:lnTo>
                <a:lnTo>
                  <a:pt x="195" y="1152"/>
                </a:lnTo>
                <a:lnTo>
                  <a:pt x="175" y="1152"/>
                </a:lnTo>
                <a:lnTo>
                  <a:pt x="156" y="1152"/>
                </a:lnTo>
                <a:lnTo>
                  <a:pt x="146" y="1142"/>
                </a:lnTo>
                <a:lnTo>
                  <a:pt x="88" y="1152"/>
                </a:lnTo>
                <a:lnTo>
                  <a:pt x="68" y="1142"/>
                </a:lnTo>
                <a:lnTo>
                  <a:pt x="58" y="1132"/>
                </a:lnTo>
                <a:lnTo>
                  <a:pt x="39" y="1122"/>
                </a:lnTo>
                <a:lnTo>
                  <a:pt x="29" y="1113"/>
                </a:lnTo>
                <a:lnTo>
                  <a:pt x="19" y="1093"/>
                </a:lnTo>
                <a:lnTo>
                  <a:pt x="10" y="1093"/>
                </a:lnTo>
                <a:close/>
              </a:path>
            </a:pathLst>
          </a:custGeom>
          <a:solidFill>
            <a:srgbClr val="C0C0C0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623" name="Freeform 115"/>
          <p:cNvSpPr>
            <a:spLocks noChangeAspect="1"/>
          </p:cNvSpPr>
          <p:nvPr>
            <p:custDataLst>
              <p:tags r:id="rId189"/>
            </p:custDataLst>
          </p:nvPr>
        </p:nvSpPr>
        <p:spPr bwMode="auto">
          <a:xfrm>
            <a:off x="6070600" y="4772025"/>
            <a:ext cx="749300" cy="474663"/>
          </a:xfrm>
          <a:custGeom>
            <a:avLst/>
            <a:gdLst>
              <a:gd name="T0" fmla="*/ 150261 w 1122"/>
              <a:gd name="T1" fmla="*/ 243256 h 761"/>
              <a:gd name="T2" fmla="*/ 136904 w 1122"/>
              <a:gd name="T3" fmla="*/ 273819 h 761"/>
              <a:gd name="T4" fmla="*/ 221718 w 1122"/>
              <a:gd name="T5" fmla="*/ 298145 h 761"/>
              <a:gd name="T6" fmla="*/ 267130 w 1122"/>
              <a:gd name="T7" fmla="*/ 285670 h 761"/>
              <a:gd name="T8" fmla="*/ 319220 w 1122"/>
              <a:gd name="T9" fmla="*/ 298145 h 761"/>
              <a:gd name="T10" fmla="*/ 358622 w 1122"/>
              <a:gd name="T11" fmla="*/ 291908 h 761"/>
              <a:gd name="T12" fmla="*/ 384667 w 1122"/>
              <a:gd name="T13" fmla="*/ 304382 h 761"/>
              <a:gd name="T14" fmla="*/ 410713 w 1122"/>
              <a:gd name="T15" fmla="*/ 334946 h 761"/>
              <a:gd name="T16" fmla="*/ 436758 w 1122"/>
              <a:gd name="T17" fmla="*/ 359271 h 761"/>
              <a:gd name="T18" fmla="*/ 462803 w 1122"/>
              <a:gd name="T19" fmla="*/ 383597 h 761"/>
              <a:gd name="T20" fmla="*/ 495526 w 1122"/>
              <a:gd name="T21" fmla="*/ 432248 h 761"/>
              <a:gd name="T22" fmla="*/ 534260 w 1122"/>
              <a:gd name="T23" fmla="*/ 462187 h 761"/>
              <a:gd name="T24" fmla="*/ 580340 w 1122"/>
              <a:gd name="T25" fmla="*/ 468425 h 761"/>
              <a:gd name="T26" fmla="*/ 625752 w 1122"/>
              <a:gd name="T27" fmla="*/ 462187 h 761"/>
              <a:gd name="T28" fmla="*/ 658476 w 1122"/>
              <a:gd name="T29" fmla="*/ 462187 h 761"/>
              <a:gd name="T30" fmla="*/ 710566 w 1122"/>
              <a:gd name="T31" fmla="*/ 468425 h 761"/>
              <a:gd name="T32" fmla="*/ 723255 w 1122"/>
              <a:gd name="T33" fmla="*/ 432248 h 761"/>
              <a:gd name="T34" fmla="*/ 716577 w 1122"/>
              <a:gd name="T35" fmla="*/ 389210 h 761"/>
              <a:gd name="T36" fmla="*/ 697210 w 1122"/>
              <a:gd name="T37" fmla="*/ 364885 h 761"/>
              <a:gd name="T38" fmla="*/ 658476 w 1122"/>
              <a:gd name="T39" fmla="*/ 346796 h 761"/>
              <a:gd name="T40" fmla="*/ 638441 w 1122"/>
              <a:gd name="T41" fmla="*/ 316233 h 761"/>
              <a:gd name="T42" fmla="*/ 651797 w 1122"/>
              <a:gd name="T43" fmla="*/ 285670 h 761"/>
              <a:gd name="T44" fmla="*/ 671164 w 1122"/>
              <a:gd name="T45" fmla="*/ 255731 h 761"/>
              <a:gd name="T46" fmla="*/ 677843 w 1122"/>
              <a:gd name="T47" fmla="*/ 237019 h 761"/>
              <a:gd name="T48" fmla="*/ 697210 w 1122"/>
              <a:gd name="T49" fmla="*/ 212693 h 761"/>
              <a:gd name="T50" fmla="*/ 684521 w 1122"/>
              <a:gd name="T51" fmla="*/ 176517 h 761"/>
              <a:gd name="T52" fmla="*/ 710566 w 1122"/>
              <a:gd name="T53" fmla="*/ 170280 h 761"/>
              <a:gd name="T54" fmla="*/ 742622 w 1122"/>
              <a:gd name="T55" fmla="*/ 139717 h 761"/>
              <a:gd name="T56" fmla="*/ 723255 w 1122"/>
              <a:gd name="T57" fmla="*/ 103540 h 761"/>
              <a:gd name="T58" fmla="*/ 690531 w 1122"/>
              <a:gd name="T59" fmla="*/ 109777 h 761"/>
              <a:gd name="T60" fmla="*/ 651797 w 1122"/>
              <a:gd name="T61" fmla="*/ 134103 h 761"/>
              <a:gd name="T62" fmla="*/ 619074 w 1122"/>
              <a:gd name="T63" fmla="*/ 158429 h 761"/>
              <a:gd name="T64" fmla="*/ 599707 w 1122"/>
              <a:gd name="T65" fmla="*/ 170280 h 761"/>
              <a:gd name="T66" fmla="*/ 566984 w 1122"/>
              <a:gd name="T67" fmla="*/ 134103 h 761"/>
              <a:gd name="T68" fmla="*/ 521572 w 1122"/>
              <a:gd name="T69" fmla="*/ 139717 h 761"/>
              <a:gd name="T70" fmla="*/ 534260 w 1122"/>
              <a:gd name="T71" fmla="*/ 97303 h 761"/>
              <a:gd name="T72" fmla="*/ 554295 w 1122"/>
              <a:gd name="T73" fmla="*/ 42414 h 761"/>
              <a:gd name="T74" fmla="*/ 566984 w 1122"/>
              <a:gd name="T75" fmla="*/ 24326 h 761"/>
              <a:gd name="T76" fmla="*/ 566984 w 1122"/>
              <a:gd name="T77" fmla="*/ 18088 h 761"/>
              <a:gd name="T78" fmla="*/ 534260 w 1122"/>
              <a:gd name="T79" fmla="*/ 6237 h 761"/>
              <a:gd name="T80" fmla="*/ 423401 w 1122"/>
              <a:gd name="T81" fmla="*/ 42414 h 761"/>
              <a:gd name="T82" fmla="*/ 397356 w 1122"/>
              <a:gd name="T83" fmla="*/ 79214 h 761"/>
              <a:gd name="T84" fmla="*/ 345266 w 1122"/>
              <a:gd name="T85" fmla="*/ 84828 h 761"/>
              <a:gd name="T86" fmla="*/ 325899 w 1122"/>
              <a:gd name="T87" fmla="*/ 97303 h 761"/>
              <a:gd name="T88" fmla="*/ 287165 w 1122"/>
              <a:gd name="T89" fmla="*/ 109777 h 761"/>
              <a:gd name="T90" fmla="*/ 261120 w 1122"/>
              <a:gd name="T91" fmla="*/ 103540 h 761"/>
              <a:gd name="T92" fmla="*/ 202351 w 1122"/>
              <a:gd name="T93" fmla="*/ 109777 h 761"/>
              <a:gd name="T94" fmla="*/ 150261 w 1122"/>
              <a:gd name="T95" fmla="*/ 91065 h 761"/>
              <a:gd name="T96" fmla="*/ 110859 w 1122"/>
              <a:gd name="T97" fmla="*/ 103540 h 761"/>
              <a:gd name="T98" fmla="*/ 72125 w 1122"/>
              <a:gd name="T99" fmla="*/ 91065 h 761"/>
              <a:gd name="T100" fmla="*/ 13357 w 1122"/>
              <a:gd name="T101" fmla="*/ 91065 h 761"/>
              <a:gd name="T102" fmla="*/ 32723 w 1122"/>
              <a:gd name="T103" fmla="*/ 134103 h 761"/>
              <a:gd name="T104" fmla="*/ 26045 w 1122"/>
              <a:gd name="T105" fmla="*/ 158429 h 761"/>
              <a:gd name="T106" fmla="*/ 78136 w 1122"/>
              <a:gd name="T107" fmla="*/ 152191 h 761"/>
              <a:gd name="T108" fmla="*/ 104181 w 1122"/>
              <a:gd name="T109" fmla="*/ 170280 h 761"/>
              <a:gd name="T110" fmla="*/ 124215 w 1122"/>
              <a:gd name="T111" fmla="*/ 207080 h 761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1122"/>
              <a:gd name="T169" fmla="*/ 0 h 761"/>
              <a:gd name="T170" fmla="*/ 1122 w 1122"/>
              <a:gd name="T171" fmla="*/ 761 h 761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1122" h="761">
                <a:moveTo>
                  <a:pt x="205" y="361"/>
                </a:moveTo>
                <a:lnTo>
                  <a:pt x="205" y="371"/>
                </a:lnTo>
                <a:lnTo>
                  <a:pt x="225" y="380"/>
                </a:lnTo>
                <a:lnTo>
                  <a:pt x="225" y="390"/>
                </a:lnTo>
                <a:lnTo>
                  <a:pt x="205" y="390"/>
                </a:lnTo>
                <a:lnTo>
                  <a:pt x="205" y="410"/>
                </a:lnTo>
                <a:lnTo>
                  <a:pt x="205" y="419"/>
                </a:lnTo>
                <a:lnTo>
                  <a:pt x="205" y="439"/>
                </a:lnTo>
                <a:lnTo>
                  <a:pt x="234" y="449"/>
                </a:lnTo>
                <a:lnTo>
                  <a:pt x="264" y="497"/>
                </a:lnTo>
                <a:lnTo>
                  <a:pt x="303" y="488"/>
                </a:lnTo>
                <a:lnTo>
                  <a:pt x="332" y="478"/>
                </a:lnTo>
                <a:lnTo>
                  <a:pt x="352" y="458"/>
                </a:lnTo>
                <a:lnTo>
                  <a:pt x="361" y="458"/>
                </a:lnTo>
                <a:lnTo>
                  <a:pt x="381" y="458"/>
                </a:lnTo>
                <a:lnTo>
                  <a:pt x="400" y="458"/>
                </a:lnTo>
                <a:lnTo>
                  <a:pt x="430" y="458"/>
                </a:lnTo>
                <a:lnTo>
                  <a:pt x="439" y="478"/>
                </a:lnTo>
                <a:lnTo>
                  <a:pt x="459" y="478"/>
                </a:lnTo>
                <a:lnTo>
                  <a:pt x="478" y="478"/>
                </a:lnTo>
                <a:lnTo>
                  <a:pt x="478" y="458"/>
                </a:lnTo>
                <a:lnTo>
                  <a:pt x="498" y="458"/>
                </a:lnTo>
                <a:lnTo>
                  <a:pt x="517" y="468"/>
                </a:lnTo>
                <a:lnTo>
                  <a:pt x="537" y="468"/>
                </a:lnTo>
                <a:lnTo>
                  <a:pt x="547" y="478"/>
                </a:lnTo>
                <a:lnTo>
                  <a:pt x="566" y="478"/>
                </a:lnTo>
                <a:lnTo>
                  <a:pt x="566" y="488"/>
                </a:lnTo>
                <a:lnTo>
                  <a:pt x="576" y="488"/>
                </a:lnTo>
                <a:lnTo>
                  <a:pt x="586" y="497"/>
                </a:lnTo>
                <a:lnTo>
                  <a:pt x="595" y="517"/>
                </a:lnTo>
                <a:lnTo>
                  <a:pt x="605" y="527"/>
                </a:lnTo>
                <a:lnTo>
                  <a:pt x="615" y="537"/>
                </a:lnTo>
                <a:lnTo>
                  <a:pt x="625" y="556"/>
                </a:lnTo>
                <a:lnTo>
                  <a:pt x="644" y="556"/>
                </a:lnTo>
                <a:lnTo>
                  <a:pt x="654" y="566"/>
                </a:lnTo>
                <a:lnTo>
                  <a:pt x="654" y="576"/>
                </a:lnTo>
                <a:lnTo>
                  <a:pt x="664" y="585"/>
                </a:lnTo>
                <a:lnTo>
                  <a:pt x="683" y="595"/>
                </a:lnTo>
                <a:lnTo>
                  <a:pt x="683" y="615"/>
                </a:lnTo>
                <a:lnTo>
                  <a:pt x="693" y="615"/>
                </a:lnTo>
                <a:lnTo>
                  <a:pt x="703" y="634"/>
                </a:lnTo>
                <a:lnTo>
                  <a:pt x="732" y="663"/>
                </a:lnTo>
                <a:lnTo>
                  <a:pt x="742" y="673"/>
                </a:lnTo>
                <a:lnTo>
                  <a:pt x="742" y="693"/>
                </a:lnTo>
                <a:lnTo>
                  <a:pt x="771" y="702"/>
                </a:lnTo>
                <a:lnTo>
                  <a:pt x="781" y="722"/>
                </a:lnTo>
                <a:lnTo>
                  <a:pt x="790" y="741"/>
                </a:lnTo>
                <a:lnTo>
                  <a:pt x="800" y="741"/>
                </a:lnTo>
                <a:lnTo>
                  <a:pt x="810" y="761"/>
                </a:lnTo>
                <a:lnTo>
                  <a:pt x="830" y="761"/>
                </a:lnTo>
                <a:lnTo>
                  <a:pt x="859" y="751"/>
                </a:lnTo>
                <a:lnTo>
                  <a:pt x="869" y="751"/>
                </a:lnTo>
                <a:lnTo>
                  <a:pt x="888" y="732"/>
                </a:lnTo>
                <a:lnTo>
                  <a:pt x="898" y="732"/>
                </a:lnTo>
                <a:lnTo>
                  <a:pt x="917" y="741"/>
                </a:lnTo>
                <a:lnTo>
                  <a:pt x="937" y="741"/>
                </a:lnTo>
                <a:lnTo>
                  <a:pt x="947" y="732"/>
                </a:lnTo>
                <a:lnTo>
                  <a:pt x="956" y="732"/>
                </a:lnTo>
                <a:lnTo>
                  <a:pt x="976" y="732"/>
                </a:lnTo>
                <a:lnTo>
                  <a:pt x="986" y="741"/>
                </a:lnTo>
                <a:lnTo>
                  <a:pt x="1005" y="751"/>
                </a:lnTo>
                <a:lnTo>
                  <a:pt x="1034" y="761"/>
                </a:lnTo>
                <a:lnTo>
                  <a:pt x="1044" y="751"/>
                </a:lnTo>
                <a:lnTo>
                  <a:pt x="1064" y="751"/>
                </a:lnTo>
                <a:lnTo>
                  <a:pt x="1064" y="722"/>
                </a:lnTo>
                <a:lnTo>
                  <a:pt x="1064" y="712"/>
                </a:lnTo>
                <a:lnTo>
                  <a:pt x="1073" y="693"/>
                </a:lnTo>
                <a:lnTo>
                  <a:pt x="1083" y="693"/>
                </a:lnTo>
                <a:lnTo>
                  <a:pt x="1083" y="673"/>
                </a:lnTo>
                <a:lnTo>
                  <a:pt x="1073" y="654"/>
                </a:lnTo>
                <a:lnTo>
                  <a:pt x="1064" y="644"/>
                </a:lnTo>
                <a:lnTo>
                  <a:pt x="1073" y="624"/>
                </a:lnTo>
                <a:lnTo>
                  <a:pt x="1064" y="615"/>
                </a:lnTo>
                <a:lnTo>
                  <a:pt x="1044" y="605"/>
                </a:lnTo>
                <a:lnTo>
                  <a:pt x="1044" y="595"/>
                </a:lnTo>
                <a:lnTo>
                  <a:pt x="1044" y="585"/>
                </a:lnTo>
                <a:lnTo>
                  <a:pt x="1025" y="576"/>
                </a:lnTo>
                <a:lnTo>
                  <a:pt x="1005" y="585"/>
                </a:lnTo>
                <a:lnTo>
                  <a:pt x="986" y="566"/>
                </a:lnTo>
                <a:lnTo>
                  <a:pt x="986" y="556"/>
                </a:lnTo>
                <a:lnTo>
                  <a:pt x="956" y="556"/>
                </a:lnTo>
                <a:lnTo>
                  <a:pt x="956" y="537"/>
                </a:lnTo>
                <a:lnTo>
                  <a:pt x="947" y="517"/>
                </a:lnTo>
                <a:lnTo>
                  <a:pt x="956" y="507"/>
                </a:lnTo>
                <a:lnTo>
                  <a:pt x="966" y="488"/>
                </a:lnTo>
                <a:lnTo>
                  <a:pt x="966" y="468"/>
                </a:lnTo>
                <a:lnTo>
                  <a:pt x="976" y="468"/>
                </a:lnTo>
                <a:lnTo>
                  <a:pt x="976" y="458"/>
                </a:lnTo>
                <a:lnTo>
                  <a:pt x="966" y="449"/>
                </a:lnTo>
                <a:lnTo>
                  <a:pt x="956" y="429"/>
                </a:lnTo>
                <a:lnTo>
                  <a:pt x="986" y="429"/>
                </a:lnTo>
                <a:lnTo>
                  <a:pt x="1005" y="410"/>
                </a:lnTo>
                <a:lnTo>
                  <a:pt x="1005" y="400"/>
                </a:lnTo>
                <a:lnTo>
                  <a:pt x="1005" y="380"/>
                </a:lnTo>
                <a:lnTo>
                  <a:pt x="1015" y="380"/>
                </a:lnTo>
                <a:lnTo>
                  <a:pt x="1015" y="361"/>
                </a:lnTo>
                <a:lnTo>
                  <a:pt x="1015" y="351"/>
                </a:lnTo>
                <a:lnTo>
                  <a:pt x="1025" y="351"/>
                </a:lnTo>
                <a:lnTo>
                  <a:pt x="1044" y="341"/>
                </a:lnTo>
                <a:lnTo>
                  <a:pt x="1064" y="332"/>
                </a:lnTo>
                <a:lnTo>
                  <a:pt x="1054" y="312"/>
                </a:lnTo>
                <a:lnTo>
                  <a:pt x="1044" y="302"/>
                </a:lnTo>
                <a:lnTo>
                  <a:pt x="1025" y="283"/>
                </a:lnTo>
                <a:lnTo>
                  <a:pt x="1025" y="273"/>
                </a:lnTo>
                <a:lnTo>
                  <a:pt x="1034" y="273"/>
                </a:lnTo>
                <a:lnTo>
                  <a:pt x="1044" y="283"/>
                </a:lnTo>
                <a:lnTo>
                  <a:pt x="1064" y="273"/>
                </a:lnTo>
                <a:lnTo>
                  <a:pt x="1093" y="263"/>
                </a:lnTo>
                <a:lnTo>
                  <a:pt x="1122" y="263"/>
                </a:lnTo>
                <a:lnTo>
                  <a:pt x="1122" y="244"/>
                </a:lnTo>
                <a:lnTo>
                  <a:pt x="1112" y="224"/>
                </a:lnTo>
                <a:lnTo>
                  <a:pt x="1103" y="224"/>
                </a:lnTo>
                <a:lnTo>
                  <a:pt x="1093" y="205"/>
                </a:lnTo>
                <a:lnTo>
                  <a:pt x="1093" y="185"/>
                </a:lnTo>
                <a:lnTo>
                  <a:pt x="1083" y="166"/>
                </a:lnTo>
                <a:lnTo>
                  <a:pt x="1064" y="156"/>
                </a:lnTo>
                <a:lnTo>
                  <a:pt x="1044" y="146"/>
                </a:lnTo>
                <a:lnTo>
                  <a:pt x="1034" y="176"/>
                </a:lnTo>
                <a:lnTo>
                  <a:pt x="1025" y="185"/>
                </a:lnTo>
                <a:lnTo>
                  <a:pt x="1005" y="185"/>
                </a:lnTo>
                <a:lnTo>
                  <a:pt x="976" y="195"/>
                </a:lnTo>
                <a:lnTo>
                  <a:pt x="976" y="215"/>
                </a:lnTo>
                <a:lnTo>
                  <a:pt x="966" y="224"/>
                </a:lnTo>
                <a:lnTo>
                  <a:pt x="966" y="234"/>
                </a:lnTo>
                <a:lnTo>
                  <a:pt x="947" y="244"/>
                </a:lnTo>
                <a:lnTo>
                  <a:pt x="927" y="254"/>
                </a:lnTo>
                <a:lnTo>
                  <a:pt x="927" y="273"/>
                </a:lnTo>
                <a:lnTo>
                  <a:pt x="908" y="273"/>
                </a:lnTo>
                <a:lnTo>
                  <a:pt x="908" y="263"/>
                </a:lnTo>
                <a:lnTo>
                  <a:pt x="898" y="273"/>
                </a:lnTo>
                <a:lnTo>
                  <a:pt x="878" y="283"/>
                </a:lnTo>
                <a:lnTo>
                  <a:pt x="859" y="263"/>
                </a:lnTo>
                <a:lnTo>
                  <a:pt x="849" y="234"/>
                </a:lnTo>
                <a:lnTo>
                  <a:pt x="849" y="215"/>
                </a:lnTo>
                <a:lnTo>
                  <a:pt x="820" y="224"/>
                </a:lnTo>
                <a:lnTo>
                  <a:pt x="810" y="234"/>
                </a:lnTo>
                <a:lnTo>
                  <a:pt x="790" y="234"/>
                </a:lnTo>
                <a:lnTo>
                  <a:pt x="781" y="224"/>
                </a:lnTo>
                <a:lnTo>
                  <a:pt x="790" y="195"/>
                </a:lnTo>
                <a:lnTo>
                  <a:pt x="800" y="176"/>
                </a:lnTo>
                <a:lnTo>
                  <a:pt x="800" y="166"/>
                </a:lnTo>
                <a:lnTo>
                  <a:pt x="800" y="156"/>
                </a:lnTo>
                <a:lnTo>
                  <a:pt x="800" y="136"/>
                </a:lnTo>
                <a:lnTo>
                  <a:pt x="810" y="117"/>
                </a:lnTo>
                <a:lnTo>
                  <a:pt x="820" y="88"/>
                </a:lnTo>
                <a:lnTo>
                  <a:pt x="830" y="68"/>
                </a:lnTo>
                <a:lnTo>
                  <a:pt x="849" y="58"/>
                </a:lnTo>
                <a:lnTo>
                  <a:pt x="839" y="49"/>
                </a:lnTo>
                <a:lnTo>
                  <a:pt x="839" y="39"/>
                </a:lnTo>
                <a:lnTo>
                  <a:pt x="849" y="39"/>
                </a:lnTo>
                <a:lnTo>
                  <a:pt x="839" y="29"/>
                </a:lnTo>
                <a:lnTo>
                  <a:pt x="849" y="29"/>
                </a:lnTo>
                <a:lnTo>
                  <a:pt x="859" y="19"/>
                </a:lnTo>
                <a:lnTo>
                  <a:pt x="830" y="10"/>
                </a:lnTo>
                <a:lnTo>
                  <a:pt x="810" y="0"/>
                </a:lnTo>
                <a:lnTo>
                  <a:pt x="800" y="10"/>
                </a:lnTo>
                <a:lnTo>
                  <a:pt x="771" y="19"/>
                </a:lnTo>
                <a:lnTo>
                  <a:pt x="712" y="39"/>
                </a:lnTo>
                <a:lnTo>
                  <a:pt x="664" y="58"/>
                </a:lnTo>
                <a:lnTo>
                  <a:pt x="634" y="68"/>
                </a:lnTo>
                <a:lnTo>
                  <a:pt x="595" y="88"/>
                </a:lnTo>
                <a:lnTo>
                  <a:pt x="595" y="107"/>
                </a:lnTo>
                <a:lnTo>
                  <a:pt x="605" y="117"/>
                </a:lnTo>
                <a:lnTo>
                  <a:pt x="595" y="127"/>
                </a:lnTo>
                <a:lnTo>
                  <a:pt x="556" y="136"/>
                </a:lnTo>
                <a:lnTo>
                  <a:pt x="537" y="136"/>
                </a:lnTo>
                <a:lnTo>
                  <a:pt x="527" y="136"/>
                </a:lnTo>
                <a:lnTo>
                  <a:pt x="517" y="136"/>
                </a:lnTo>
                <a:lnTo>
                  <a:pt x="517" y="156"/>
                </a:lnTo>
                <a:lnTo>
                  <a:pt x="498" y="156"/>
                </a:lnTo>
                <a:lnTo>
                  <a:pt x="498" y="146"/>
                </a:lnTo>
                <a:lnTo>
                  <a:pt x="488" y="156"/>
                </a:lnTo>
                <a:lnTo>
                  <a:pt x="478" y="156"/>
                </a:lnTo>
                <a:lnTo>
                  <a:pt x="459" y="156"/>
                </a:lnTo>
                <a:lnTo>
                  <a:pt x="449" y="166"/>
                </a:lnTo>
                <a:lnTo>
                  <a:pt x="430" y="176"/>
                </a:lnTo>
                <a:lnTo>
                  <a:pt x="420" y="166"/>
                </a:lnTo>
                <a:lnTo>
                  <a:pt x="410" y="156"/>
                </a:lnTo>
                <a:lnTo>
                  <a:pt x="400" y="166"/>
                </a:lnTo>
                <a:lnTo>
                  <a:pt x="391" y="166"/>
                </a:lnTo>
                <a:lnTo>
                  <a:pt x="361" y="166"/>
                </a:lnTo>
                <a:lnTo>
                  <a:pt x="332" y="176"/>
                </a:lnTo>
                <a:lnTo>
                  <a:pt x="313" y="185"/>
                </a:lnTo>
                <a:lnTo>
                  <a:pt x="303" y="176"/>
                </a:lnTo>
                <a:lnTo>
                  <a:pt x="283" y="156"/>
                </a:lnTo>
                <a:lnTo>
                  <a:pt x="264" y="146"/>
                </a:lnTo>
                <a:lnTo>
                  <a:pt x="244" y="146"/>
                </a:lnTo>
                <a:lnTo>
                  <a:pt x="225" y="146"/>
                </a:lnTo>
                <a:lnTo>
                  <a:pt x="195" y="146"/>
                </a:lnTo>
                <a:lnTo>
                  <a:pt x="186" y="146"/>
                </a:lnTo>
                <a:lnTo>
                  <a:pt x="186" y="166"/>
                </a:lnTo>
                <a:lnTo>
                  <a:pt x="166" y="166"/>
                </a:lnTo>
                <a:lnTo>
                  <a:pt x="147" y="156"/>
                </a:lnTo>
                <a:lnTo>
                  <a:pt x="137" y="136"/>
                </a:lnTo>
                <a:lnTo>
                  <a:pt x="117" y="156"/>
                </a:lnTo>
                <a:lnTo>
                  <a:pt x="108" y="146"/>
                </a:lnTo>
                <a:lnTo>
                  <a:pt x="88" y="136"/>
                </a:lnTo>
                <a:lnTo>
                  <a:pt x="69" y="136"/>
                </a:lnTo>
                <a:lnTo>
                  <a:pt x="49" y="136"/>
                </a:lnTo>
                <a:lnTo>
                  <a:pt x="20" y="146"/>
                </a:lnTo>
                <a:lnTo>
                  <a:pt x="10" y="156"/>
                </a:lnTo>
                <a:lnTo>
                  <a:pt x="0" y="176"/>
                </a:lnTo>
                <a:lnTo>
                  <a:pt x="20" y="205"/>
                </a:lnTo>
                <a:lnTo>
                  <a:pt x="49" y="215"/>
                </a:lnTo>
                <a:lnTo>
                  <a:pt x="59" y="224"/>
                </a:lnTo>
                <a:lnTo>
                  <a:pt x="39" y="234"/>
                </a:lnTo>
                <a:lnTo>
                  <a:pt x="30" y="244"/>
                </a:lnTo>
                <a:lnTo>
                  <a:pt x="39" y="254"/>
                </a:lnTo>
                <a:lnTo>
                  <a:pt x="49" y="263"/>
                </a:lnTo>
                <a:lnTo>
                  <a:pt x="78" y="244"/>
                </a:lnTo>
                <a:lnTo>
                  <a:pt x="108" y="234"/>
                </a:lnTo>
                <a:lnTo>
                  <a:pt x="117" y="244"/>
                </a:lnTo>
                <a:lnTo>
                  <a:pt x="127" y="273"/>
                </a:lnTo>
                <a:lnTo>
                  <a:pt x="127" y="283"/>
                </a:lnTo>
                <a:lnTo>
                  <a:pt x="137" y="293"/>
                </a:lnTo>
                <a:lnTo>
                  <a:pt x="156" y="273"/>
                </a:lnTo>
                <a:lnTo>
                  <a:pt x="176" y="283"/>
                </a:lnTo>
                <a:lnTo>
                  <a:pt x="176" y="302"/>
                </a:lnTo>
                <a:lnTo>
                  <a:pt x="186" y="312"/>
                </a:lnTo>
                <a:lnTo>
                  <a:pt x="186" y="332"/>
                </a:lnTo>
                <a:lnTo>
                  <a:pt x="186" y="351"/>
                </a:lnTo>
                <a:lnTo>
                  <a:pt x="186" y="361"/>
                </a:lnTo>
                <a:lnTo>
                  <a:pt x="205" y="361"/>
                </a:lnTo>
                <a:close/>
              </a:path>
            </a:pathLst>
          </a:custGeom>
          <a:solidFill>
            <a:srgbClr val="CCECFF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grpSp>
        <p:nvGrpSpPr>
          <p:cNvPr id="18624" name="Group 112"/>
          <p:cNvGrpSpPr>
            <a:grpSpLocks noChangeAspect="1"/>
          </p:cNvGrpSpPr>
          <p:nvPr>
            <p:custDataLst>
              <p:tags r:id="rId190"/>
            </p:custDataLst>
          </p:nvPr>
        </p:nvGrpSpPr>
        <p:grpSpPr bwMode="auto">
          <a:xfrm>
            <a:off x="6070600" y="4772025"/>
            <a:ext cx="749300" cy="474663"/>
            <a:chOff x="6613" y="3093"/>
            <a:chExt cx="1122" cy="761"/>
          </a:xfrm>
        </p:grpSpPr>
        <p:sp>
          <p:nvSpPr>
            <p:cNvPr id="18752" name="Freeform 114"/>
            <p:cNvSpPr>
              <a:spLocks noChangeAspect="1"/>
            </p:cNvSpPr>
            <p:nvPr/>
          </p:nvSpPr>
          <p:spPr bwMode="auto">
            <a:xfrm>
              <a:off x="6613" y="3093"/>
              <a:ext cx="1122" cy="761"/>
            </a:xfrm>
            <a:custGeom>
              <a:avLst/>
              <a:gdLst>
                <a:gd name="T0" fmla="*/ 225 w 1122"/>
                <a:gd name="T1" fmla="*/ 390 h 761"/>
                <a:gd name="T2" fmla="*/ 205 w 1122"/>
                <a:gd name="T3" fmla="*/ 439 h 761"/>
                <a:gd name="T4" fmla="*/ 332 w 1122"/>
                <a:gd name="T5" fmla="*/ 478 h 761"/>
                <a:gd name="T6" fmla="*/ 400 w 1122"/>
                <a:gd name="T7" fmla="*/ 458 h 761"/>
                <a:gd name="T8" fmla="*/ 478 w 1122"/>
                <a:gd name="T9" fmla="*/ 478 h 761"/>
                <a:gd name="T10" fmla="*/ 537 w 1122"/>
                <a:gd name="T11" fmla="*/ 468 h 761"/>
                <a:gd name="T12" fmla="*/ 576 w 1122"/>
                <a:gd name="T13" fmla="*/ 488 h 761"/>
                <a:gd name="T14" fmla="*/ 615 w 1122"/>
                <a:gd name="T15" fmla="*/ 537 h 761"/>
                <a:gd name="T16" fmla="*/ 654 w 1122"/>
                <a:gd name="T17" fmla="*/ 576 h 761"/>
                <a:gd name="T18" fmla="*/ 693 w 1122"/>
                <a:gd name="T19" fmla="*/ 615 h 761"/>
                <a:gd name="T20" fmla="*/ 751 w 1122"/>
                <a:gd name="T21" fmla="*/ 693 h 761"/>
                <a:gd name="T22" fmla="*/ 800 w 1122"/>
                <a:gd name="T23" fmla="*/ 741 h 761"/>
                <a:gd name="T24" fmla="*/ 869 w 1122"/>
                <a:gd name="T25" fmla="*/ 741 h 761"/>
                <a:gd name="T26" fmla="*/ 937 w 1122"/>
                <a:gd name="T27" fmla="*/ 741 h 761"/>
                <a:gd name="T28" fmla="*/ 986 w 1122"/>
                <a:gd name="T29" fmla="*/ 741 h 761"/>
                <a:gd name="T30" fmla="*/ 1064 w 1122"/>
                <a:gd name="T31" fmla="*/ 741 h 761"/>
                <a:gd name="T32" fmla="*/ 1083 w 1122"/>
                <a:gd name="T33" fmla="*/ 683 h 761"/>
                <a:gd name="T34" fmla="*/ 1073 w 1122"/>
                <a:gd name="T35" fmla="*/ 624 h 761"/>
                <a:gd name="T36" fmla="*/ 1044 w 1122"/>
                <a:gd name="T37" fmla="*/ 585 h 761"/>
                <a:gd name="T38" fmla="*/ 986 w 1122"/>
                <a:gd name="T39" fmla="*/ 556 h 761"/>
                <a:gd name="T40" fmla="*/ 956 w 1122"/>
                <a:gd name="T41" fmla="*/ 507 h 761"/>
                <a:gd name="T42" fmla="*/ 976 w 1122"/>
                <a:gd name="T43" fmla="*/ 458 h 761"/>
                <a:gd name="T44" fmla="*/ 1005 w 1122"/>
                <a:gd name="T45" fmla="*/ 410 h 761"/>
                <a:gd name="T46" fmla="*/ 1015 w 1122"/>
                <a:gd name="T47" fmla="*/ 380 h 761"/>
                <a:gd name="T48" fmla="*/ 1044 w 1122"/>
                <a:gd name="T49" fmla="*/ 341 h 761"/>
                <a:gd name="T50" fmla="*/ 1025 w 1122"/>
                <a:gd name="T51" fmla="*/ 283 h 761"/>
                <a:gd name="T52" fmla="*/ 1064 w 1122"/>
                <a:gd name="T53" fmla="*/ 263 h 761"/>
                <a:gd name="T54" fmla="*/ 1112 w 1122"/>
                <a:gd name="T55" fmla="*/ 224 h 761"/>
                <a:gd name="T56" fmla="*/ 1083 w 1122"/>
                <a:gd name="T57" fmla="*/ 166 h 761"/>
                <a:gd name="T58" fmla="*/ 1034 w 1122"/>
                <a:gd name="T59" fmla="*/ 176 h 761"/>
                <a:gd name="T60" fmla="*/ 976 w 1122"/>
                <a:gd name="T61" fmla="*/ 215 h 761"/>
                <a:gd name="T62" fmla="*/ 927 w 1122"/>
                <a:gd name="T63" fmla="*/ 254 h 761"/>
                <a:gd name="T64" fmla="*/ 898 w 1122"/>
                <a:gd name="T65" fmla="*/ 263 h 761"/>
                <a:gd name="T66" fmla="*/ 849 w 1122"/>
                <a:gd name="T67" fmla="*/ 215 h 761"/>
                <a:gd name="T68" fmla="*/ 781 w 1122"/>
                <a:gd name="T69" fmla="*/ 224 h 761"/>
                <a:gd name="T70" fmla="*/ 800 w 1122"/>
                <a:gd name="T71" fmla="*/ 156 h 761"/>
                <a:gd name="T72" fmla="*/ 830 w 1122"/>
                <a:gd name="T73" fmla="*/ 68 h 761"/>
                <a:gd name="T74" fmla="*/ 849 w 1122"/>
                <a:gd name="T75" fmla="*/ 39 h 761"/>
                <a:gd name="T76" fmla="*/ 849 w 1122"/>
                <a:gd name="T77" fmla="*/ 29 h 761"/>
                <a:gd name="T78" fmla="*/ 800 w 1122"/>
                <a:gd name="T79" fmla="*/ 10 h 761"/>
                <a:gd name="T80" fmla="*/ 634 w 1122"/>
                <a:gd name="T81" fmla="*/ 68 h 761"/>
                <a:gd name="T82" fmla="*/ 595 w 1122"/>
                <a:gd name="T83" fmla="*/ 127 h 761"/>
                <a:gd name="T84" fmla="*/ 517 w 1122"/>
                <a:gd name="T85" fmla="*/ 127 h 761"/>
                <a:gd name="T86" fmla="*/ 488 w 1122"/>
                <a:gd name="T87" fmla="*/ 146 h 761"/>
                <a:gd name="T88" fmla="*/ 430 w 1122"/>
                <a:gd name="T89" fmla="*/ 176 h 761"/>
                <a:gd name="T90" fmla="*/ 391 w 1122"/>
                <a:gd name="T91" fmla="*/ 166 h 761"/>
                <a:gd name="T92" fmla="*/ 303 w 1122"/>
                <a:gd name="T93" fmla="*/ 176 h 761"/>
                <a:gd name="T94" fmla="*/ 225 w 1122"/>
                <a:gd name="T95" fmla="*/ 146 h 761"/>
                <a:gd name="T96" fmla="*/ 166 w 1122"/>
                <a:gd name="T97" fmla="*/ 166 h 761"/>
                <a:gd name="T98" fmla="*/ 98 w 1122"/>
                <a:gd name="T99" fmla="*/ 146 h 761"/>
                <a:gd name="T100" fmla="*/ 20 w 1122"/>
                <a:gd name="T101" fmla="*/ 146 h 761"/>
                <a:gd name="T102" fmla="*/ 49 w 1122"/>
                <a:gd name="T103" fmla="*/ 215 h 761"/>
                <a:gd name="T104" fmla="*/ 39 w 1122"/>
                <a:gd name="T105" fmla="*/ 254 h 761"/>
                <a:gd name="T106" fmla="*/ 117 w 1122"/>
                <a:gd name="T107" fmla="*/ 244 h 761"/>
                <a:gd name="T108" fmla="*/ 156 w 1122"/>
                <a:gd name="T109" fmla="*/ 273 h 761"/>
                <a:gd name="T110" fmla="*/ 186 w 1122"/>
                <a:gd name="T111" fmla="*/ 332 h 76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122"/>
                <a:gd name="T169" fmla="*/ 0 h 761"/>
                <a:gd name="T170" fmla="*/ 1122 w 1122"/>
                <a:gd name="T171" fmla="*/ 761 h 761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122" h="761">
                  <a:moveTo>
                    <a:pt x="205" y="361"/>
                  </a:moveTo>
                  <a:lnTo>
                    <a:pt x="205" y="371"/>
                  </a:lnTo>
                  <a:lnTo>
                    <a:pt x="225" y="380"/>
                  </a:lnTo>
                  <a:lnTo>
                    <a:pt x="225" y="390"/>
                  </a:lnTo>
                  <a:lnTo>
                    <a:pt x="205" y="390"/>
                  </a:lnTo>
                  <a:lnTo>
                    <a:pt x="205" y="410"/>
                  </a:lnTo>
                  <a:lnTo>
                    <a:pt x="205" y="419"/>
                  </a:lnTo>
                  <a:lnTo>
                    <a:pt x="205" y="439"/>
                  </a:lnTo>
                  <a:lnTo>
                    <a:pt x="234" y="449"/>
                  </a:lnTo>
                  <a:lnTo>
                    <a:pt x="264" y="497"/>
                  </a:lnTo>
                  <a:lnTo>
                    <a:pt x="303" y="488"/>
                  </a:lnTo>
                  <a:lnTo>
                    <a:pt x="332" y="478"/>
                  </a:lnTo>
                  <a:lnTo>
                    <a:pt x="352" y="458"/>
                  </a:lnTo>
                  <a:lnTo>
                    <a:pt x="361" y="458"/>
                  </a:lnTo>
                  <a:lnTo>
                    <a:pt x="381" y="458"/>
                  </a:lnTo>
                  <a:lnTo>
                    <a:pt x="400" y="458"/>
                  </a:lnTo>
                  <a:lnTo>
                    <a:pt x="430" y="458"/>
                  </a:lnTo>
                  <a:lnTo>
                    <a:pt x="439" y="478"/>
                  </a:lnTo>
                  <a:lnTo>
                    <a:pt x="459" y="478"/>
                  </a:lnTo>
                  <a:lnTo>
                    <a:pt x="478" y="478"/>
                  </a:lnTo>
                  <a:lnTo>
                    <a:pt x="478" y="458"/>
                  </a:lnTo>
                  <a:lnTo>
                    <a:pt x="498" y="458"/>
                  </a:lnTo>
                  <a:lnTo>
                    <a:pt x="517" y="468"/>
                  </a:lnTo>
                  <a:lnTo>
                    <a:pt x="537" y="468"/>
                  </a:lnTo>
                  <a:lnTo>
                    <a:pt x="547" y="478"/>
                  </a:lnTo>
                  <a:lnTo>
                    <a:pt x="566" y="478"/>
                  </a:lnTo>
                  <a:lnTo>
                    <a:pt x="566" y="488"/>
                  </a:lnTo>
                  <a:lnTo>
                    <a:pt x="576" y="488"/>
                  </a:lnTo>
                  <a:lnTo>
                    <a:pt x="586" y="497"/>
                  </a:lnTo>
                  <a:lnTo>
                    <a:pt x="595" y="517"/>
                  </a:lnTo>
                  <a:lnTo>
                    <a:pt x="605" y="527"/>
                  </a:lnTo>
                  <a:lnTo>
                    <a:pt x="615" y="537"/>
                  </a:lnTo>
                  <a:lnTo>
                    <a:pt x="625" y="556"/>
                  </a:lnTo>
                  <a:lnTo>
                    <a:pt x="644" y="556"/>
                  </a:lnTo>
                  <a:lnTo>
                    <a:pt x="654" y="566"/>
                  </a:lnTo>
                  <a:lnTo>
                    <a:pt x="654" y="576"/>
                  </a:lnTo>
                  <a:lnTo>
                    <a:pt x="664" y="585"/>
                  </a:lnTo>
                  <a:lnTo>
                    <a:pt x="683" y="595"/>
                  </a:lnTo>
                  <a:lnTo>
                    <a:pt x="683" y="615"/>
                  </a:lnTo>
                  <a:lnTo>
                    <a:pt x="693" y="615"/>
                  </a:lnTo>
                  <a:lnTo>
                    <a:pt x="703" y="634"/>
                  </a:lnTo>
                  <a:lnTo>
                    <a:pt x="732" y="663"/>
                  </a:lnTo>
                  <a:lnTo>
                    <a:pt x="742" y="673"/>
                  </a:lnTo>
                  <a:lnTo>
                    <a:pt x="751" y="693"/>
                  </a:lnTo>
                  <a:lnTo>
                    <a:pt x="771" y="702"/>
                  </a:lnTo>
                  <a:lnTo>
                    <a:pt x="781" y="722"/>
                  </a:lnTo>
                  <a:lnTo>
                    <a:pt x="790" y="741"/>
                  </a:lnTo>
                  <a:lnTo>
                    <a:pt x="800" y="741"/>
                  </a:lnTo>
                  <a:lnTo>
                    <a:pt x="810" y="761"/>
                  </a:lnTo>
                  <a:lnTo>
                    <a:pt x="830" y="761"/>
                  </a:lnTo>
                  <a:lnTo>
                    <a:pt x="859" y="751"/>
                  </a:lnTo>
                  <a:lnTo>
                    <a:pt x="869" y="741"/>
                  </a:lnTo>
                  <a:lnTo>
                    <a:pt x="888" y="732"/>
                  </a:lnTo>
                  <a:lnTo>
                    <a:pt x="898" y="732"/>
                  </a:lnTo>
                  <a:lnTo>
                    <a:pt x="917" y="741"/>
                  </a:lnTo>
                  <a:lnTo>
                    <a:pt x="937" y="741"/>
                  </a:lnTo>
                  <a:lnTo>
                    <a:pt x="947" y="732"/>
                  </a:lnTo>
                  <a:lnTo>
                    <a:pt x="956" y="732"/>
                  </a:lnTo>
                  <a:lnTo>
                    <a:pt x="976" y="732"/>
                  </a:lnTo>
                  <a:lnTo>
                    <a:pt x="986" y="741"/>
                  </a:lnTo>
                  <a:lnTo>
                    <a:pt x="1005" y="751"/>
                  </a:lnTo>
                  <a:lnTo>
                    <a:pt x="1034" y="761"/>
                  </a:lnTo>
                  <a:lnTo>
                    <a:pt x="1054" y="751"/>
                  </a:lnTo>
                  <a:lnTo>
                    <a:pt x="1064" y="741"/>
                  </a:lnTo>
                  <a:lnTo>
                    <a:pt x="1064" y="722"/>
                  </a:lnTo>
                  <a:lnTo>
                    <a:pt x="1064" y="712"/>
                  </a:lnTo>
                  <a:lnTo>
                    <a:pt x="1073" y="693"/>
                  </a:lnTo>
                  <a:lnTo>
                    <a:pt x="1083" y="683"/>
                  </a:lnTo>
                  <a:lnTo>
                    <a:pt x="1083" y="673"/>
                  </a:lnTo>
                  <a:lnTo>
                    <a:pt x="1073" y="654"/>
                  </a:lnTo>
                  <a:lnTo>
                    <a:pt x="1064" y="644"/>
                  </a:lnTo>
                  <a:lnTo>
                    <a:pt x="1073" y="624"/>
                  </a:lnTo>
                  <a:lnTo>
                    <a:pt x="1064" y="615"/>
                  </a:lnTo>
                  <a:lnTo>
                    <a:pt x="1054" y="605"/>
                  </a:lnTo>
                  <a:lnTo>
                    <a:pt x="1054" y="595"/>
                  </a:lnTo>
                  <a:lnTo>
                    <a:pt x="1044" y="585"/>
                  </a:lnTo>
                  <a:lnTo>
                    <a:pt x="1025" y="576"/>
                  </a:lnTo>
                  <a:lnTo>
                    <a:pt x="1005" y="585"/>
                  </a:lnTo>
                  <a:lnTo>
                    <a:pt x="986" y="566"/>
                  </a:lnTo>
                  <a:lnTo>
                    <a:pt x="986" y="556"/>
                  </a:lnTo>
                  <a:lnTo>
                    <a:pt x="956" y="556"/>
                  </a:lnTo>
                  <a:lnTo>
                    <a:pt x="956" y="537"/>
                  </a:lnTo>
                  <a:lnTo>
                    <a:pt x="956" y="517"/>
                  </a:lnTo>
                  <a:lnTo>
                    <a:pt x="956" y="507"/>
                  </a:lnTo>
                  <a:lnTo>
                    <a:pt x="966" y="488"/>
                  </a:lnTo>
                  <a:lnTo>
                    <a:pt x="966" y="468"/>
                  </a:lnTo>
                  <a:lnTo>
                    <a:pt x="976" y="468"/>
                  </a:lnTo>
                  <a:lnTo>
                    <a:pt x="976" y="458"/>
                  </a:lnTo>
                  <a:lnTo>
                    <a:pt x="966" y="449"/>
                  </a:lnTo>
                  <a:lnTo>
                    <a:pt x="956" y="429"/>
                  </a:lnTo>
                  <a:lnTo>
                    <a:pt x="986" y="429"/>
                  </a:lnTo>
                  <a:lnTo>
                    <a:pt x="1005" y="410"/>
                  </a:lnTo>
                  <a:lnTo>
                    <a:pt x="1005" y="400"/>
                  </a:lnTo>
                  <a:lnTo>
                    <a:pt x="1005" y="380"/>
                  </a:lnTo>
                  <a:lnTo>
                    <a:pt x="1015" y="380"/>
                  </a:lnTo>
                  <a:lnTo>
                    <a:pt x="1015" y="361"/>
                  </a:lnTo>
                  <a:lnTo>
                    <a:pt x="1015" y="341"/>
                  </a:lnTo>
                  <a:lnTo>
                    <a:pt x="1025" y="341"/>
                  </a:lnTo>
                  <a:lnTo>
                    <a:pt x="1044" y="341"/>
                  </a:lnTo>
                  <a:lnTo>
                    <a:pt x="1064" y="322"/>
                  </a:lnTo>
                  <a:lnTo>
                    <a:pt x="1054" y="312"/>
                  </a:lnTo>
                  <a:lnTo>
                    <a:pt x="1044" y="302"/>
                  </a:lnTo>
                  <a:lnTo>
                    <a:pt x="1025" y="283"/>
                  </a:lnTo>
                  <a:lnTo>
                    <a:pt x="1025" y="273"/>
                  </a:lnTo>
                  <a:lnTo>
                    <a:pt x="1034" y="273"/>
                  </a:lnTo>
                  <a:lnTo>
                    <a:pt x="1044" y="283"/>
                  </a:lnTo>
                  <a:lnTo>
                    <a:pt x="1064" y="263"/>
                  </a:lnTo>
                  <a:lnTo>
                    <a:pt x="1093" y="263"/>
                  </a:lnTo>
                  <a:lnTo>
                    <a:pt x="1122" y="263"/>
                  </a:lnTo>
                  <a:lnTo>
                    <a:pt x="1122" y="244"/>
                  </a:lnTo>
                  <a:lnTo>
                    <a:pt x="1112" y="224"/>
                  </a:lnTo>
                  <a:lnTo>
                    <a:pt x="1103" y="224"/>
                  </a:lnTo>
                  <a:lnTo>
                    <a:pt x="1093" y="205"/>
                  </a:lnTo>
                  <a:lnTo>
                    <a:pt x="1093" y="185"/>
                  </a:lnTo>
                  <a:lnTo>
                    <a:pt x="1083" y="166"/>
                  </a:lnTo>
                  <a:lnTo>
                    <a:pt x="1064" y="146"/>
                  </a:lnTo>
                  <a:lnTo>
                    <a:pt x="1044" y="146"/>
                  </a:lnTo>
                  <a:lnTo>
                    <a:pt x="1034" y="176"/>
                  </a:lnTo>
                  <a:lnTo>
                    <a:pt x="1025" y="185"/>
                  </a:lnTo>
                  <a:lnTo>
                    <a:pt x="1005" y="185"/>
                  </a:lnTo>
                  <a:lnTo>
                    <a:pt x="976" y="195"/>
                  </a:lnTo>
                  <a:lnTo>
                    <a:pt x="976" y="215"/>
                  </a:lnTo>
                  <a:lnTo>
                    <a:pt x="966" y="224"/>
                  </a:lnTo>
                  <a:lnTo>
                    <a:pt x="966" y="234"/>
                  </a:lnTo>
                  <a:lnTo>
                    <a:pt x="947" y="244"/>
                  </a:lnTo>
                  <a:lnTo>
                    <a:pt x="927" y="254"/>
                  </a:lnTo>
                  <a:lnTo>
                    <a:pt x="927" y="273"/>
                  </a:lnTo>
                  <a:lnTo>
                    <a:pt x="908" y="273"/>
                  </a:lnTo>
                  <a:lnTo>
                    <a:pt x="908" y="263"/>
                  </a:lnTo>
                  <a:lnTo>
                    <a:pt x="898" y="263"/>
                  </a:lnTo>
                  <a:lnTo>
                    <a:pt x="878" y="283"/>
                  </a:lnTo>
                  <a:lnTo>
                    <a:pt x="859" y="263"/>
                  </a:lnTo>
                  <a:lnTo>
                    <a:pt x="849" y="234"/>
                  </a:lnTo>
                  <a:lnTo>
                    <a:pt x="849" y="215"/>
                  </a:lnTo>
                  <a:lnTo>
                    <a:pt x="820" y="224"/>
                  </a:lnTo>
                  <a:lnTo>
                    <a:pt x="810" y="234"/>
                  </a:lnTo>
                  <a:lnTo>
                    <a:pt x="790" y="234"/>
                  </a:lnTo>
                  <a:lnTo>
                    <a:pt x="781" y="224"/>
                  </a:lnTo>
                  <a:lnTo>
                    <a:pt x="790" y="195"/>
                  </a:lnTo>
                  <a:lnTo>
                    <a:pt x="800" y="176"/>
                  </a:lnTo>
                  <a:lnTo>
                    <a:pt x="800" y="166"/>
                  </a:lnTo>
                  <a:lnTo>
                    <a:pt x="800" y="156"/>
                  </a:lnTo>
                  <a:lnTo>
                    <a:pt x="800" y="127"/>
                  </a:lnTo>
                  <a:lnTo>
                    <a:pt x="810" y="117"/>
                  </a:lnTo>
                  <a:lnTo>
                    <a:pt x="820" y="88"/>
                  </a:lnTo>
                  <a:lnTo>
                    <a:pt x="830" y="68"/>
                  </a:lnTo>
                  <a:lnTo>
                    <a:pt x="849" y="58"/>
                  </a:lnTo>
                  <a:lnTo>
                    <a:pt x="839" y="49"/>
                  </a:lnTo>
                  <a:lnTo>
                    <a:pt x="839" y="39"/>
                  </a:lnTo>
                  <a:lnTo>
                    <a:pt x="849" y="39"/>
                  </a:lnTo>
                  <a:lnTo>
                    <a:pt x="839" y="29"/>
                  </a:lnTo>
                  <a:lnTo>
                    <a:pt x="849" y="29"/>
                  </a:lnTo>
                  <a:lnTo>
                    <a:pt x="859" y="19"/>
                  </a:lnTo>
                  <a:lnTo>
                    <a:pt x="830" y="10"/>
                  </a:lnTo>
                  <a:lnTo>
                    <a:pt x="810" y="0"/>
                  </a:lnTo>
                  <a:lnTo>
                    <a:pt x="800" y="10"/>
                  </a:lnTo>
                  <a:lnTo>
                    <a:pt x="771" y="19"/>
                  </a:lnTo>
                  <a:lnTo>
                    <a:pt x="712" y="39"/>
                  </a:lnTo>
                  <a:lnTo>
                    <a:pt x="664" y="58"/>
                  </a:lnTo>
                  <a:lnTo>
                    <a:pt x="634" y="68"/>
                  </a:lnTo>
                  <a:lnTo>
                    <a:pt x="595" y="88"/>
                  </a:lnTo>
                  <a:lnTo>
                    <a:pt x="605" y="107"/>
                  </a:lnTo>
                  <a:lnTo>
                    <a:pt x="605" y="117"/>
                  </a:lnTo>
                  <a:lnTo>
                    <a:pt x="595" y="127"/>
                  </a:lnTo>
                  <a:lnTo>
                    <a:pt x="556" y="127"/>
                  </a:lnTo>
                  <a:lnTo>
                    <a:pt x="537" y="136"/>
                  </a:lnTo>
                  <a:lnTo>
                    <a:pt x="527" y="127"/>
                  </a:lnTo>
                  <a:lnTo>
                    <a:pt x="517" y="127"/>
                  </a:lnTo>
                  <a:lnTo>
                    <a:pt x="517" y="146"/>
                  </a:lnTo>
                  <a:lnTo>
                    <a:pt x="498" y="146"/>
                  </a:lnTo>
                  <a:lnTo>
                    <a:pt x="488" y="146"/>
                  </a:lnTo>
                  <a:lnTo>
                    <a:pt x="478" y="156"/>
                  </a:lnTo>
                  <a:lnTo>
                    <a:pt x="459" y="156"/>
                  </a:lnTo>
                  <a:lnTo>
                    <a:pt x="449" y="166"/>
                  </a:lnTo>
                  <a:lnTo>
                    <a:pt x="430" y="176"/>
                  </a:lnTo>
                  <a:lnTo>
                    <a:pt x="420" y="166"/>
                  </a:lnTo>
                  <a:lnTo>
                    <a:pt x="410" y="156"/>
                  </a:lnTo>
                  <a:lnTo>
                    <a:pt x="400" y="166"/>
                  </a:lnTo>
                  <a:lnTo>
                    <a:pt x="391" y="166"/>
                  </a:lnTo>
                  <a:lnTo>
                    <a:pt x="361" y="166"/>
                  </a:lnTo>
                  <a:lnTo>
                    <a:pt x="332" y="176"/>
                  </a:lnTo>
                  <a:lnTo>
                    <a:pt x="313" y="185"/>
                  </a:lnTo>
                  <a:lnTo>
                    <a:pt x="303" y="176"/>
                  </a:lnTo>
                  <a:lnTo>
                    <a:pt x="283" y="156"/>
                  </a:lnTo>
                  <a:lnTo>
                    <a:pt x="264" y="146"/>
                  </a:lnTo>
                  <a:lnTo>
                    <a:pt x="244" y="146"/>
                  </a:lnTo>
                  <a:lnTo>
                    <a:pt x="225" y="146"/>
                  </a:lnTo>
                  <a:lnTo>
                    <a:pt x="205" y="146"/>
                  </a:lnTo>
                  <a:lnTo>
                    <a:pt x="186" y="146"/>
                  </a:lnTo>
                  <a:lnTo>
                    <a:pt x="186" y="166"/>
                  </a:lnTo>
                  <a:lnTo>
                    <a:pt x="166" y="166"/>
                  </a:lnTo>
                  <a:lnTo>
                    <a:pt x="147" y="146"/>
                  </a:lnTo>
                  <a:lnTo>
                    <a:pt x="137" y="136"/>
                  </a:lnTo>
                  <a:lnTo>
                    <a:pt x="117" y="146"/>
                  </a:lnTo>
                  <a:lnTo>
                    <a:pt x="98" y="146"/>
                  </a:lnTo>
                  <a:lnTo>
                    <a:pt x="88" y="127"/>
                  </a:lnTo>
                  <a:lnTo>
                    <a:pt x="69" y="136"/>
                  </a:lnTo>
                  <a:lnTo>
                    <a:pt x="49" y="136"/>
                  </a:lnTo>
                  <a:lnTo>
                    <a:pt x="20" y="146"/>
                  </a:lnTo>
                  <a:lnTo>
                    <a:pt x="10" y="156"/>
                  </a:lnTo>
                  <a:lnTo>
                    <a:pt x="0" y="176"/>
                  </a:lnTo>
                  <a:lnTo>
                    <a:pt x="20" y="205"/>
                  </a:lnTo>
                  <a:lnTo>
                    <a:pt x="49" y="215"/>
                  </a:lnTo>
                  <a:lnTo>
                    <a:pt x="59" y="224"/>
                  </a:lnTo>
                  <a:lnTo>
                    <a:pt x="39" y="234"/>
                  </a:lnTo>
                  <a:lnTo>
                    <a:pt x="30" y="244"/>
                  </a:lnTo>
                  <a:lnTo>
                    <a:pt x="39" y="254"/>
                  </a:lnTo>
                  <a:lnTo>
                    <a:pt x="49" y="263"/>
                  </a:lnTo>
                  <a:lnTo>
                    <a:pt x="78" y="244"/>
                  </a:lnTo>
                  <a:lnTo>
                    <a:pt x="98" y="234"/>
                  </a:lnTo>
                  <a:lnTo>
                    <a:pt x="117" y="244"/>
                  </a:lnTo>
                  <a:lnTo>
                    <a:pt x="127" y="273"/>
                  </a:lnTo>
                  <a:lnTo>
                    <a:pt x="127" y="283"/>
                  </a:lnTo>
                  <a:lnTo>
                    <a:pt x="147" y="293"/>
                  </a:lnTo>
                  <a:lnTo>
                    <a:pt x="156" y="273"/>
                  </a:lnTo>
                  <a:lnTo>
                    <a:pt x="176" y="283"/>
                  </a:lnTo>
                  <a:lnTo>
                    <a:pt x="176" y="302"/>
                  </a:lnTo>
                  <a:lnTo>
                    <a:pt x="186" y="312"/>
                  </a:lnTo>
                  <a:lnTo>
                    <a:pt x="186" y="332"/>
                  </a:lnTo>
                  <a:lnTo>
                    <a:pt x="186" y="351"/>
                  </a:lnTo>
                  <a:lnTo>
                    <a:pt x="186" y="361"/>
                  </a:lnTo>
                  <a:lnTo>
                    <a:pt x="205" y="361"/>
                  </a:lnTo>
                  <a:close/>
                </a:path>
              </a:pathLst>
            </a:custGeom>
            <a:solidFill>
              <a:srgbClr val="96969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8753" name="Freeform 113"/>
            <p:cNvSpPr>
              <a:spLocks noChangeAspect="1"/>
            </p:cNvSpPr>
            <p:nvPr/>
          </p:nvSpPr>
          <p:spPr bwMode="auto">
            <a:xfrm>
              <a:off x="6613" y="3093"/>
              <a:ext cx="1122" cy="761"/>
            </a:xfrm>
            <a:custGeom>
              <a:avLst/>
              <a:gdLst>
                <a:gd name="T0" fmla="*/ 225 w 1122"/>
                <a:gd name="T1" fmla="*/ 390 h 761"/>
                <a:gd name="T2" fmla="*/ 205 w 1122"/>
                <a:gd name="T3" fmla="*/ 439 h 761"/>
                <a:gd name="T4" fmla="*/ 332 w 1122"/>
                <a:gd name="T5" fmla="*/ 478 h 761"/>
                <a:gd name="T6" fmla="*/ 400 w 1122"/>
                <a:gd name="T7" fmla="*/ 458 h 761"/>
                <a:gd name="T8" fmla="*/ 478 w 1122"/>
                <a:gd name="T9" fmla="*/ 478 h 761"/>
                <a:gd name="T10" fmla="*/ 537 w 1122"/>
                <a:gd name="T11" fmla="*/ 468 h 761"/>
                <a:gd name="T12" fmla="*/ 576 w 1122"/>
                <a:gd name="T13" fmla="*/ 488 h 761"/>
                <a:gd name="T14" fmla="*/ 615 w 1122"/>
                <a:gd name="T15" fmla="*/ 537 h 761"/>
                <a:gd name="T16" fmla="*/ 654 w 1122"/>
                <a:gd name="T17" fmla="*/ 576 h 761"/>
                <a:gd name="T18" fmla="*/ 693 w 1122"/>
                <a:gd name="T19" fmla="*/ 615 h 761"/>
                <a:gd name="T20" fmla="*/ 751 w 1122"/>
                <a:gd name="T21" fmla="*/ 693 h 761"/>
                <a:gd name="T22" fmla="*/ 800 w 1122"/>
                <a:gd name="T23" fmla="*/ 741 h 761"/>
                <a:gd name="T24" fmla="*/ 869 w 1122"/>
                <a:gd name="T25" fmla="*/ 741 h 761"/>
                <a:gd name="T26" fmla="*/ 937 w 1122"/>
                <a:gd name="T27" fmla="*/ 741 h 761"/>
                <a:gd name="T28" fmla="*/ 986 w 1122"/>
                <a:gd name="T29" fmla="*/ 741 h 761"/>
                <a:gd name="T30" fmla="*/ 1064 w 1122"/>
                <a:gd name="T31" fmla="*/ 741 h 761"/>
                <a:gd name="T32" fmla="*/ 1083 w 1122"/>
                <a:gd name="T33" fmla="*/ 683 h 761"/>
                <a:gd name="T34" fmla="*/ 1073 w 1122"/>
                <a:gd name="T35" fmla="*/ 624 h 761"/>
                <a:gd name="T36" fmla="*/ 1044 w 1122"/>
                <a:gd name="T37" fmla="*/ 585 h 761"/>
                <a:gd name="T38" fmla="*/ 986 w 1122"/>
                <a:gd name="T39" fmla="*/ 556 h 761"/>
                <a:gd name="T40" fmla="*/ 956 w 1122"/>
                <a:gd name="T41" fmla="*/ 507 h 761"/>
                <a:gd name="T42" fmla="*/ 976 w 1122"/>
                <a:gd name="T43" fmla="*/ 458 h 761"/>
                <a:gd name="T44" fmla="*/ 1005 w 1122"/>
                <a:gd name="T45" fmla="*/ 410 h 761"/>
                <a:gd name="T46" fmla="*/ 1015 w 1122"/>
                <a:gd name="T47" fmla="*/ 380 h 761"/>
                <a:gd name="T48" fmla="*/ 1044 w 1122"/>
                <a:gd name="T49" fmla="*/ 341 h 761"/>
                <a:gd name="T50" fmla="*/ 1025 w 1122"/>
                <a:gd name="T51" fmla="*/ 283 h 761"/>
                <a:gd name="T52" fmla="*/ 1064 w 1122"/>
                <a:gd name="T53" fmla="*/ 263 h 761"/>
                <a:gd name="T54" fmla="*/ 1112 w 1122"/>
                <a:gd name="T55" fmla="*/ 224 h 761"/>
                <a:gd name="T56" fmla="*/ 1083 w 1122"/>
                <a:gd name="T57" fmla="*/ 166 h 761"/>
                <a:gd name="T58" fmla="*/ 1034 w 1122"/>
                <a:gd name="T59" fmla="*/ 176 h 761"/>
                <a:gd name="T60" fmla="*/ 976 w 1122"/>
                <a:gd name="T61" fmla="*/ 215 h 761"/>
                <a:gd name="T62" fmla="*/ 927 w 1122"/>
                <a:gd name="T63" fmla="*/ 254 h 761"/>
                <a:gd name="T64" fmla="*/ 898 w 1122"/>
                <a:gd name="T65" fmla="*/ 263 h 761"/>
                <a:gd name="T66" fmla="*/ 849 w 1122"/>
                <a:gd name="T67" fmla="*/ 215 h 761"/>
                <a:gd name="T68" fmla="*/ 781 w 1122"/>
                <a:gd name="T69" fmla="*/ 224 h 761"/>
                <a:gd name="T70" fmla="*/ 800 w 1122"/>
                <a:gd name="T71" fmla="*/ 156 h 761"/>
                <a:gd name="T72" fmla="*/ 830 w 1122"/>
                <a:gd name="T73" fmla="*/ 68 h 761"/>
                <a:gd name="T74" fmla="*/ 849 w 1122"/>
                <a:gd name="T75" fmla="*/ 39 h 761"/>
                <a:gd name="T76" fmla="*/ 849 w 1122"/>
                <a:gd name="T77" fmla="*/ 29 h 761"/>
                <a:gd name="T78" fmla="*/ 800 w 1122"/>
                <a:gd name="T79" fmla="*/ 10 h 761"/>
                <a:gd name="T80" fmla="*/ 634 w 1122"/>
                <a:gd name="T81" fmla="*/ 68 h 761"/>
                <a:gd name="T82" fmla="*/ 595 w 1122"/>
                <a:gd name="T83" fmla="*/ 127 h 761"/>
                <a:gd name="T84" fmla="*/ 517 w 1122"/>
                <a:gd name="T85" fmla="*/ 127 h 761"/>
                <a:gd name="T86" fmla="*/ 488 w 1122"/>
                <a:gd name="T87" fmla="*/ 146 h 761"/>
                <a:gd name="T88" fmla="*/ 430 w 1122"/>
                <a:gd name="T89" fmla="*/ 176 h 761"/>
                <a:gd name="T90" fmla="*/ 391 w 1122"/>
                <a:gd name="T91" fmla="*/ 166 h 761"/>
                <a:gd name="T92" fmla="*/ 303 w 1122"/>
                <a:gd name="T93" fmla="*/ 176 h 761"/>
                <a:gd name="T94" fmla="*/ 225 w 1122"/>
                <a:gd name="T95" fmla="*/ 146 h 761"/>
                <a:gd name="T96" fmla="*/ 166 w 1122"/>
                <a:gd name="T97" fmla="*/ 166 h 761"/>
                <a:gd name="T98" fmla="*/ 98 w 1122"/>
                <a:gd name="T99" fmla="*/ 146 h 761"/>
                <a:gd name="T100" fmla="*/ 20 w 1122"/>
                <a:gd name="T101" fmla="*/ 146 h 761"/>
                <a:gd name="T102" fmla="*/ 49 w 1122"/>
                <a:gd name="T103" fmla="*/ 215 h 761"/>
                <a:gd name="T104" fmla="*/ 39 w 1122"/>
                <a:gd name="T105" fmla="*/ 254 h 761"/>
                <a:gd name="T106" fmla="*/ 117 w 1122"/>
                <a:gd name="T107" fmla="*/ 244 h 761"/>
                <a:gd name="T108" fmla="*/ 156 w 1122"/>
                <a:gd name="T109" fmla="*/ 273 h 761"/>
                <a:gd name="T110" fmla="*/ 186 w 1122"/>
                <a:gd name="T111" fmla="*/ 332 h 76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122"/>
                <a:gd name="T169" fmla="*/ 0 h 761"/>
                <a:gd name="T170" fmla="*/ 1122 w 1122"/>
                <a:gd name="T171" fmla="*/ 761 h 761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122" h="761">
                  <a:moveTo>
                    <a:pt x="205" y="361"/>
                  </a:moveTo>
                  <a:lnTo>
                    <a:pt x="205" y="371"/>
                  </a:lnTo>
                  <a:lnTo>
                    <a:pt x="225" y="380"/>
                  </a:lnTo>
                  <a:lnTo>
                    <a:pt x="225" y="390"/>
                  </a:lnTo>
                  <a:lnTo>
                    <a:pt x="205" y="390"/>
                  </a:lnTo>
                  <a:lnTo>
                    <a:pt x="205" y="410"/>
                  </a:lnTo>
                  <a:lnTo>
                    <a:pt x="205" y="419"/>
                  </a:lnTo>
                  <a:lnTo>
                    <a:pt x="205" y="439"/>
                  </a:lnTo>
                  <a:lnTo>
                    <a:pt x="234" y="449"/>
                  </a:lnTo>
                  <a:lnTo>
                    <a:pt x="264" y="497"/>
                  </a:lnTo>
                  <a:lnTo>
                    <a:pt x="303" y="488"/>
                  </a:lnTo>
                  <a:lnTo>
                    <a:pt x="332" y="478"/>
                  </a:lnTo>
                  <a:lnTo>
                    <a:pt x="352" y="458"/>
                  </a:lnTo>
                  <a:lnTo>
                    <a:pt x="361" y="458"/>
                  </a:lnTo>
                  <a:lnTo>
                    <a:pt x="381" y="458"/>
                  </a:lnTo>
                  <a:lnTo>
                    <a:pt x="400" y="458"/>
                  </a:lnTo>
                  <a:lnTo>
                    <a:pt x="430" y="458"/>
                  </a:lnTo>
                  <a:lnTo>
                    <a:pt x="439" y="478"/>
                  </a:lnTo>
                  <a:lnTo>
                    <a:pt x="459" y="478"/>
                  </a:lnTo>
                  <a:lnTo>
                    <a:pt x="478" y="478"/>
                  </a:lnTo>
                  <a:lnTo>
                    <a:pt x="478" y="458"/>
                  </a:lnTo>
                  <a:lnTo>
                    <a:pt x="498" y="458"/>
                  </a:lnTo>
                  <a:lnTo>
                    <a:pt x="517" y="468"/>
                  </a:lnTo>
                  <a:lnTo>
                    <a:pt x="537" y="468"/>
                  </a:lnTo>
                  <a:lnTo>
                    <a:pt x="547" y="478"/>
                  </a:lnTo>
                  <a:lnTo>
                    <a:pt x="566" y="478"/>
                  </a:lnTo>
                  <a:lnTo>
                    <a:pt x="566" y="488"/>
                  </a:lnTo>
                  <a:lnTo>
                    <a:pt x="576" y="488"/>
                  </a:lnTo>
                  <a:lnTo>
                    <a:pt x="586" y="497"/>
                  </a:lnTo>
                  <a:lnTo>
                    <a:pt x="595" y="517"/>
                  </a:lnTo>
                  <a:lnTo>
                    <a:pt x="605" y="527"/>
                  </a:lnTo>
                  <a:lnTo>
                    <a:pt x="615" y="537"/>
                  </a:lnTo>
                  <a:lnTo>
                    <a:pt x="625" y="556"/>
                  </a:lnTo>
                  <a:lnTo>
                    <a:pt x="644" y="556"/>
                  </a:lnTo>
                  <a:lnTo>
                    <a:pt x="654" y="566"/>
                  </a:lnTo>
                  <a:lnTo>
                    <a:pt x="654" y="576"/>
                  </a:lnTo>
                  <a:lnTo>
                    <a:pt x="664" y="585"/>
                  </a:lnTo>
                  <a:lnTo>
                    <a:pt x="683" y="595"/>
                  </a:lnTo>
                  <a:lnTo>
                    <a:pt x="683" y="615"/>
                  </a:lnTo>
                  <a:lnTo>
                    <a:pt x="693" y="615"/>
                  </a:lnTo>
                  <a:lnTo>
                    <a:pt x="703" y="634"/>
                  </a:lnTo>
                  <a:lnTo>
                    <a:pt x="732" y="663"/>
                  </a:lnTo>
                  <a:lnTo>
                    <a:pt x="742" y="673"/>
                  </a:lnTo>
                  <a:lnTo>
                    <a:pt x="751" y="693"/>
                  </a:lnTo>
                  <a:lnTo>
                    <a:pt x="771" y="702"/>
                  </a:lnTo>
                  <a:lnTo>
                    <a:pt x="781" y="722"/>
                  </a:lnTo>
                  <a:lnTo>
                    <a:pt x="790" y="741"/>
                  </a:lnTo>
                  <a:lnTo>
                    <a:pt x="800" y="741"/>
                  </a:lnTo>
                  <a:lnTo>
                    <a:pt x="810" y="761"/>
                  </a:lnTo>
                  <a:lnTo>
                    <a:pt x="830" y="761"/>
                  </a:lnTo>
                  <a:lnTo>
                    <a:pt x="859" y="751"/>
                  </a:lnTo>
                  <a:lnTo>
                    <a:pt x="869" y="741"/>
                  </a:lnTo>
                  <a:lnTo>
                    <a:pt x="888" y="732"/>
                  </a:lnTo>
                  <a:lnTo>
                    <a:pt x="898" y="732"/>
                  </a:lnTo>
                  <a:lnTo>
                    <a:pt x="917" y="741"/>
                  </a:lnTo>
                  <a:lnTo>
                    <a:pt x="937" y="741"/>
                  </a:lnTo>
                  <a:lnTo>
                    <a:pt x="947" y="732"/>
                  </a:lnTo>
                  <a:lnTo>
                    <a:pt x="956" y="732"/>
                  </a:lnTo>
                  <a:lnTo>
                    <a:pt x="976" y="732"/>
                  </a:lnTo>
                  <a:lnTo>
                    <a:pt x="986" y="741"/>
                  </a:lnTo>
                  <a:lnTo>
                    <a:pt x="1005" y="751"/>
                  </a:lnTo>
                  <a:lnTo>
                    <a:pt x="1034" y="761"/>
                  </a:lnTo>
                  <a:lnTo>
                    <a:pt x="1054" y="751"/>
                  </a:lnTo>
                  <a:lnTo>
                    <a:pt x="1064" y="741"/>
                  </a:lnTo>
                  <a:lnTo>
                    <a:pt x="1064" y="722"/>
                  </a:lnTo>
                  <a:lnTo>
                    <a:pt x="1064" y="712"/>
                  </a:lnTo>
                  <a:lnTo>
                    <a:pt x="1073" y="693"/>
                  </a:lnTo>
                  <a:lnTo>
                    <a:pt x="1083" y="683"/>
                  </a:lnTo>
                  <a:lnTo>
                    <a:pt x="1083" y="673"/>
                  </a:lnTo>
                  <a:lnTo>
                    <a:pt x="1073" y="654"/>
                  </a:lnTo>
                  <a:lnTo>
                    <a:pt x="1064" y="644"/>
                  </a:lnTo>
                  <a:lnTo>
                    <a:pt x="1073" y="624"/>
                  </a:lnTo>
                  <a:lnTo>
                    <a:pt x="1064" y="615"/>
                  </a:lnTo>
                  <a:lnTo>
                    <a:pt x="1054" y="605"/>
                  </a:lnTo>
                  <a:lnTo>
                    <a:pt x="1054" y="595"/>
                  </a:lnTo>
                  <a:lnTo>
                    <a:pt x="1044" y="585"/>
                  </a:lnTo>
                  <a:lnTo>
                    <a:pt x="1025" y="576"/>
                  </a:lnTo>
                  <a:lnTo>
                    <a:pt x="1005" y="585"/>
                  </a:lnTo>
                  <a:lnTo>
                    <a:pt x="986" y="566"/>
                  </a:lnTo>
                  <a:lnTo>
                    <a:pt x="986" y="556"/>
                  </a:lnTo>
                  <a:lnTo>
                    <a:pt x="956" y="556"/>
                  </a:lnTo>
                  <a:lnTo>
                    <a:pt x="956" y="537"/>
                  </a:lnTo>
                  <a:lnTo>
                    <a:pt x="956" y="517"/>
                  </a:lnTo>
                  <a:lnTo>
                    <a:pt x="956" y="507"/>
                  </a:lnTo>
                  <a:lnTo>
                    <a:pt x="966" y="488"/>
                  </a:lnTo>
                  <a:lnTo>
                    <a:pt x="966" y="468"/>
                  </a:lnTo>
                  <a:lnTo>
                    <a:pt x="976" y="468"/>
                  </a:lnTo>
                  <a:lnTo>
                    <a:pt x="976" y="458"/>
                  </a:lnTo>
                  <a:lnTo>
                    <a:pt x="966" y="449"/>
                  </a:lnTo>
                  <a:lnTo>
                    <a:pt x="956" y="429"/>
                  </a:lnTo>
                  <a:lnTo>
                    <a:pt x="986" y="429"/>
                  </a:lnTo>
                  <a:lnTo>
                    <a:pt x="1005" y="410"/>
                  </a:lnTo>
                  <a:lnTo>
                    <a:pt x="1005" y="400"/>
                  </a:lnTo>
                  <a:lnTo>
                    <a:pt x="1005" y="380"/>
                  </a:lnTo>
                  <a:lnTo>
                    <a:pt x="1015" y="380"/>
                  </a:lnTo>
                  <a:lnTo>
                    <a:pt x="1015" y="361"/>
                  </a:lnTo>
                  <a:lnTo>
                    <a:pt x="1015" y="341"/>
                  </a:lnTo>
                  <a:lnTo>
                    <a:pt x="1025" y="341"/>
                  </a:lnTo>
                  <a:lnTo>
                    <a:pt x="1044" y="341"/>
                  </a:lnTo>
                  <a:lnTo>
                    <a:pt x="1064" y="322"/>
                  </a:lnTo>
                  <a:lnTo>
                    <a:pt x="1054" y="312"/>
                  </a:lnTo>
                  <a:lnTo>
                    <a:pt x="1044" y="302"/>
                  </a:lnTo>
                  <a:lnTo>
                    <a:pt x="1025" y="283"/>
                  </a:lnTo>
                  <a:lnTo>
                    <a:pt x="1025" y="273"/>
                  </a:lnTo>
                  <a:lnTo>
                    <a:pt x="1034" y="273"/>
                  </a:lnTo>
                  <a:lnTo>
                    <a:pt x="1044" y="283"/>
                  </a:lnTo>
                  <a:lnTo>
                    <a:pt x="1064" y="263"/>
                  </a:lnTo>
                  <a:lnTo>
                    <a:pt x="1093" y="263"/>
                  </a:lnTo>
                  <a:lnTo>
                    <a:pt x="1122" y="263"/>
                  </a:lnTo>
                  <a:lnTo>
                    <a:pt x="1122" y="244"/>
                  </a:lnTo>
                  <a:lnTo>
                    <a:pt x="1112" y="224"/>
                  </a:lnTo>
                  <a:lnTo>
                    <a:pt x="1103" y="224"/>
                  </a:lnTo>
                  <a:lnTo>
                    <a:pt x="1093" y="205"/>
                  </a:lnTo>
                  <a:lnTo>
                    <a:pt x="1093" y="185"/>
                  </a:lnTo>
                  <a:lnTo>
                    <a:pt x="1083" y="166"/>
                  </a:lnTo>
                  <a:lnTo>
                    <a:pt x="1064" y="146"/>
                  </a:lnTo>
                  <a:lnTo>
                    <a:pt x="1044" y="146"/>
                  </a:lnTo>
                  <a:lnTo>
                    <a:pt x="1034" y="176"/>
                  </a:lnTo>
                  <a:lnTo>
                    <a:pt x="1025" y="185"/>
                  </a:lnTo>
                  <a:lnTo>
                    <a:pt x="1005" y="185"/>
                  </a:lnTo>
                  <a:lnTo>
                    <a:pt x="976" y="195"/>
                  </a:lnTo>
                  <a:lnTo>
                    <a:pt x="976" y="215"/>
                  </a:lnTo>
                  <a:lnTo>
                    <a:pt x="966" y="224"/>
                  </a:lnTo>
                  <a:lnTo>
                    <a:pt x="966" y="234"/>
                  </a:lnTo>
                  <a:lnTo>
                    <a:pt x="947" y="244"/>
                  </a:lnTo>
                  <a:lnTo>
                    <a:pt x="927" y="254"/>
                  </a:lnTo>
                  <a:lnTo>
                    <a:pt x="927" y="273"/>
                  </a:lnTo>
                  <a:lnTo>
                    <a:pt x="908" y="273"/>
                  </a:lnTo>
                  <a:lnTo>
                    <a:pt x="908" y="263"/>
                  </a:lnTo>
                  <a:lnTo>
                    <a:pt x="898" y="263"/>
                  </a:lnTo>
                  <a:lnTo>
                    <a:pt x="878" y="283"/>
                  </a:lnTo>
                  <a:lnTo>
                    <a:pt x="859" y="263"/>
                  </a:lnTo>
                  <a:lnTo>
                    <a:pt x="849" y="234"/>
                  </a:lnTo>
                  <a:lnTo>
                    <a:pt x="849" y="215"/>
                  </a:lnTo>
                  <a:lnTo>
                    <a:pt x="820" y="224"/>
                  </a:lnTo>
                  <a:lnTo>
                    <a:pt x="810" y="234"/>
                  </a:lnTo>
                  <a:lnTo>
                    <a:pt x="790" y="234"/>
                  </a:lnTo>
                  <a:lnTo>
                    <a:pt x="781" y="224"/>
                  </a:lnTo>
                  <a:lnTo>
                    <a:pt x="790" y="195"/>
                  </a:lnTo>
                  <a:lnTo>
                    <a:pt x="800" y="176"/>
                  </a:lnTo>
                  <a:lnTo>
                    <a:pt x="800" y="166"/>
                  </a:lnTo>
                  <a:lnTo>
                    <a:pt x="800" y="156"/>
                  </a:lnTo>
                  <a:lnTo>
                    <a:pt x="800" y="127"/>
                  </a:lnTo>
                  <a:lnTo>
                    <a:pt x="810" y="117"/>
                  </a:lnTo>
                  <a:lnTo>
                    <a:pt x="820" y="88"/>
                  </a:lnTo>
                  <a:lnTo>
                    <a:pt x="830" y="68"/>
                  </a:lnTo>
                  <a:lnTo>
                    <a:pt x="849" y="58"/>
                  </a:lnTo>
                  <a:lnTo>
                    <a:pt x="839" y="49"/>
                  </a:lnTo>
                  <a:lnTo>
                    <a:pt x="839" y="39"/>
                  </a:lnTo>
                  <a:lnTo>
                    <a:pt x="849" y="39"/>
                  </a:lnTo>
                  <a:lnTo>
                    <a:pt x="839" y="29"/>
                  </a:lnTo>
                  <a:lnTo>
                    <a:pt x="849" y="29"/>
                  </a:lnTo>
                  <a:lnTo>
                    <a:pt x="859" y="19"/>
                  </a:lnTo>
                  <a:lnTo>
                    <a:pt x="830" y="10"/>
                  </a:lnTo>
                  <a:lnTo>
                    <a:pt x="810" y="0"/>
                  </a:lnTo>
                  <a:lnTo>
                    <a:pt x="800" y="10"/>
                  </a:lnTo>
                  <a:lnTo>
                    <a:pt x="771" y="19"/>
                  </a:lnTo>
                  <a:lnTo>
                    <a:pt x="712" y="39"/>
                  </a:lnTo>
                  <a:lnTo>
                    <a:pt x="664" y="58"/>
                  </a:lnTo>
                  <a:lnTo>
                    <a:pt x="634" y="68"/>
                  </a:lnTo>
                  <a:lnTo>
                    <a:pt x="595" y="88"/>
                  </a:lnTo>
                  <a:lnTo>
                    <a:pt x="605" y="107"/>
                  </a:lnTo>
                  <a:lnTo>
                    <a:pt x="605" y="117"/>
                  </a:lnTo>
                  <a:lnTo>
                    <a:pt x="595" y="127"/>
                  </a:lnTo>
                  <a:lnTo>
                    <a:pt x="556" y="127"/>
                  </a:lnTo>
                  <a:lnTo>
                    <a:pt x="537" y="136"/>
                  </a:lnTo>
                  <a:lnTo>
                    <a:pt x="527" y="127"/>
                  </a:lnTo>
                  <a:lnTo>
                    <a:pt x="517" y="127"/>
                  </a:lnTo>
                  <a:lnTo>
                    <a:pt x="517" y="146"/>
                  </a:lnTo>
                  <a:lnTo>
                    <a:pt x="498" y="146"/>
                  </a:lnTo>
                  <a:lnTo>
                    <a:pt x="488" y="146"/>
                  </a:lnTo>
                  <a:lnTo>
                    <a:pt x="478" y="156"/>
                  </a:lnTo>
                  <a:lnTo>
                    <a:pt x="459" y="156"/>
                  </a:lnTo>
                  <a:lnTo>
                    <a:pt x="449" y="166"/>
                  </a:lnTo>
                  <a:lnTo>
                    <a:pt x="430" y="176"/>
                  </a:lnTo>
                  <a:lnTo>
                    <a:pt x="420" y="166"/>
                  </a:lnTo>
                  <a:lnTo>
                    <a:pt x="410" y="156"/>
                  </a:lnTo>
                  <a:lnTo>
                    <a:pt x="400" y="166"/>
                  </a:lnTo>
                  <a:lnTo>
                    <a:pt x="391" y="166"/>
                  </a:lnTo>
                  <a:lnTo>
                    <a:pt x="361" y="166"/>
                  </a:lnTo>
                  <a:lnTo>
                    <a:pt x="332" y="176"/>
                  </a:lnTo>
                  <a:lnTo>
                    <a:pt x="313" y="185"/>
                  </a:lnTo>
                  <a:lnTo>
                    <a:pt x="303" y="176"/>
                  </a:lnTo>
                  <a:lnTo>
                    <a:pt x="283" y="156"/>
                  </a:lnTo>
                  <a:lnTo>
                    <a:pt x="264" y="146"/>
                  </a:lnTo>
                  <a:lnTo>
                    <a:pt x="244" y="146"/>
                  </a:lnTo>
                  <a:lnTo>
                    <a:pt x="225" y="146"/>
                  </a:lnTo>
                  <a:lnTo>
                    <a:pt x="205" y="146"/>
                  </a:lnTo>
                  <a:lnTo>
                    <a:pt x="186" y="146"/>
                  </a:lnTo>
                  <a:lnTo>
                    <a:pt x="186" y="166"/>
                  </a:lnTo>
                  <a:lnTo>
                    <a:pt x="166" y="166"/>
                  </a:lnTo>
                  <a:lnTo>
                    <a:pt x="147" y="146"/>
                  </a:lnTo>
                  <a:lnTo>
                    <a:pt x="137" y="136"/>
                  </a:lnTo>
                  <a:lnTo>
                    <a:pt x="117" y="146"/>
                  </a:lnTo>
                  <a:lnTo>
                    <a:pt x="98" y="146"/>
                  </a:lnTo>
                  <a:lnTo>
                    <a:pt x="88" y="127"/>
                  </a:lnTo>
                  <a:lnTo>
                    <a:pt x="69" y="136"/>
                  </a:lnTo>
                  <a:lnTo>
                    <a:pt x="49" y="136"/>
                  </a:lnTo>
                  <a:lnTo>
                    <a:pt x="20" y="146"/>
                  </a:lnTo>
                  <a:lnTo>
                    <a:pt x="10" y="156"/>
                  </a:lnTo>
                  <a:lnTo>
                    <a:pt x="0" y="176"/>
                  </a:lnTo>
                  <a:lnTo>
                    <a:pt x="20" y="205"/>
                  </a:lnTo>
                  <a:lnTo>
                    <a:pt x="49" y="215"/>
                  </a:lnTo>
                  <a:lnTo>
                    <a:pt x="59" y="224"/>
                  </a:lnTo>
                  <a:lnTo>
                    <a:pt x="39" y="234"/>
                  </a:lnTo>
                  <a:lnTo>
                    <a:pt x="30" y="244"/>
                  </a:lnTo>
                  <a:lnTo>
                    <a:pt x="39" y="254"/>
                  </a:lnTo>
                  <a:lnTo>
                    <a:pt x="49" y="263"/>
                  </a:lnTo>
                  <a:lnTo>
                    <a:pt x="78" y="244"/>
                  </a:lnTo>
                  <a:lnTo>
                    <a:pt x="98" y="234"/>
                  </a:lnTo>
                  <a:lnTo>
                    <a:pt x="117" y="244"/>
                  </a:lnTo>
                  <a:lnTo>
                    <a:pt x="127" y="273"/>
                  </a:lnTo>
                  <a:lnTo>
                    <a:pt x="127" y="283"/>
                  </a:lnTo>
                  <a:lnTo>
                    <a:pt x="147" y="293"/>
                  </a:lnTo>
                  <a:lnTo>
                    <a:pt x="156" y="273"/>
                  </a:lnTo>
                  <a:lnTo>
                    <a:pt x="176" y="283"/>
                  </a:lnTo>
                  <a:lnTo>
                    <a:pt x="176" y="302"/>
                  </a:lnTo>
                  <a:lnTo>
                    <a:pt x="186" y="312"/>
                  </a:lnTo>
                  <a:lnTo>
                    <a:pt x="186" y="332"/>
                  </a:lnTo>
                  <a:lnTo>
                    <a:pt x="186" y="351"/>
                  </a:lnTo>
                  <a:lnTo>
                    <a:pt x="186" y="361"/>
                  </a:lnTo>
                </a:path>
              </a:pathLst>
            </a:custGeom>
            <a:solidFill>
              <a:srgbClr val="969696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18625" name="Freeform 111"/>
          <p:cNvSpPr>
            <a:spLocks noChangeAspect="1"/>
          </p:cNvSpPr>
          <p:nvPr>
            <p:custDataLst>
              <p:tags r:id="rId191"/>
            </p:custDataLst>
          </p:nvPr>
        </p:nvSpPr>
        <p:spPr bwMode="auto">
          <a:xfrm>
            <a:off x="6489700" y="4130675"/>
            <a:ext cx="741363" cy="1169988"/>
          </a:xfrm>
          <a:custGeom>
            <a:avLst/>
            <a:gdLst>
              <a:gd name="T0" fmla="*/ 279344 w 1112"/>
              <a:gd name="T1" fmla="*/ 1018380 h 1883"/>
              <a:gd name="T2" fmla="*/ 318679 w 1112"/>
              <a:gd name="T3" fmla="*/ 1060631 h 1883"/>
              <a:gd name="T4" fmla="*/ 376682 w 1112"/>
              <a:gd name="T5" fmla="*/ 1042612 h 1883"/>
              <a:gd name="T6" fmla="*/ 454685 w 1112"/>
              <a:gd name="T7" fmla="*/ 1048825 h 1883"/>
              <a:gd name="T8" fmla="*/ 506687 w 1112"/>
              <a:gd name="T9" fmla="*/ 1042612 h 1883"/>
              <a:gd name="T10" fmla="*/ 526688 w 1112"/>
              <a:gd name="T11" fmla="*/ 1091077 h 1883"/>
              <a:gd name="T12" fmla="*/ 533355 w 1112"/>
              <a:gd name="T13" fmla="*/ 1163774 h 1883"/>
              <a:gd name="T14" fmla="*/ 559356 w 1112"/>
              <a:gd name="T15" fmla="*/ 1121522 h 1883"/>
              <a:gd name="T16" fmla="*/ 611358 w 1112"/>
              <a:gd name="T17" fmla="*/ 1115309 h 1883"/>
              <a:gd name="T18" fmla="*/ 643359 w 1112"/>
              <a:gd name="T19" fmla="*/ 1066844 h 1883"/>
              <a:gd name="T20" fmla="*/ 650026 w 1112"/>
              <a:gd name="T21" fmla="*/ 1018380 h 1883"/>
              <a:gd name="T22" fmla="*/ 669360 w 1112"/>
              <a:gd name="T23" fmla="*/ 963702 h 1883"/>
              <a:gd name="T24" fmla="*/ 715362 w 1112"/>
              <a:gd name="T25" fmla="*/ 987934 h 1883"/>
              <a:gd name="T26" fmla="*/ 734696 w 1112"/>
              <a:gd name="T27" fmla="*/ 994147 h 1883"/>
              <a:gd name="T28" fmla="*/ 728029 w 1112"/>
              <a:gd name="T29" fmla="*/ 872986 h 1883"/>
              <a:gd name="T30" fmla="*/ 702028 w 1112"/>
              <a:gd name="T31" fmla="*/ 818308 h 1883"/>
              <a:gd name="T32" fmla="*/ 656693 w 1112"/>
              <a:gd name="T33" fmla="*/ 763629 h 1883"/>
              <a:gd name="T34" fmla="*/ 637359 w 1112"/>
              <a:gd name="T35" fmla="*/ 702738 h 1883"/>
              <a:gd name="T36" fmla="*/ 617358 w 1112"/>
              <a:gd name="T37" fmla="*/ 660487 h 1883"/>
              <a:gd name="T38" fmla="*/ 585357 w 1112"/>
              <a:gd name="T39" fmla="*/ 618235 h 1883"/>
              <a:gd name="T40" fmla="*/ 533355 w 1112"/>
              <a:gd name="T41" fmla="*/ 594003 h 1883"/>
              <a:gd name="T42" fmla="*/ 454685 w 1112"/>
              <a:gd name="T43" fmla="*/ 594003 h 1883"/>
              <a:gd name="T44" fmla="*/ 448685 w 1112"/>
              <a:gd name="T45" fmla="*/ 630041 h 1883"/>
              <a:gd name="T46" fmla="*/ 435351 w 1112"/>
              <a:gd name="T47" fmla="*/ 624449 h 1883"/>
              <a:gd name="T48" fmla="*/ 402683 w 1112"/>
              <a:gd name="T49" fmla="*/ 678506 h 1883"/>
              <a:gd name="T50" fmla="*/ 383349 w 1112"/>
              <a:gd name="T51" fmla="*/ 642468 h 1883"/>
              <a:gd name="T52" fmla="*/ 370682 w 1112"/>
              <a:gd name="T53" fmla="*/ 642468 h 1883"/>
              <a:gd name="T54" fmla="*/ 364015 w 1112"/>
              <a:gd name="T55" fmla="*/ 660487 h 1883"/>
              <a:gd name="T56" fmla="*/ 324680 w 1112"/>
              <a:gd name="T57" fmla="*/ 636254 h 1883"/>
              <a:gd name="T58" fmla="*/ 266677 w 1112"/>
              <a:gd name="T59" fmla="*/ 642468 h 1883"/>
              <a:gd name="T60" fmla="*/ 286011 w 1112"/>
              <a:gd name="T61" fmla="*/ 575984 h 1883"/>
              <a:gd name="T62" fmla="*/ 312012 w 1112"/>
              <a:gd name="T63" fmla="*/ 527519 h 1883"/>
              <a:gd name="T64" fmla="*/ 318679 w 1112"/>
              <a:gd name="T65" fmla="*/ 466628 h 1883"/>
              <a:gd name="T66" fmla="*/ 324680 w 1112"/>
              <a:gd name="T67" fmla="*/ 393931 h 1883"/>
              <a:gd name="T68" fmla="*/ 331347 w 1112"/>
              <a:gd name="T69" fmla="*/ 327447 h 1883"/>
              <a:gd name="T70" fmla="*/ 344680 w 1112"/>
              <a:gd name="T71" fmla="*/ 236110 h 1883"/>
              <a:gd name="T72" fmla="*/ 422684 w 1112"/>
              <a:gd name="T73" fmla="*/ 163413 h 1883"/>
              <a:gd name="T74" fmla="*/ 468019 w 1112"/>
              <a:gd name="T75" fmla="*/ 151607 h 1883"/>
              <a:gd name="T76" fmla="*/ 454685 w 1112"/>
              <a:gd name="T77" fmla="*/ 90716 h 1883"/>
              <a:gd name="T78" fmla="*/ 390016 w 1112"/>
              <a:gd name="T79" fmla="*/ 108735 h 1883"/>
              <a:gd name="T80" fmla="*/ 376682 w 1112"/>
              <a:gd name="T81" fmla="*/ 48465 h 1883"/>
              <a:gd name="T82" fmla="*/ 266677 w 1112"/>
              <a:gd name="T83" fmla="*/ 29824 h 1883"/>
              <a:gd name="T84" fmla="*/ 240676 w 1112"/>
              <a:gd name="T85" fmla="*/ 54057 h 1883"/>
              <a:gd name="T86" fmla="*/ 168673 w 1112"/>
              <a:gd name="T87" fmla="*/ 78910 h 1883"/>
              <a:gd name="T88" fmla="*/ 136672 w 1112"/>
              <a:gd name="T89" fmla="*/ 121162 h 1883"/>
              <a:gd name="T90" fmla="*/ 123338 w 1112"/>
              <a:gd name="T91" fmla="*/ 224304 h 1883"/>
              <a:gd name="T92" fmla="*/ 162673 w 1112"/>
              <a:gd name="T93" fmla="*/ 321234 h 1883"/>
              <a:gd name="T94" fmla="*/ 97337 w 1112"/>
              <a:gd name="T95" fmla="*/ 369699 h 1883"/>
              <a:gd name="T96" fmla="*/ 32001 w 1112"/>
              <a:gd name="T97" fmla="*/ 400144 h 1883"/>
              <a:gd name="T98" fmla="*/ 12667 w 1112"/>
              <a:gd name="T99" fmla="*/ 478433 h 1883"/>
              <a:gd name="T100" fmla="*/ 19334 w 1112"/>
              <a:gd name="T101" fmla="*/ 515093 h 1883"/>
              <a:gd name="T102" fmla="*/ 58002 w 1112"/>
              <a:gd name="T103" fmla="*/ 587790 h 1883"/>
              <a:gd name="T104" fmla="*/ 58002 w 1112"/>
              <a:gd name="T105" fmla="*/ 666700 h 1883"/>
              <a:gd name="T106" fmla="*/ 149339 w 1112"/>
              <a:gd name="T107" fmla="*/ 666700 h 1883"/>
              <a:gd name="T108" fmla="*/ 123338 w 1112"/>
              <a:gd name="T109" fmla="*/ 715165 h 1883"/>
              <a:gd name="T110" fmla="*/ 123338 w 1112"/>
              <a:gd name="T111" fmla="*/ 787862 h 1883"/>
              <a:gd name="T112" fmla="*/ 188674 w 1112"/>
              <a:gd name="T113" fmla="*/ 812094 h 1883"/>
              <a:gd name="T114" fmla="*/ 253343 w 1112"/>
              <a:gd name="T115" fmla="*/ 757416 h 1883"/>
              <a:gd name="T116" fmla="*/ 312012 w 1112"/>
              <a:gd name="T117" fmla="*/ 769843 h 1883"/>
              <a:gd name="T118" fmla="*/ 266677 w 1112"/>
              <a:gd name="T119" fmla="*/ 812094 h 1883"/>
              <a:gd name="T120" fmla="*/ 260010 w 1112"/>
              <a:gd name="T121" fmla="*/ 866772 h 1883"/>
              <a:gd name="T122" fmla="*/ 227342 w 1112"/>
              <a:gd name="T123" fmla="*/ 921450 h 1883"/>
              <a:gd name="T124" fmla="*/ 220675 w 1112"/>
              <a:gd name="T125" fmla="*/ 987934 h 1883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1112"/>
              <a:gd name="T190" fmla="*/ 0 h 1883"/>
              <a:gd name="T191" fmla="*/ 1112 w 1112"/>
              <a:gd name="T192" fmla="*/ 1883 h 1883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1112" h="1883">
                <a:moveTo>
                  <a:pt x="331" y="1590"/>
                </a:moveTo>
                <a:lnTo>
                  <a:pt x="361" y="1590"/>
                </a:lnTo>
                <a:lnTo>
                  <a:pt x="361" y="1600"/>
                </a:lnTo>
                <a:lnTo>
                  <a:pt x="380" y="1619"/>
                </a:lnTo>
                <a:lnTo>
                  <a:pt x="400" y="1610"/>
                </a:lnTo>
                <a:lnTo>
                  <a:pt x="419" y="1619"/>
                </a:lnTo>
                <a:lnTo>
                  <a:pt x="419" y="1629"/>
                </a:lnTo>
                <a:lnTo>
                  <a:pt x="419" y="1639"/>
                </a:lnTo>
                <a:lnTo>
                  <a:pt x="439" y="1649"/>
                </a:lnTo>
                <a:lnTo>
                  <a:pt x="448" y="1658"/>
                </a:lnTo>
                <a:lnTo>
                  <a:pt x="439" y="1678"/>
                </a:lnTo>
                <a:lnTo>
                  <a:pt x="448" y="1688"/>
                </a:lnTo>
                <a:lnTo>
                  <a:pt x="458" y="1707"/>
                </a:lnTo>
                <a:lnTo>
                  <a:pt x="458" y="1727"/>
                </a:lnTo>
                <a:lnTo>
                  <a:pt x="478" y="1717"/>
                </a:lnTo>
                <a:lnTo>
                  <a:pt x="478" y="1707"/>
                </a:lnTo>
                <a:lnTo>
                  <a:pt x="507" y="1697"/>
                </a:lnTo>
                <a:lnTo>
                  <a:pt x="507" y="1678"/>
                </a:lnTo>
                <a:lnTo>
                  <a:pt x="526" y="1678"/>
                </a:lnTo>
                <a:lnTo>
                  <a:pt x="536" y="1678"/>
                </a:lnTo>
                <a:lnTo>
                  <a:pt x="536" y="1697"/>
                </a:lnTo>
                <a:lnTo>
                  <a:pt x="546" y="1678"/>
                </a:lnTo>
                <a:lnTo>
                  <a:pt x="565" y="1678"/>
                </a:lnTo>
                <a:lnTo>
                  <a:pt x="575" y="1668"/>
                </a:lnTo>
                <a:lnTo>
                  <a:pt x="595" y="1678"/>
                </a:lnTo>
                <a:lnTo>
                  <a:pt x="604" y="1678"/>
                </a:lnTo>
                <a:lnTo>
                  <a:pt x="614" y="1678"/>
                </a:lnTo>
                <a:lnTo>
                  <a:pt x="624" y="1688"/>
                </a:lnTo>
                <a:lnTo>
                  <a:pt x="643" y="1678"/>
                </a:lnTo>
                <a:lnTo>
                  <a:pt x="673" y="1688"/>
                </a:lnTo>
                <a:lnTo>
                  <a:pt x="682" y="1688"/>
                </a:lnTo>
                <a:lnTo>
                  <a:pt x="702" y="1678"/>
                </a:lnTo>
                <a:lnTo>
                  <a:pt x="702" y="1668"/>
                </a:lnTo>
                <a:lnTo>
                  <a:pt x="712" y="1668"/>
                </a:lnTo>
                <a:lnTo>
                  <a:pt x="721" y="1668"/>
                </a:lnTo>
                <a:lnTo>
                  <a:pt x="741" y="1658"/>
                </a:lnTo>
                <a:lnTo>
                  <a:pt x="751" y="1658"/>
                </a:lnTo>
                <a:lnTo>
                  <a:pt x="760" y="1668"/>
                </a:lnTo>
                <a:lnTo>
                  <a:pt x="760" y="1678"/>
                </a:lnTo>
                <a:lnTo>
                  <a:pt x="741" y="1678"/>
                </a:lnTo>
                <a:lnTo>
                  <a:pt x="731" y="1688"/>
                </a:lnTo>
                <a:lnTo>
                  <a:pt x="731" y="1697"/>
                </a:lnTo>
                <a:lnTo>
                  <a:pt x="760" y="1697"/>
                </a:lnTo>
                <a:lnTo>
                  <a:pt x="770" y="1727"/>
                </a:lnTo>
                <a:lnTo>
                  <a:pt x="780" y="1736"/>
                </a:lnTo>
                <a:lnTo>
                  <a:pt x="790" y="1746"/>
                </a:lnTo>
                <a:lnTo>
                  <a:pt x="790" y="1756"/>
                </a:lnTo>
                <a:lnTo>
                  <a:pt x="790" y="1775"/>
                </a:lnTo>
                <a:lnTo>
                  <a:pt x="790" y="1795"/>
                </a:lnTo>
                <a:lnTo>
                  <a:pt x="780" y="1805"/>
                </a:lnTo>
                <a:lnTo>
                  <a:pt x="780" y="1814"/>
                </a:lnTo>
                <a:lnTo>
                  <a:pt x="790" y="1834"/>
                </a:lnTo>
                <a:lnTo>
                  <a:pt x="790" y="1853"/>
                </a:lnTo>
                <a:lnTo>
                  <a:pt x="800" y="1873"/>
                </a:lnTo>
                <a:lnTo>
                  <a:pt x="800" y="1883"/>
                </a:lnTo>
                <a:lnTo>
                  <a:pt x="809" y="1863"/>
                </a:lnTo>
                <a:lnTo>
                  <a:pt x="829" y="1863"/>
                </a:lnTo>
                <a:lnTo>
                  <a:pt x="819" y="1844"/>
                </a:lnTo>
                <a:lnTo>
                  <a:pt x="829" y="1834"/>
                </a:lnTo>
                <a:lnTo>
                  <a:pt x="819" y="1814"/>
                </a:lnTo>
                <a:lnTo>
                  <a:pt x="829" y="1805"/>
                </a:lnTo>
                <a:lnTo>
                  <a:pt x="839" y="1805"/>
                </a:lnTo>
                <a:lnTo>
                  <a:pt x="848" y="1795"/>
                </a:lnTo>
                <a:lnTo>
                  <a:pt x="858" y="1795"/>
                </a:lnTo>
                <a:lnTo>
                  <a:pt x="868" y="1805"/>
                </a:lnTo>
                <a:lnTo>
                  <a:pt x="878" y="1805"/>
                </a:lnTo>
                <a:lnTo>
                  <a:pt x="887" y="1805"/>
                </a:lnTo>
                <a:lnTo>
                  <a:pt x="887" y="1795"/>
                </a:lnTo>
                <a:lnTo>
                  <a:pt x="897" y="1795"/>
                </a:lnTo>
                <a:lnTo>
                  <a:pt x="917" y="1795"/>
                </a:lnTo>
                <a:lnTo>
                  <a:pt x="926" y="1785"/>
                </a:lnTo>
                <a:lnTo>
                  <a:pt x="946" y="1785"/>
                </a:lnTo>
                <a:lnTo>
                  <a:pt x="956" y="1775"/>
                </a:lnTo>
                <a:lnTo>
                  <a:pt x="975" y="1775"/>
                </a:lnTo>
                <a:lnTo>
                  <a:pt x="985" y="1756"/>
                </a:lnTo>
                <a:lnTo>
                  <a:pt x="985" y="1746"/>
                </a:lnTo>
                <a:lnTo>
                  <a:pt x="965" y="1727"/>
                </a:lnTo>
                <a:lnTo>
                  <a:pt x="965" y="1717"/>
                </a:lnTo>
                <a:lnTo>
                  <a:pt x="985" y="1697"/>
                </a:lnTo>
                <a:lnTo>
                  <a:pt x="1014" y="1688"/>
                </a:lnTo>
                <a:lnTo>
                  <a:pt x="1024" y="1668"/>
                </a:lnTo>
                <a:lnTo>
                  <a:pt x="1024" y="1649"/>
                </a:lnTo>
                <a:lnTo>
                  <a:pt x="1014" y="1629"/>
                </a:lnTo>
                <a:lnTo>
                  <a:pt x="995" y="1629"/>
                </a:lnTo>
                <a:lnTo>
                  <a:pt x="975" y="1639"/>
                </a:lnTo>
                <a:lnTo>
                  <a:pt x="975" y="1619"/>
                </a:lnTo>
                <a:lnTo>
                  <a:pt x="956" y="1619"/>
                </a:lnTo>
                <a:lnTo>
                  <a:pt x="946" y="1600"/>
                </a:lnTo>
                <a:lnTo>
                  <a:pt x="956" y="1590"/>
                </a:lnTo>
                <a:lnTo>
                  <a:pt x="975" y="1561"/>
                </a:lnTo>
                <a:lnTo>
                  <a:pt x="985" y="1541"/>
                </a:lnTo>
                <a:lnTo>
                  <a:pt x="1004" y="1551"/>
                </a:lnTo>
                <a:lnTo>
                  <a:pt x="1024" y="1561"/>
                </a:lnTo>
                <a:lnTo>
                  <a:pt x="1034" y="1551"/>
                </a:lnTo>
                <a:lnTo>
                  <a:pt x="1024" y="1571"/>
                </a:lnTo>
                <a:lnTo>
                  <a:pt x="1024" y="1580"/>
                </a:lnTo>
                <a:lnTo>
                  <a:pt x="1043" y="1580"/>
                </a:lnTo>
                <a:lnTo>
                  <a:pt x="1063" y="1590"/>
                </a:lnTo>
                <a:lnTo>
                  <a:pt x="1073" y="1590"/>
                </a:lnTo>
                <a:lnTo>
                  <a:pt x="1053" y="1610"/>
                </a:lnTo>
                <a:lnTo>
                  <a:pt x="1073" y="1629"/>
                </a:lnTo>
                <a:lnTo>
                  <a:pt x="1082" y="1619"/>
                </a:lnTo>
                <a:lnTo>
                  <a:pt x="1092" y="1619"/>
                </a:lnTo>
                <a:lnTo>
                  <a:pt x="1112" y="1629"/>
                </a:lnTo>
                <a:lnTo>
                  <a:pt x="1112" y="1619"/>
                </a:lnTo>
                <a:lnTo>
                  <a:pt x="1102" y="1600"/>
                </a:lnTo>
                <a:lnTo>
                  <a:pt x="1102" y="1571"/>
                </a:lnTo>
                <a:lnTo>
                  <a:pt x="1102" y="1551"/>
                </a:lnTo>
                <a:lnTo>
                  <a:pt x="1112" y="1502"/>
                </a:lnTo>
                <a:lnTo>
                  <a:pt x="1112" y="1473"/>
                </a:lnTo>
                <a:lnTo>
                  <a:pt x="1112" y="1453"/>
                </a:lnTo>
                <a:lnTo>
                  <a:pt x="1102" y="1453"/>
                </a:lnTo>
                <a:lnTo>
                  <a:pt x="1102" y="1424"/>
                </a:lnTo>
                <a:lnTo>
                  <a:pt x="1092" y="1405"/>
                </a:lnTo>
                <a:lnTo>
                  <a:pt x="1082" y="1405"/>
                </a:lnTo>
                <a:lnTo>
                  <a:pt x="1082" y="1395"/>
                </a:lnTo>
                <a:lnTo>
                  <a:pt x="1073" y="1385"/>
                </a:lnTo>
                <a:lnTo>
                  <a:pt x="1082" y="1375"/>
                </a:lnTo>
                <a:lnTo>
                  <a:pt x="1073" y="1366"/>
                </a:lnTo>
                <a:lnTo>
                  <a:pt x="1063" y="1346"/>
                </a:lnTo>
                <a:lnTo>
                  <a:pt x="1053" y="1336"/>
                </a:lnTo>
                <a:lnTo>
                  <a:pt x="1053" y="1317"/>
                </a:lnTo>
                <a:lnTo>
                  <a:pt x="1034" y="1317"/>
                </a:lnTo>
                <a:lnTo>
                  <a:pt x="1034" y="1288"/>
                </a:lnTo>
                <a:lnTo>
                  <a:pt x="1024" y="1297"/>
                </a:lnTo>
                <a:lnTo>
                  <a:pt x="1014" y="1288"/>
                </a:lnTo>
                <a:lnTo>
                  <a:pt x="1014" y="1278"/>
                </a:lnTo>
                <a:lnTo>
                  <a:pt x="995" y="1258"/>
                </a:lnTo>
                <a:lnTo>
                  <a:pt x="995" y="1249"/>
                </a:lnTo>
                <a:lnTo>
                  <a:pt x="985" y="1229"/>
                </a:lnTo>
                <a:lnTo>
                  <a:pt x="985" y="1200"/>
                </a:lnTo>
                <a:lnTo>
                  <a:pt x="975" y="1190"/>
                </a:lnTo>
                <a:lnTo>
                  <a:pt x="965" y="1180"/>
                </a:lnTo>
                <a:lnTo>
                  <a:pt x="965" y="1170"/>
                </a:lnTo>
                <a:lnTo>
                  <a:pt x="965" y="1161"/>
                </a:lnTo>
                <a:lnTo>
                  <a:pt x="956" y="1151"/>
                </a:lnTo>
                <a:lnTo>
                  <a:pt x="956" y="1131"/>
                </a:lnTo>
                <a:lnTo>
                  <a:pt x="956" y="1122"/>
                </a:lnTo>
                <a:lnTo>
                  <a:pt x="956" y="1112"/>
                </a:lnTo>
                <a:lnTo>
                  <a:pt x="956" y="1092"/>
                </a:lnTo>
                <a:lnTo>
                  <a:pt x="965" y="1092"/>
                </a:lnTo>
                <a:lnTo>
                  <a:pt x="956" y="1083"/>
                </a:lnTo>
                <a:lnTo>
                  <a:pt x="946" y="1073"/>
                </a:lnTo>
                <a:lnTo>
                  <a:pt x="946" y="1063"/>
                </a:lnTo>
                <a:lnTo>
                  <a:pt x="926" y="1063"/>
                </a:lnTo>
                <a:lnTo>
                  <a:pt x="907" y="1053"/>
                </a:lnTo>
                <a:lnTo>
                  <a:pt x="907" y="1034"/>
                </a:lnTo>
                <a:lnTo>
                  <a:pt x="897" y="1024"/>
                </a:lnTo>
                <a:lnTo>
                  <a:pt x="887" y="1014"/>
                </a:lnTo>
                <a:lnTo>
                  <a:pt x="878" y="1005"/>
                </a:lnTo>
                <a:lnTo>
                  <a:pt x="868" y="1005"/>
                </a:lnTo>
                <a:lnTo>
                  <a:pt x="848" y="1005"/>
                </a:lnTo>
                <a:lnTo>
                  <a:pt x="878" y="995"/>
                </a:lnTo>
                <a:lnTo>
                  <a:pt x="878" y="975"/>
                </a:lnTo>
                <a:lnTo>
                  <a:pt x="868" y="966"/>
                </a:lnTo>
                <a:lnTo>
                  <a:pt x="848" y="966"/>
                </a:lnTo>
                <a:lnTo>
                  <a:pt x="829" y="966"/>
                </a:lnTo>
                <a:lnTo>
                  <a:pt x="829" y="956"/>
                </a:lnTo>
                <a:lnTo>
                  <a:pt x="800" y="956"/>
                </a:lnTo>
                <a:lnTo>
                  <a:pt x="780" y="956"/>
                </a:lnTo>
                <a:lnTo>
                  <a:pt x="770" y="956"/>
                </a:lnTo>
                <a:lnTo>
                  <a:pt x="751" y="936"/>
                </a:lnTo>
                <a:lnTo>
                  <a:pt x="741" y="936"/>
                </a:lnTo>
                <a:lnTo>
                  <a:pt x="721" y="936"/>
                </a:lnTo>
                <a:lnTo>
                  <a:pt x="712" y="936"/>
                </a:lnTo>
                <a:lnTo>
                  <a:pt x="702" y="927"/>
                </a:lnTo>
                <a:lnTo>
                  <a:pt x="682" y="956"/>
                </a:lnTo>
                <a:lnTo>
                  <a:pt x="673" y="966"/>
                </a:lnTo>
                <a:lnTo>
                  <a:pt x="643" y="966"/>
                </a:lnTo>
                <a:lnTo>
                  <a:pt x="653" y="975"/>
                </a:lnTo>
                <a:lnTo>
                  <a:pt x="653" y="985"/>
                </a:lnTo>
                <a:lnTo>
                  <a:pt x="663" y="995"/>
                </a:lnTo>
                <a:lnTo>
                  <a:pt x="673" y="1005"/>
                </a:lnTo>
                <a:lnTo>
                  <a:pt x="673" y="1014"/>
                </a:lnTo>
                <a:lnTo>
                  <a:pt x="682" y="1024"/>
                </a:lnTo>
                <a:lnTo>
                  <a:pt x="682" y="1034"/>
                </a:lnTo>
                <a:lnTo>
                  <a:pt x="682" y="1053"/>
                </a:lnTo>
                <a:lnTo>
                  <a:pt x="673" y="1053"/>
                </a:lnTo>
                <a:lnTo>
                  <a:pt x="663" y="1044"/>
                </a:lnTo>
                <a:lnTo>
                  <a:pt x="663" y="1024"/>
                </a:lnTo>
                <a:lnTo>
                  <a:pt x="663" y="1014"/>
                </a:lnTo>
                <a:lnTo>
                  <a:pt x="653" y="1005"/>
                </a:lnTo>
                <a:lnTo>
                  <a:pt x="643" y="1005"/>
                </a:lnTo>
                <a:lnTo>
                  <a:pt x="643" y="1024"/>
                </a:lnTo>
                <a:lnTo>
                  <a:pt x="653" y="1034"/>
                </a:lnTo>
                <a:lnTo>
                  <a:pt x="643" y="1044"/>
                </a:lnTo>
                <a:lnTo>
                  <a:pt x="643" y="1063"/>
                </a:lnTo>
                <a:lnTo>
                  <a:pt x="634" y="1073"/>
                </a:lnTo>
                <a:lnTo>
                  <a:pt x="624" y="1083"/>
                </a:lnTo>
                <a:lnTo>
                  <a:pt x="604" y="1092"/>
                </a:lnTo>
                <a:lnTo>
                  <a:pt x="604" y="1073"/>
                </a:lnTo>
                <a:lnTo>
                  <a:pt x="614" y="1073"/>
                </a:lnTo>
                <a:lnTo>
                  <a:pt x="614" y="1044"/>
                </a:lnTo>
                <a:lnTo>
                  <a:pt x="624" y="1034"/>
                </a:lnTo>
                <a:lnTo>
                  <a:pt x="604" y="1034"/>
                </a:lnTo>
                <a:lnTo>
                  <a:pt x="595" y="1034"/>
                </a:lnTo>
                <a:lnTo>
                  <a:pt x="575" y="1034"/>
                </a:lnTo>
                <a:lnTo>
                  <a:pt x="585" y="1024"/>
                </a:lnTo>
                <a:lnTo>
                  <a:pt x="585" y="1014"/>
                </a:lnTo>
                <a:lnTo>
                  <a:pt x="585" y="1005"/>
                </a:lnTo>
                <a:lnTo>
                  <a:pt x="575" y="1014"/>
                </a:lnTo>
                <a:lnTo>
                  <a:pt x="565" y="1024"/>
                </a:lnTo>
                <a:lnTo>
                  <a:pt x="556" y="1034"/>
                </a:lnTo>
                <a:lnTo>
                  <a:pt x="575" y="1053"/>
                </a:lnTo>
                <a:lnTo>
                  <a:pt x="575" y="1063"/>
                </a:lnTo>
                <a:lnTo>
                  <a:pt x="575" y="1073"/>
                </a:lnTo>
                <a:lnTo>
                  <a:pt x="565" y="1073"/>
                </a:lnTo>
                <a:lnTo>
                  <a:pt x="565" y="1083"/>
                </a:lnTo>
                <a:lnTo>
                  <a:pt x="556" y="1083"/>
                </a:lnTo>
                <a:lnTo>
                  <a:pt x="546" y="1073"/>
                </a:lnTo>
                <a:lnTo>
                  <a:pt x="546" y="1063"/>
                </a:lnTo>
                <a:lnTo>
                  <a:pt x="546" y="1053"/>
                </a:lnTo>
                <a:lnTo>
                  <a:pt x="536" y="1044"/>
                </a:lnTo>
                <a:lnTo>
                  <a:pt x="536" y="1034"/>
                </a:lnTo>
                <a:lnTo>
                  <a:pt x="526" y="1014"/>
                </a:lnTo>
                <a:lnTo>
                  <a:pt x="517" y="1005"/>
                </a:lnTo>
                <a:lnTo>
                  <a:pt x="507" y="1005"/>
                </a:lnTo>
                <a:lnTo>
                  <a:pt x="497" y="1005"/>
                </a:lnTo>
                <a:lnTo>
                  <a:pt x="487" y="1024"/>
                </a:lnTo>
                <a:lnTo>
                  <a:pt x="478" y="1024"/>
                </a:lnTo>
                <a:lnTo>
                  <a:pt x="458" y="1044"/>
                </a:lnTo>
                <a:lnTo>
                  <a:pt x="439" y="1044"/>
                </a:lnTo>
                <a:lnTo>
                  <a:pt x="429" y="1044"/>
                </a:lnTo>
                <a:lnTo>
                  <a:pt x="419" y="1044"/>
                </a:lnTo>
                <a:lnTo>
                  <a:pt x="409" y="1034"/>
                </a:lnTo>
                <a:lnTo>
                  <a:pt x="400" y="1034"/>
                </a:lnTo>
                <a:lnTo>
                  <a:pt x="400" y="1014"/>
                </a:lnTo>
                <a:lnTo>
                  <a:pt x="409" y="1005"/>
                </a:lnTo>
                <a:lnTo>
                  <a:pt x="419" y="995"/>
                </a:lnTo>
                <a:lnTo>
                  <a:pt x="429" y="985"/>
                </a:lnTo>
                <a:lnTo>
                  <a:pt x="429" y="975"/>
                </a:lnTo>
                <a:lnTo>
                  <a:pt x="439" y="956"/>
                </a:lnTo>
                <a:lnTo>
                  <a:pt x="429" y="936"/>
                </a:lnTo>
                <a:lnTo>
                  <a:pt x="429" y="927"/>
                </a:lnTo>
                <a:lnTo>
                  <a:pt x="439" y="917"/>
                </a:lnTo>
                <a:lnTo>
                  <a:pt x="439" y="907"/>
                </a:lnTo>
                <a:lnTo>
                  <a:pt x="448" y="907"/>
                </a:lnTo>
                <a:lnTo>
                  <a:pt x="448" y="897"/>
                </a:lnTo>
                <a:lnTo>
                  <a:pt x="448" y="888"/>
                </a:lnTo>
                <a:lnTo>
                  <a:pt x="458" y="868"/>
                </a:lnTo>
                <a:lnTo>
                  <a:pt x="458" y="858"/>
                </a:lnTo>
                <a:lnTo>
                  <a:pt x="468" y="849"/>
                </a:lnTo>
                <a:lnTo>
                  <a:pt x="468" y="839"/>
                </a:lnTo>
                <a:lnTo>
                  <a:pt x="478" y="819"/>
                </a:lnTo>
                <a:lnTo>
                  <a:pt x="478" y="809"/>
                </a:lnTo>
                <a:lnTo>
                  <a:pt x="468" y="800"/>
                </a:lnTo>
                <a:lnTo>
                  <a:pt x="478" y="780"/>
                </a:lnTo>
                <a:lnTo>
                  <a:pt x="478" y="770"/>
                </a:lnTo>
                <a:lnTo>
                  <a:pt x="468" y="770"/>
                </a:lnTo>
                <a:lnTo>
                  <a:pt x="478" y="751"/>
                </a:lnTo>
                <a:lnTo>
                  <a:pt x="478" y="741"/>
                </a:lnTo>
                <a:lnTo>
                  <a:pt x="468" y="712"/>
                </a:lnTo>
                <a:lnTo>
                  <a:pt x="478" y="702"/>
                </a:lnTo>
                <a:lnTo>
                  <a:pt x="478" y="692"/>
                </a:lnTo>
                <a:lnTo>
                  <a:pt x="478" y="683"/>
                </a:lnTo>
                <a:lnTo>
                  <a:pt x="478" y="673"/>
                </a:lnTo>
                <a:lnTo>
                  <a:pt x="487" y="653"/>
                </a:lnTo>
                <a:lnTo>
                  <a:pt x="487" y="634"/>
                </a:lnTo>
                <a:lnTo>
                  <a:pt x="497" y="634"/>
                </a:lnTo>
                <a:lnTo>
                  <a:pt x="497" y="614"/>
                </a:lnTo>
                <a:lnTo>
                  <a:pt x="497" y="595"/>
                </a:lnTo>
                <a:lnTo>
                  <a:pt x="507" y="585"/>
                </a:lnTo>
                <a:lnTo>
                  <a:pt x="517" y="566"/>
                </a:lnTo>
                <a:lnTo>
                  <a:pt x="507" y="556"/>
                </a:lnTo>
                <a:lnTo>
                  <a:pt x="497" y="546"/>
                </a:lnTo>
                <a:lnTo>
                  <a:pt x="497" y="527"/>
                </a:lnTo>
                <a:lnTo>
                  <a:pt x="497" y="497"/>
                </a:lnTo>
                <a:lnTo>
                  <a:pt x="507" y="488"/>
                </a:lnTo>
                <a:lnTo>
                  <a:pt x="517" y="458"/>
                </a:lnTo>
                <a:lnTo>
                  <a:pt x="517" y="448"/>
                </a:lnTo>
                <a:lnTo>
                  <a:pt x="517" y="439"/>
                </a:lnTo>
                <a:lnTo>
                  <a:pt x="507" y="419"/>
                </a:lnTo>
                <a:lnTo>
                  <a:pt x="507" y="400"/>
                </a:lnTo>
                <a:lnTo>
                  <a:pt x="517" y="380"/>
                </a:lnTo>
                <a:lnTo>
                  <a:pt x="526" y="361"/>
                </a:lnTo>
                <a:lnTo>
                  <a:pt x="536" y="331"/>
                </a:lnTo>
                <a:lnTo>
                  <a:pt x="556" y="331"/>
                </a:lnTo>
                <a:lnTo>
                  <a:pt x="565" y="322"/>
                </a:lnTo>
                <a:lnTo>
                  <a:pt x="575" y="302"/>
                </a:lnTo>
                <a:lnTo>
                  <a:pt x="595" y="292"/>
                </a:lnTo>
                <a:lnTo>
                  <a:pt x="614" y="283"/>
                </a:lnTo>
                <a:lnTo>
                  <a:pt x="634" y="263"/>
                </a:lnTo>
                <a:lnTo>
                  <a:pt x="643" y="253"/>
                </a:lnTo>
                <a:lnTo>
                  <a:pt x="653" y="244"/>
                </a:lnTo>
                <a:lnTo>
                  <a:pt x="663" y="244"/>
                </a:lnTo>
                <a:lnTo>
                  <a:pt x="673" y="253"/>
                </a:lnTo>
                <a:lnTo>
                  <a:pt x="682" y="253"/>
                </a:lnTo>
                <a:lnTo>
                  <a:pt x="692" y="263"/>
                </a:lnTo>
                <a:lnTo>
                  <a:pt x="692" y="244"/>
                </a:lnTo>
                <a:lnTo>
                  <a:pt x="702" y="244"/>
                </a:lnTo>
                <a:lnTo>
                  <a:pt x="682" y="224"/>
                </a:lnTo>
                <a:lnTo>
                  <a:pt x="682" y="214"/>
                </a:lnTo>
                <a:lnTo>
                  <a:pt x="692" y="214"/>
                </a:lnTo>
                <a:lnTo>
                  <a:pt x="702" y="205"/>
                </a:lnTo>
                <a:lnTo>
                  <a:pt x="702" y="195"/>
                </a:lnTo>
                <a:lnTo>
                  <a:pt x="692" y="175"/>
                </a:lnTo>
                <a:lnTo>
                  <a:pt x="682" y="166"/>
                </a:lnTo>
                <a:lnTo>
                  <a:pt x="682" y="146"/>
                </a:lnTo>
                <a:lnTo>
                  <a:pt x="663" y="156"/>
                </a:lnTo>
                <a:lnTo>
                  <a:pt x="643" y="156"/>
                </a:lnTo>
                <a:lnTo>
                  <a:pt x="634" y="156"/>
                </a:lnTo>
                <a:lnTo>
                  <a:pt x="634" y="146"/>
                </a:lnTo>
                <a:lnTo>
                  <a:pt x="614" y="146"/>
                </a:lnTo>
                <a:lnTo>
                  <a:pt x="614" y="166"/>
                </a:lnTo>
                <a:lnTo>
                  <a:pt x="604" y="166"/>
                </a:lnTo>
                <a:lnTo>
                  <a:pt x="585" y="175"/>
                </a:lnTo>
                <a:lnTo>
                  <a:pt x="575" y="175"/>
                </a:lnTo>
                <a:lnTo>
                  <a:pt x="575" y="156"/>
                </a:lnTo>
                <a:lnTo>
                  <a:pt x="565" y="156"/>
                </a:lnTo>
                <a:lnTo>
                  <a:pt x="565" y="146"/>
                </a:lnTo>
                <a:lnTo>
                  <a:pt x="565" y="117"/>
                </a:lnTo>
                <a:lnTo>
                  <a:pt x="575" y="107"/>
                </a:lnTo>
                <a:lnTo>
                  <a:pt x="575" y="87"/>
                </a:lnTo>
                <a:lnTo>
                  <a:pt x="565" y="78"/>
                </a:lnTo>
                <a:lnTo>
                  <a:pt x="575" y="58"/>
                </a:lnTo>
                <a:lnTo>
                  <a:pt x="546" y="39"/>
                </a:lnTo>
                <a:lnTo>
                  <a:pt x="517" y="9"/>
                </a:lnTo>
                <a:lnTo>
                  <a:pt x="458" y="0"/>
                </a:lnTo>
                <a:lnTo>
                  <a:pt x="448" y="9"/>
                </a:lnTo>
                <a:lnTo>
                  <a:pt x="419" y="19"/>
                </a:lnTo>
                <a:lnTo>
                  <a:pt x="409" y="29"/>
                </a:lnTo>
                <a:lnTo>
                  <a:pt x="400" y="48"/>
                </a:lnTo>
                <a:lnTo>
                  <a:pt x="400" y="58"/>
                </a:lnTo>
                <a:lnTo>
                  <a:pt x="400" y="78"/>
                </a:lnTo>
                <a:lnTo>
                  <a:pt x="390" y="78"/>
                </a:lnTo>
                <a:lnTo>
                  <a:pt x="380" y="68"/>
                </a:lnTo>
                <a:lnTo>
                  <a:pt x="380" y="58"/>
                </a:lnTo>
                <a:lnTo>
                  <a:pt x="370" y="68"/>
                </a:lnTo>
                <a:lnTo>
                  <a:pt x="370" y="78"/>
                </a:lnTo>
                <a:lnTo>
                  <a:pt x="361" y="87"/>
                </a:lnTo>
                <a:lnTo>
                  <a:pt x="351" y="68"/>
                </a:lnTo>
                <a:lnTo>
                  <a:pt x="331" y="87"/>
                </a:lnTo>
                <a:lnTo>
                  <a:pt x="341" y="107"/>
                </a:lnTo>
                <a:lnTo>
                  <a:pt x="331" y="117"/>
                </a:lnTo>
                <a:lnTo>
                  <a:pt x="312" y="127"/>
                </a:lnTo>
                <a:lnTo>
                  <a:pt x="292" y="117"/>
                </a:lnTo>
                <a:lnTo>
                  <a:pt x="273" y="127"/>
                </a:lnTo>
                <a:lnTo>
                  <a:pt x="253" y="127"/>
                </a:lnTo>
                <a:lnTo>
                  <a:pt x="234" y="117"/>
                </a:lnTo>
                <a:lnTo>
                  <a:pt x="224" y="136"/>
                </a:lnTo>
                <a:lnTo>
                  <a:pt x="214" y="127"/>
                </a:lnTo>
                <a:lnTo>
                  <a:pt x="205" y="117"/>
                </a:lnTo>
                <a:lnTo>
                  <a:pt x="195" y="127"/>
                </a:lnTo>
                <a:lnTo>
                  <a:pt x="205" y="136"/>
                </a:lnTo>
                <a:lnTo>
                  <a:pt x="195" y="156"/>
                </a:lnTo>
                <a:lnTo>
                  <a:pt x="205" y="195"/>
                </a:lnTo>
                <a:lnTo>
                  <a:pt x="214" y="205"/>
                </a:lnTo>
                <a:lnTo>
                  <a:pt x="214" y="234"/>
                </a:lnTo>
                <a:lnTo>
                  <a:pt x="205" y="253"/>
                </a:lnTo>
                <a:lnTo>
                  <a:pt x="195" y="273"/>
                </a:lnTo>
                <a:lnTo>
                  <a:pt x="195" y="292"/>
                </a:lnTo>
                <a:lnTo>
                  <a:pt x="185" y="302"/>
                </a:lnTo>
                <a:lnTo>
                  <a:pt x="185" y="331"/>
                </a:lnTo>
                <a:lnTo>
                  <a:pt x="185" y="361"/>
                </a:lnTo>
                <a:lnTo>
                  <a:pt x="214" y="380"/>
                </a:lnTo>
                <a:lnTo>
                  <a:pt x="224" y="419"/>
                </a:lnTo>
                <a:lnTo>
                  <a:pt x="234" y="439"/>
                </a:lnTo>
                <a:lnTo>
                  <a:pt x="253" y="439"/>
                </a:lnTo>
                <a:lnTo>
                  <a:pt x="253" y="458"/>
                </a:lnTo>
                <a:lnTo>
                  <a:pt x="253" y="478"/>
                </a:lnTo>
                <a:lnTo>
                  <a:pt x="244" y="478"/>
                </a:lnTo>
                <a:lnTo>
                  <a:pt x="244" y="517"/>
                </a:lnTo>
                <a:lnTo>
                  <a:pt x="234" y="527"/>
                </a:lnTo>
                <a:lnTo>
                  <a:pt x="214" y="546"/>
                </a:lnTo>
                <a:lnTo>
                  <a:pt x="195" y="546"/>
                </a:lnTo>
                <a:lnTo>
                  <a:pt x="185" y="556"/>
                </a:lnTo>
                <a:lnTo>
                  <a:pt x="165" y="556"/>
                </a:lnTo>
                <a:lnTo>
                  <a:pt x="156" y="556"/>
                </a:lnTo>
                <a:lnTo>
                  <a:pt x="146" y="575"/>
                </a:lnTo>
                <a:lnTo>
                  <a:pt x="146" y="595"/>
                </a:lnTo>
                <a:lnTo>
                  <a:pt x="146" y="614"/>
                </a:lnTo>
                <a:lnTo>
                  <a:pt x="136" y="614"/>
                </a:lnTo>
                <a:lnTo>
                  <a:pt x="117" y="624"/>
                </a:lnTo>
                <a:lnTo>
                  <a:pt x="107" y="624"/>
                </a:lnTo>
                <a:lnTo>
                  <a:pt x="97" y="644"/>
                </a:lnTo>
                <a:lnTo>
                  <a:pt x="78" y="634"/>
                </a:lnTo>
                <a:lnTo>
                  <a:pt x="68" y="644"/>
                </a:lnTo>
                <a:lnTo>
                  <a:pt x="48" y="644"/>
                </a:lnTo>
                <a:lnTo>
                  <a:pt x="29" y="653"/>
                </a:lnTo>
                <a:lnTo>
                  <a:pt x="29" y="683"/>
                </a:lnTo>
                <a:lnTo>
                  <a:pt x="29" y="702"/>
                </a:lnTo>
                <a:lnTo>
                  <a:pt x="19" y="712"/>
                </a:lnTo>
                <a:lnTo>
                  <a:pt x="29" y="761"/>
                </a:lnTo>
                <a:lnTo>
                  <a:pt x="19" y="761"/>
                </a:lnTo>
                <a:lnTo>
                  <a:pt x="19" y="770"/>
                </a:lnTo>
                <a:lnTo>
                  <a:pt x="29" y="780"/>
                </a:lnTo>
                <a:lnTo>
                  <a:pt x="29" y="790"/>
                </a:lnTo>
                <a:lnTo>
                  <a:pt x="29" y="800"/>
                </a:lnTo>
                <a:lnTo>
                  <a:pt x="29" y="809"/>
                </a:lnTo>
                <a:lnTo>
                  <a:pt x="9" y="809"/>
                </a:lnTo>
                <a:lnTo>
                  <a:pt x="0" y="809"/>
                </a:lnTo>
                <a:lnTo>
                  <a:pt x="9" y="819"/>
                </a:lnTo>
                <a:lnTo>
                  <a:pt x="29" y="829"/>
                </a:lnTo>
                <a:lnTo>
                  <a:pt x="39" y="839"/>
                </a:lnTo>
                <a:lnTo>
                  <a:pt x="58" y="849"/>
                </a:lnTo>
                <a:lnTo>
                  <a:pt x="48" y="868"/>
                </a:lnTo>
                <a:lnTo>
                  <a:pt x="39" y="897"/>
                </a:lnTo>
                <a:lnTo>
                  <a:pt x="39" y="917"/>
                </a:lnTo>
                <a:lnTo>
                  <a:pt x="58" y="917"/>
                </a:lnTo>
                <a:lnTo>
                  <a:pt x="78" y="936"/>
                </a:lnTo>
                <a:lnTo>
                  <a:pt x="87" y="946"/>
                </a:lnTo>
                <a:lnTo>
                  <a:pt x="87" y="956"/>
                </a:lnTo>
                <a:lnTo>
                  <a:pt x="87" y="975"/>
                </a:lnTo>
                <a:lnTo>
                  <a:pt x="78" y="985"/>
                </a:lnTo>
                <a:lnTo>
                  <a:pt x="78" y="1005"/>
                </a:lnTo>
                <a:lnTo>
                  <a:pt x="78" y="1014"/>
                </a:lnTo>
                <a:lnTo>
                  <a:pt x="68" y="1034"/>
                </a:lnTo>
                <a:lnTo>
                  <a:pt x="68" y="1053"/>
                </a:lnTo>
                <a:lnTo>
                  <a:pt x="87" y="1073"/>
                </a:lnTo>
                <a:lnTo>
                  <a:pt x="146" y="1053"/>
                </a:lnTo>
                <a:lnTo>
                  <a:pt x="175" y="1044"/>
                </a:lnTo>
                <a:lnTo>
                  <a:pt x="185" y="1034"/>
                </a:lnTo>
                <a:lnTo>
                  <a:pt x="205" y="1044"/>
                </a:lnTo>
                <a:lnTo>
                  <a:pt x="234" y="1053"/>
                </a:lnTo>
                <a:lnTo>
                  <a:pt x="234" y="1063"/>
                </a:lnTo>
                <a:lnTo>
                  <a:pt x="214" y="1063"/>
                </a:lnTo>
                <a:lnTo>
                  <a:pt x="224" y="1073"/>
                </a:lnTo>
                <a:lnTo>
                  <a:pt x="214" y="1073"/>
                </a:lnTo>
                <a:lnTo>
                  <a:pt x="214" y="1083"/>
                </a:lnTo>
                <a:lnTo>
                  <a:pt x="224" y="1092"/>
                </a:lnTo>
                <a:lnTo>
                  <a:pt x="205" y="1102"/>
                </a:lnTo>
                <a:lnTo>
                  <a:pt x="195" y="1122"/>
                </a:lnTo>
                <a:lnTo>
                  <a:pt x="185" y="1151"/>
                </a:lnTo>
                <a:lnTo>
                  <a:pt x="175" y="1170"/>
                </a:lnTo>
                <a:lnTo>
                  <a:pt x="175" y="1190"/>
                </a:lnTo>
                <a:lnTo>
                  <a:pt x="175" y="1200"/>
                </a:lnTo>
                <a:lnTo>
                  <a:pt x="175" y="1210"/>
                </a:lnTo>
                <a:lnTo>
                  <a:pt x="165" y="1229"/>
                </a:lnTo>
                <a:lnTo>
                  <a:pt x="156" y="1258"/>
                </a:lnTo>
                <a:lnTo>
                  <a:pt x="165" y="1268"/>
                </a:lnTo>
                <a:lnTo>
                  <a:pt x="185" y="1268"/>
                </a:lnTo>
                <a:lnTo>
                  <a:pt x="195" y="1258"/>
                </a:lnTo>
                <a:lnTo>
                  <a:pt x="224" y="1249"/>
                </a:lnTo>
                <a:lnTo>
                  <a:pt x="234" y="1268"/>
                </a:lnTo>
                <a:lnTo>
                  <a:pt x="234" y="1297"/>
                </a:lnTo>
                <a:lnTo>
                  <a:pt x="253" y="1317"/>
                </a:lnTo>
                <a:lnTo>
                  <a:pt x="273" y="1307"/>
                </a:lnTo>
                <a:lnTo>
                  <a:pt x="283" y="1297"/>
                </a:lnTo>
                <a:lnTo>
                  <a:pt x="283" y="1307"/>
                </a:lnTo>
                <a:lnTo>
                  <a:pt x="302" y="1307"/>
                </a:lnTo>
                <a:lnTo>
                  <a:pt x="302" y="1288"/>
                </a:lnTo>
                <a:lnTo>
                  <a:pt x="322" y="1278"/>
                </a:lnTo>
                <a:lnTo>
                  <a:pt x="341" y="1268"/>
                </a:lnTo>
                <a:lnTo>
                  <a:pt x="341" y="1258"/>
                </a:lnTo>
                <a:lnTo>
                  <a:pt x="351" y="1249"/>
                </a:lnTo>
                <a:lnTo>
                  <a:pt x="351" y="1229"/>
                </a:lnTo>
                <a:lnTo>
                  <a:pt x="380" y="1219"/>
                </a:lnTo>
                <a:lnTo>
                  <a:pt x="400" y="1219"/>
                </a:lnTo>
                <a:lnTo>
                  <a:pt x="409" y="1210"/>
                </a:lnTo>
                <a:lnTo>
                  <a:pt x="419" y="1180"/>
                </a:lnTo>
                <a:lnTo>
                  <a:pt x="439" y="1190"/>
                </a:lnTo>
                <a:lnTo>
                  <a:pt x="458" y="1200"/>
                </a:lnTo>
                <a:lnTo>
                  <a:pt x="468" y="1219"/>
                </a:lnTo>
                <a:lnTo>
                  <a:pt x="468" y="1239"/>
                </a:lnTo>
                <a:lnTo>
                  <a:pt x="478" y="1258"/>
                </a:lnTo>
                <a:lnTo>
                  <a:pt x="487" y="1258"/>
                </a:lnTo>
                <a:lnTo>
                  <a:pt x="497" y="1278"/>
                </a:lnTo>
                <a:lnTo>
                  <a:pt x="497" y="1297"/>
                </a:lnTo>
                <a:lnTo>
                  <a:pt x="439" y="1307"/>
                </a:lnTo>
                <a:lnTo>
                  <a:pt x="419" y="1317"/>
                </a:lnTo>
                <a:lnTo>
                  <a:pt x="409" y="1307"/>
                </a:lnTo>
                <a:lnTo>
                  <a:pt x="400" y="1307"/>
                </a:lnTo>
                <a:lnTo>
                  <a:pt x="400" y="1317"/>
                </a:lnTo>
                <a:lnTo>
                  <a:pt x="419" y="1336"/>
                </a:lnTo>
                <a:lnTo>
                  <a:pt x="429" y="1346"/>
                </a:lnTo>
                <a:lnTo>
                  <a:pt x="439" y="1366"/>
                </a:lnTo>
                <a:lnTo>
                  <a:pt x="419" y="1375"/>
                </a:lnTo>
                <a:lnTo>
                  <a:pt x="400" y="1385"/>
                </a:lnTo>
                <a:lnTo>
                  <a:pt x="390" y="1385"/>
                </a:lnTo>
                <a:lnTo>
                  <a:pt x="390" y="1395"/>
                </a:lnTo>
                <a:lnTo>
                  <a:pt x="390" y="1414"/>
                </a:lnTo>
                <a:lnTo>
                  <a:pt x="380" y="1414"/>
                </a:lnTo>
                <a:lnTo>
                  <a:pt x="380" y="1434"/>
                </a:lnTo>
                <a:lnTo>
                  <a:pt x="380" y="1444"/>
                </a:lnTo>
                <a:lnTo>
                  <a:pt x="361" y="1463"/>
                </a:lnTo>
                <a:lnTo>
                  <a:pt x="331" y="1463"/>
                </a:lnTo>
                <a:lnTo>
                  <a:pt x="341" y="1483"/>
                </a:lnTo>
                <a:lnTo>
                  <a:pt x="351" y="1492"/>
                </a:lnTo>
                <a:lnTo>
                  <a:pt x="351" y="1502"/>
                </a:lnTo>
                <a:lnTo>
                  <a:pt x="341" y="1502"/>
                </a:lnTo>
                <a:lnTo>
                  <a:pt x="341" y="1522"/>
                </a:lnTo>
                <a:lnTo>
                  <a:pt x="331" y="1541"/>
                </a:lnTo>
                <a:lnTo>
                  <a:pt x="331" y="1551"/>
                </a:lnTo>
                <a:lnTo>
                  <a:pt x="331" y="1571"/>
                </a:lnTo>
                <a:lnTo>
                  <a:pt x="331" y="1590"/>
                </a:lnTo>
                <a:close/>
              </a:path>
            </a:pathLst>
          </a:custGeom>
          <a:solidFill>
            <a:srgbClr val="CCECFF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grpSp>
        <p:nvGrpSpPr>
          <p:cNvPr id="18626" name="Group 108"/>
          <p:cNvGrpSpPr>
            <a:grpSpLocks noChangeAspect="1"/>
          </p:cNvGrpSpPr>
          <p:nvPr>
            <p:custDataLst>
              <p:tags r:id="rId192"/>
            </p:custDataLst>
          </p:nvPr>
        </p:nvGrpSpPr>
        <p:grpSpPr bwMode="auto">
          <a:xfrm>
            <a:off x="6489700" y="4130675"/>
            <a:ext cx="741363" cy="1169988"/>
            <a:chOff x="7238" y="2059"/>
            <a:chExt cx="1112" cy="1883"/>
          </a:xfrm>
        </p:grpSpPr>
        <p:sp>
          <p:nvSpPr>
            <p:cNvPr id="18750" name="Freeform 110"/>
            <p:cNvSpPr>
              <a:spLocks noChangeAspect="1"/>
            </p:cNvSpPr>
            <p:nvPr/>
          </p:nvSpPr>
          <p:spPr bwMode="auto">
            <a:xfrm>
              <a:off x="7238" y="2059"/>
              <a:ext cx="1112" cy="1883"/>
            </a:xfrm>
            <a:custGeom>
              <a:avLst/>
              <a:gdLst>
                <a:gd name="T0" fmla="*/ 419 w 1112"/>
                <a:gd name="T1" fmla="*/ 1639 h 1883"/>
                <a:gd name="T2" fmla="*/ 478 w 1112"/>
                <a:gd name="T3" fmla="*/ 1707 h 1883"/>
                <a:gd name="T4" fmla="*/ 565 w 1112"/>
                <a:gd name="T5" fmla="*/ 1678 h 1883"/>
                <a:gd name="T6" fmla="*/ 682 w 1112"/>
                <a:gd name="T7" fmla="*/ 1688 h 1883"/>
                <a:gd name="T8" fmla="*/ 760 w 1112"/>
                <a:gd name="T9" fmla="*/ 1688 h 1883"/>
                <a:gd name="T10" fmla="*/ 790 w 1112"/>
                <a:gd name="T11" fmla="*/ 1756 h 1883"/>
                <a:gd name="T12" fmla="*/ 800 w 1112"/>
                <a:gd name="T13" fmla="*/ 1873 h 1883"/>
                <a:gd name="T14" fmla="*/ 839 w 1112"/>
                <a:gd name="T15" fmla="*/ 1805 h 1883"/>
                <a:gd name="T16" fmla="*/ 917 w 1112"/>
                <a:gd name="T17" fmla="*/ 1795 h 1883"/>
                <a:gd name="T18" fmla="*/ 965 w 1112"/>
                <a:gd name="T19" fmla="*/ 1717 h 1883"/>
                <a:gd name="T20" fmla="*/ 975 w 1112"/>
                <a:gd name="T21" fmla="*/ 1639 h 1883"/>
                <a:gd name="T22" fmla="*/ 1004 w 1112"/>
                <a:gd name="T23" fmla="*/ 1551 h 1883"/>
                <a:gd name="T24" fmla="*/ 1073 w 1112"/>
                <a:gd name="T25" fmla="*/ 1590 h 1883"/>
                <a:gd name="T26" fmla="*/ 1102 w 1112"/>
                <a:gd name="T27" fmla="*/ 1600 h 1883"/>
                <a:gd name="T28" fmla="*/ 1092 w 1112"/>
                <a:gd name="T29" fmla="*/ 1405 h 1883"/>
                <a:gd name="T30" fmla="*/ 1053 w 1112"/>
                <a:gd name="T31" fmla="*/ 1327 h 1883"/>
                <a:gd name="T32" fmla="*/ 975 w 1112"/>
                <a:gd name="T33" fmla="*/ 1229 h 1883"/>
                <a:gd name="T34" fmla="*/ 956 w 1112"/>
                <a:gd name="T35" fmla="*/ 1131 h 1883"/>
                <a:gd name="T36" fmla="*/ 926 w 1112"/>
                <a:gd name="T37" fmla="*/ 1063 h 1883"/>
                <a:gd name="T38" fmla="*/ 878 w 1112"/>
                <a:gd name="T39" fmla="*/ 995 h 1883"/>
                <a:gd name="T40" fmla="*/ 800 w 1112"/>
                <a:gd name="T41" fmla="*/ 956 h 1883"/>
                <a:gd name="T42" fmla="*/ 682 w 1112"/>
                <a:gd name="T43" fmla="*/ 956 h 1883"/>
                <a:gd name="T44" fmla="*/ 673 w 1112"/>
                <a:gd name="T45" fmla="*/ 1014 h 1883"/>
                <a:gd name="T46" fmla="*/ 653 w 1112"/>
                <a:gd name="T47" fmla="*/ 1005 h 1883"/>
                <a:gd name="T48" fmla="*/ 604 w 1112"/>
                <a:gd name="T49" fmla="*/ 1092 h 1883"/>
                <a:gd name="T50" fmla="*/ 575 w 1112"/>
                <a:gd name="T51" fmla="*/ 1034 h 1883"/>
                <a:gd name="T52" fmla="*/ 556 w 1112"/>
                <a:gd name="T53" fmla="*/ 1034 h 1883"/>
                <a:gd name="T54" fmla="*/ 546 w 1112"/>
                <a:gd name="T55" fmla="*/ 1063 h 1883"/>
                <a:gd name="T56" fmla="*/ 487 w 1112"/>
                <a:gd name="T57" fmla="*/ 1024 h 1883"/>
                <a:gd name="T58" fmla="*/ 400 w 1112"/>
                <a:gd name="T59" fmla="*/ 1034 h 1883"/>
                <a:gd name="T60" fmla="*/ 429 w 1112"/>
                <a:gd name="T61" fmla="*/ 927 h 1883"/>
                <a:gd name="T62" fmla="*/ 468 w 1112"/>
                <a:gd name="T63" fmla="*/ 849 h 1883"/>
                <a:gd name="T64" fmla="*/ 478 w 1112"/>
                <a:gd name="T65" fmla="*/ 751 h 1883"/>
                <a:gd name="T66" fmla="*/ 487 w 1112"/>
                <a:gd name="T67" fmla="*/ 634 h 1883"/>
                <a:gd name="T68" fmla="*/ 497 w 1112"/>
                <a:gd name="T69" fmla="*/ 527 h 1883"/>
                <a:gd name="T70" fmla="*/ 517 w 1112"/>
                <a:gd name="T71" fmla="*/ 380 h 1883"/>
                <a:gd name="T72" fmla="*/ 624 w 1112"/>
                <a:gd name="T73" fmla="*/ 263 h 1883"/>
                <a:gd name="T74" fmla="*/ 702 w 1112"/>
                <a:gd name="T75" fmla="*/ 244 h 1883"/>
                <a:gd name="T76" fmla="*/ 673 w 1112"/>
                <a:gd name="T77" fmla="*/ 156 h 1883"/>
                <a:gd name="T78" fmla="*/ 585 w 1112"/>
                <a:gd name="T79" fmla="*/ 175 h 1883"/>
                <a:gd name="T80" fmla="*/ 565 w 1112"/>
                <a:gd name="T81" fmla="*/ 78 h 1883"/>
                <a:gd name="T82" fmla="*/ 400 w 1112"/>
                <a:gd name="T83" fmla="*/ 48 h 1883"/>
                <a:gd name="T84" fmla="*/ 361 w 1112"/>
                <a:gd name="T85" fmla="*/ 87 h 1883"/>
                <a:gd name="T86" fmla="*/ 253 w 1112"/>
                <a:gd name="T87" fmla="*/ 127 h 1883"/>
                <a:gd name="T88" fmla="*/ 205 w 1112"/>
                <a:gd name="T89" fmla="*/ 195 h 1883"/>
                <a:gd name="T90" fmla="*/ 185 w 1112"/>
                <a:gd name="T91" fmla="*/ 361 h 1883"/>
                <a:gd name="T92" fmla="*/ 244 w 1112"/>
                <a:gd name="T93" fmla="*/ 517 h 1883"/>
                <a:gd name="T94" fmla="*/ 146 w 1112"/>
                <a:gd name="T95" fmla="*/ 595 h 1883"/>
                <a:gd name="T96" fmla="*/ 48 w 1112"/>
                <a:gd name="T97" fmla="*/ 653 h 1883"/>
                <a:gd name="T98" fmla="*/ 19 w 1112"/>
                <a:gd name="T99" fmla="*/ 770 h 1883"/>
                <a:gd name="T100" fmla="*/ 29 w 1112"/>
                <a:gd name="T101" fmla="*/ 829 h 1883"/>
                <a:gd name="T102" fmla="*/ 87 w 1112"/>
                <a:gd name="T103" fmla="*/ 946 h 1883"/>
                <a:gd name="T104" fmla="*/ 87 w 1112"/>
                <a:gd name="T105" fmla="*/ 1073 h 1883"/>
                <a:gd name="T106" fmla="*/ 224 w 1112"/>
                <a:gd name="T107" fmla="*/ 1073 h 1883"/>
                <a:gd name="T108" fmla="*/ 185 w 1112"/>
                <a:gd name="T109" fmla="*/ 1151 h 1883"/>
                <a:gd name="T110" fmla="*/ 185 w 1112"/>
                <a:gd name="T111" fmla="*/ 1268 h 1883"/>
                <a:gd name="T112" fmla="*/ 283 w 1112"/>
                <a:gd name="T113" fmla="*/ 1307 h 1883"/>
                <a:gd name="T114" fmla="*/ 380 w 1112"/>
                <a:gd name="T115" fmla="*/ 1219 h 1883"/>
                <a:gd name="T116" fmla="*/ 468 w 1112"/>
                <a:gd name="T117" fmla="*/ 1239 h 1883"/>
                <a:gd name="T118" fmla="*/ 400 w 1112"/>
                <a:gd name="T119" fmla="*/ 1307 h 1883"/>
                <a:gd name="T120" fmla="*/ 390 w 1112"/>
                <a:gd name="T121" fmla="*/ 1405 h 1883"/>
                <a:gd name="T122" fmla="*/ 341 w 1112"/>
                <a:gd name="T123" fmla="*/ 1483 h 1883"/>
                <a:gd name="T124" fmla="*/ 331 w 1112"/>
                <a:gd name="T125" fmla="*/ 1590 h 1883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12"/>
                <a:gd name="T190" fmla="*/ 0 h 1883"/>
                <a:gd name="T191" fmla="*/ 1112 w 1112"/>
                <a:gd name="T192" fmla="*/ 1883 h 1883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12" h="1883">
                  <a:moveTo>
                    <a:pt x="331" y="1590"/>
                  </a:moveTo>
                  <a:lnTo>
                    <a:pt x="361" y="1590"/>
                  </a:lnTo>
                  <a:lnTo>
                    <a:pt x="361" y="1600"/>
                  </a:lnTo>
                  <a:lnTo>
                    <a:pt x="370" y="1619"/>
                  </a:lnTo>
                  <a:lnTo>
                    <a:pt x="400" y="1610"/>
                  </a:lnTo>
                  <a:lnTo>
                    <a:pt x="419" y="1619"/>
                  </a:lnTo>
                  <a:lnTo>
                    <a:pt x="419" y="1629"/>
                  </a:lnTo>
                  <a:lnTo>
                    <a:pt x="419" y="1639"/>
                  </a:lnTo>
                  <a:lnTo>
                    <a:pt x="439" y="1649"/>
                  </a:lnTo>
                  <a:lnTo>
                    <a:pt x="448" y="1658"/>
                  </a:lnTo>
                  <a:lnTo>
                    <a:pt x="439" y="1678"/>
                  </a:lnTo>
                  <a:lnTo>
                    <a:pt x="448" y="1688"/>
                  </a:lnTo>
                  <a:lnTo>
                    <a:pt x="458" y="1707"/>
                  </a:lnTo>
                  <a:lnTo>
                    <a:pt x="458" y="1727"/>
                  </a:lnTo>
                  <a:lnTo>
                    <a:pt x="478" y="1717"/>
                  </a:lnTo>
                  <a:lnTo>
                    <a:pt x="478" y="1707"/>
                  </a:lnTo>
                  <a:lnTo>
                    <a:pt x="507" y="1697"/>
                  </a:lnTo>
                  <a:lnTo>
                    <a:pt x="507" y="1678"/>
                  </a:lnTo>
                  <a:lnTo>
                    <a:pt x="526" y="1678"/>
                  </a:lnTo>
                  <a:lnTo>
                    <a:pt x="526" y="1688"/>
                  </a:lnTo>
                  <a:lnTo>
                    <a:pt x="536" y="1697"/>
                  </a:lnTo>
                  <a:lnTo>
                    <a:pt x="546" y="1678"/>
                  </a:lnTo>
                  <a:lnTo>
                    <a:pt x="565" y="1678"/>
                  </a:lnTo>
                  <a:lnTo>
                    <a:pt x="575" y="1668"/>
                  </a:lnTo>
                  <a:lnTo>
                    <a:pt x="595" y="1678"/>
                  </a:lnTo>
                  <a:lnTo>
                    <a:pt x="604" y="1678"/>
                  </a:lnTo>
                  <a:lnTo>
                    <a:pt x="614" y="1688"/>
                  </a:lnTo>
                  <a:lnTo>
                    <a:pt x="624" y="1688"/>
                  </a:lnTo>
                  <a:lnTo>
                    <a:pt x="643" y="1688"/>
                  </a:lnTo>
                  <a:lnTo>
                    <a:pt x="673" y="1688"/>
                  </a:lnTo>
                  <a:lnTo>
                    <a:pt x="682" y="1688"/>
                  </a:lnTo>
                  <a:lnTo>
                    <a:pt x="702" y="1678"/>
                  </a:lnTo>
                  <a:lnTo>
                    <a:pt x="702" y="1668"/>
                  </a:lnTo>
                  <a:lnTo>
                    <a:pt x="712" y="1668"/>
                  </a:lnTo>
                  <a:lnTo>
                    <a:pt x="721" y="1668"/>
                  </a:lnTo>
                  <a:lnTo>
                    <a:pt x="741" y="1658"/>
                  </a:lnTo>
                  <a:lnTo>
                    <a:pt x="751" y="1658"/>
                  </a:lnTo>
                  <a:lnTo>
                    <a:pt x="760" y="1668"/>
                  </a:lnTo>
                  <a:lnTo>
                    <a:pt x="760" y="1688"/>
                  </a:lnTo>
                  <a:lnTo>
                    <a:pt x="741" y="1688"/>
                  </a:lnTo>
                  <a:lnTo>
                    <a:pt x="731" y="1688"/>
                  </a:lnTo>
                  <a:lnTo>
                    <a:pt x="731" y="1697"/>
                  </a:lnTo>
                  <a:lnTo>
                    <a:pt x="760" y="1697"/>
                  </a:lnTo>
                  <a:lnTo>
                    <a:pt x="770" y="1727"/>
                  </a:lnTo>
                  <a:lnTo>
                    <a:pt x="780" y="1736"/>
                  </a:lnTo>
                  <a:lnTo>
                    <a:pt x="790" y="1746"/>
                  </a:lnTo>
                  <a:lnTo>
                    <a:pt x="790" y="1756"/>
                  </a:lnTo>
                  <a:lnTo>
                    <a:pt x="790" y="1775"/>
                  </a:lnTo>
                  <a:lnTo>
                    <a:pt x="790" y="1795"/>
                  </a:lnTo>
                  <a:lnTo>
                    <a:pt x="780" y="1805"/>
                  </a:lnTo>
                  <a:lnTo>
                    <a:pt x="780" y="1824"/>
                  </a:lnTo>
                  <a:lnTo>
                    <a:pt x="790" y="1834"/>
                  </a:lnTo>
                  <a:lnTo>
                    <a:pt x="790" y="1853"/>
                  </a:lnTo>
                  <a:lnTo>
                    <a:pt x="800" y="1873"/>
                  </a:lnTo>
                  <a:lnTo>
                    <a:pt x="800" y="1883"/>
                  </a:lnTo>
                  <a:lnTo>
                    <a:pt x="809" y="1863"/>
                  </a:lnTo>
                  <a:lnTo>
                    <a:pt x="829" y="1863"/>
                  </a:lnTo>
                  <a:lnTo>
                    <a:pt x="819" y="1844"/>
                  </a:lnTo>
                  <a:lnTo>
                    <a:pt x="829" y="1834"/>
                  </a:lnTo>
                  <a:lnTo>
                    <a:pt x="819" y="1814"/>
                  </a:lnTo>
                  <a:lnTo>
                    <a:pt x="829" y="1805"/>
                  </a:lnTo>
                  <a:lnTo>
                    <a:pt x="839" y="1805"/>
                  </a:lnTo>
                  <a:lnTo>
                    <a:pt x="848" y="1795"/>
                  </a:lnTo>
                  <a:lnTo>
                    <a:pt x="858" y="1795"/>
                  </a:lnTo>
                  <a:lnTo>
                    <a:pt x="868" y="1805"/>
                  </a:lnTo>
                  <a:lnTo>
                    <a:pt x="878" y="1805"/>
                  </a:lnTo>
                  <a:lnTo>
                    <a:pt x="887" y="1805"/>
                  </a:lnTo>
                  <a:lnTo>
                    <a:pt x="887" y="1795"/>
                  </a:lnTo>
                  <a:lnTo>
                    <a:pt x="897" y="1795"/>
                  </a:lnTo>
                  <a:lnTo>
                    <a:pt x="917" y="1795"/>
                  </a:lnTo>
                  <a:lnTo>
                    <a:pt x="926" y="1785"/>
                  </a:lnTo>
                  <a:lnTo>
                    <a:pt x="946" y="1785"/>
                  </a:lnTo>
                  <a:lnTo>
                    <a:pt x="956" y="1775"/>
                  </a:lnTo>
                  <a:lnTo>
                    <a:pt x="975" y="1775"/>
                  </a:lnTo>
                  <a:lnTo>
                    <a:pt x="975" y="1756"/>
                  </a:lnTo>
                  <a:lnTo>
                    <a:pt x="975" y="1746"/>
                  </a:lnTo>
                  <a:lnTo>
                    <a:pt x="965" y="1727"/>
                  </a:lnTo>
                  <a:lnTo>
                    <a:pt x="965" y="1717"/>
                  </a:lnTo>
                  <a:lnTo>
                    <a:pt x="975" y="1697"/>
                  </a:lnTo>
                  <a:lnTo>
                    <a:pt x="1014" y="1688"/>
                  </a:lnTo>
                  <a:lnTo>
                    <a:pt x="1024" y="1668"/>
                  </a:lnTo>
                  <a:lnTo>
                    <a:pt x="1024" y="1649"/>
                  </a:lnTo>
                  <a:lnTo>
                    <a:pt x="1014" y="1629"/>
                  </a:lnTo>
                  <a:lnTo>
                    <a:pt x="995" y="1629"/>
                  </a:lnTo>
                  <a:lnTo>
                    <a:pt x="975" y="1639"/>
                  </a:lnTo>
                  <a:lnTo>
                    <a:pt x="975" y="1619"/>
                  </a:lnTo>
                  <a:lnTo>
                    <a:pt x="956" y="1619"/>
                  </a:lnTo>
                  <a:lnTo>
                    <a:pt x="946" y="1600"/>
                  </a:lnTo>
                  <a:lnTo>
                    <a:pt x="956" y="1590"/>
                  </a:lnTo>
                  <a:lnTo>
                    <a:pt x="975" y="1561"/>
                  </a:lnTo>
                  <a:lnTo>
                    <a:pt x="975" y="1541"/>
                  </a:lnTo>
                  <a:lnTo>
                    <a:pt x="985" y="1541"/>
                  </a:lnTo>
                  <a:lnTo>
                    <a:pt x="1004" y="1551"/>
                  </a:lnTo>
                  <a:lnTo>
                    <a:pt x="1024" y="1561"/>
                  </a:lnTo>
                  <a:lnTo>
                    <a:pt x="1034" y="1551"/>
                  </a:lnTo>
                  <a:lnTo>
                    <a:pt x="1034" y="1571"/>
                  </a:lnTo>
                  <a:lnTo>
                    <a:pt x="1034" y="1580"/>
                  </a:lnTo>
                  <a:lnTo>
                    <a:pt x="1043" y="1580"/>
                  </a:lnTo>
                  <a:lnTo>
                    <a:pt x="1063" y="1590"/>
                  </a:lnTo>
                  <a:lnTo>
                    <a:pt x="1073" y="1590"/>
                  </a:lnTo>
                  <a:lnTo>
                    <a:pt x="1053" y="1610"/>
                  </a:lnTo>
                  <a:lnTo>
                    <a:pt x="1073" y="1629"/>
                  </a:lnTo>
                  <a:lnTo>
                    <a:pt x="1082" y="1619"/>
                  </a:lnTo>
                  <a:lnTo>
                    <a:pt x="1092" y="1619"/>
                  </a:lnTo>
                  <a:lnTo>
                    <a:pt x="1112" y="1629"/>
                  </a:lnTo>
                  <a:lnTo>
                    <a:pt x="1112" y="1619"/>
                  </a:lnTo>
                  <a:lnTo>
                    <a:pt x="1102" y="1600"/>
                  </a:lnTo>
                  <a:lnTo>
                    <a:pt x="1102" y="1571"/>
                  </a:lnTo>
                  <a:lnTo>
                    <a:pt x="1102" y="1551"/>
                  </a:lnTo>
                  <a:lnTo>
                    <a:pt x="1112" y="1502"/>
                  </a:lnTo>
                  <a:lnTo>
                    <a:pt x="1112" y="1473"/>
                  </a:lnTo>
                  <a:lnTo>
                    <a:pt x="1112" y="1453"/>
                  </a:lnTo>
                  <a:lnTo>
                    <a:pt x="1102" y="1453"/>
                  </a:lnTo>
                  <a:lnTo>
                    <a:pt x="1102" y="1424"/>
                  </a:lnTo>
                  <a:lnTo>
                    <a:pt x="1092" y="1405"/>
                  </a:lnTo>
                  <a:lnTo>
                    <a:pt x="1082" y="1405"/>
                  </a:lnTo>
                  <a:lnTo>
                    <a:pt x="1082" y="1395"/>
                  </a:lnTo>
                  <a:lnTo>
                    <a:pt x="1073" y="1385"/>
                  </a:lnTo>
                  <a:lnTo>
                    <a:pt x="1082" y="1375"/>
                  </a:lnTo>
                  <a:lnTo>
                    <a:pt x="1073" y="1366"/>
                  </a:lnTo>
                  <a:lnTo>
                    <a:pt x="1063" y="1346"/>
                  </a:lnTo>
                  <a:lnTo>
                    <a:pt x="1053" y="1336"/>
                  </a:lnTo>
                  <a:lnTo>
                    <a:pt x="1053" y="1327"/>
                  </a:lnTo>
                  <a:lnTo>
                    <a:pt x="1034" y="1317"/>
                  </a:lnTo>
                  <a:lnTo>
                    <a:pt x="1034" y="1288"/>
                  </a:lnTo>
                  <a:lnTo>
                    <a:pt x="1024" y="1297"/>
                  </a:lnTo>
                  <a:lnTo>
                    <a:pt x="1014" y="1288"/>
                  </a:lnTo>
                  <a:lnTo>
                    <a:pt x="1014" y="1278"/>
                  </a:lnTo>
                  <a:lnTo>
                    <a:pt x="995" y="1258"/>
                  </a:lnTo>
                  <a:lnTo>
                    <a:pt x="995" y="1249"/>
                  </a:lnTo>
                  <a:lnTo>
                    <a:pt x="975" y="1229"/>
                  </a:lnTo>
                  <a:lnTo>
                    <a:pt x="975" y="1210"/>
                  </a:lnTo>
                  <a:lnTo>
                    <a:pt x="975" y="1190"/>
                  </a:lnTo>
                  <a:lnTo>
                    <a:pt x="965" y="1180"/>
                  </a:lnTo>
                  <a:lnTo>
                    <a:pt x="965" y="1170"/>
                  </a:lnTo>
                  <a:lnTo>
                    <a:pt x="965" y="1161"/>
                  </a:lnTo>
                  <a:lnTo>
                    <a:pt x="956" y="1151"/>
                  </a:lnTo>
                  <a:lnTo>
                    <a:pt x="956" y="1131"/>
                  </a:lnTo>
                  <a:lnTo>
                    <a:pt x="956" y="1112"/>
                  </a:lnTo>
                  <a:lnTo>
                    <a:pt x="956" y="1092"/>
                  </a:lnTo>
                  <a:lnTo>
                    <a:pt x="965" y="1092"/>
                  </a:lnTo>
                  <a:lnTo>
                    <a:pt x="956" y="1083"/>
                  </a:lnTo>
                  <a:lnTo>
                    <a:pt x="946" y="1073"/>
                  </a:lnTo>
                  <a:lnTo>
                    <a:pt x="946" y="1063"/>
                  </a:lnTo>
                  <a:lnTo>
                    <a:pt x="926" y="1063"/>
                  </a:lnTo>
                  <a:lnTo>
                    <a:pt x="907" y="1053"/>
                  </a:lnTo>
                  <a:lnTo>
                    <a:pt x="907" y="1034"/>
                  </a:lnTo>
                  <a:lnTo>
                    <a:pt x="897" y="1024"/>
                  </a:lnTo>
                  <a:lnTo>
                    <a:pt x="887" y="1014"/>
                  </a:lnTo>
                  <a:lnTo>
                    <a:pt x="878" y="1005"/>
                  </a:lnTo>
                  <a:lnTo>
                    <a:pt x="868" y="1005"/>
                  </a:lnTo>
                  <a:lnTo>
                    <a:pt x="848" y="1005"/>
                  </a:lnTo>
                  <a:lnTo>
                    <a:pt x="878" y="995"/>
                  </a:lnTo>
                  <a:lnTo>
                    <a:pt x="878" y="975"/>
                  </a:lnTo>
                  <a:lnTo>
                    <a:pt x="868" y="966"/>
                  </a:lnTo>
                  <a:lnTo>
                    <a:pt x="848" y="966"/>
                  </a:lnTo>
                  <a:lnTo>
                    <a:pt x="829" y="966"/>
                  </a:lnTo>
                  <a:lnTo>
                    <a:pt x="829" y="956"/>
                  </a:lnTo>
                  <a:lnTo>
                    <a:pt x="800" y="956"/>
                  </a:lnTo>
                  <a:lnTo>
                    <a:pt x="780" y="956"/>
                  </a:lnTo>
                  <a:lnTo>
                    <a:pt x="770" y="956"/>
                  </a:lnTo>
                  <a:lnTo>
                    <a:pt x="751" y="936"/>
                  </a:lnTo>
                  <a:lnTo>
                    <a:pt x="741" y="936"/>
                  </a:lnTo>
                  <a:lnTo>
                    <a:pt x="721" y="936"/>
                  </a:lnTo>
                  <a:lnTo>
                    <a:pt x="712" y="936"/>
                  </a:lnTo>
                  <a:lnTo>
                    <a:pt x="702" y="927"/>
                  </a:lnTo>
                  <a:lnTo>
                    <a:pt x="682" y="956"/>
                  </a:lnTo>
                  <a:lnTo>
                    <a:pt x="673" y="966"/>
                  </a:lnTo>
                  <a:lnTo>
                    <a:pt x="643" y="966"/>
                  </a:lnTo>
                  <a:lnTo>
                    <a:pt x="653" y="975"/>
                  </a:lnTo>
                  <a:lnTo>
                    <a:pt x="653" y="985"/>
                  </a:lnTo>
                  <a:lnTo>
                    <a:pt x="663" y="995"/>
                  </a:lnTo>
                  <a:lnTo>
                    <a:pt x="673" y="1005"/>
                  </a:lnTo>
                  <a:lnTo>
                    <a:pt x="673" y="1014"/>
                  </a:lnTo>
                  <a:lnTo>
                    <a:pt x="673" y="1024"/>
                  </a:lnTo>
                  <a:lnTo>
                    <a:pt x="682" y="1034"/>
                  </a:lnTo>
                  <a:lnTo>
                    <a:pt x="673" y="1053"/>
                  </a:lnTo>
                  <a:lnTo>
                    <a:pt x="663" y="1044"/>
                  </a:lnTo>
                  <a:lnTo>
                    <a:pt x="663" y="1024"/>
                  </a:lnTo>
                  <a:lnTo>
                    <a:pt x="663" y="1014"/>
                  </a:lnTo>
                  <a:lnTo>
                    <a:pt x="653" y="1005"/>
                  </a:lnTo>
                  <a:lnTo>
                    <a:pt x="643" y="1005"/>
                  </a:lnTo>
                  <a:lnTo>
                    <a:pt x="643" y="1024"/>
                  </a:lnTo>
                  <a:lnTo>
                    <a:pt x="653" y="1034"/>
                  </a:lnTo>
                  <a:lnTo>
                    <a:pt x="643" y="1044"/>
                  </a:lnTo>
                  <a:lnTo>
                    <a:pt x="643" y="1063"/>
                  </a:lnTo>
                  <a:lnTo>
                    <a:pt x="634" y="1073"/>
                  </a:lnTo>
                  <a:lnTo>
                    <a:pt x="624" y="1083"/>
                  </a:lnTo>
                  <a:lnTo>
                    <a:pt x="604" y="1092"/>
                  </a:lnTo>
                  <a:lnTo>
                    <a:pt x="604" y="1073"/>
                  </a:lnTo>
                  <a:lnTo>
                    <a:pt x="614" y="1073"/>
                  </a:lnTo>
                  <a:lnTo>
                    <a:pt x="614" y="1044"/>
                  </a:lnTo>
                  <a:lnTo>
                    <a:pt x="624" y="1034"/>
                  </a:lnTo>
                  <a:lnTo>
                    <a:pt x="604" y="1034"/>
                  </a:lnTo>
                  <a:lnTo>
                    <a:pt x="595" y="1034"/>
                  </a:lnTo>
                  <a:lnTo>
                    <a:pt x="575" y="1034"/>
                  </a:lnTo>
                  <a:lnTo>
                    <a:pt x="585" y="1024"/>
                  </a:lnTo>
                  <a:lnTo>
                    <a:pt x="585" y="1014"/>
                  </a:lnTo>
                  <a:lnTo>
                    <a:pt x="585" y="1005"/>
                  </a:lnTo>
                  <a:lnTo>
                    <a:pt x="575" y="1014"/>
                  </a:lnTo>
                  <a:lnTo>
                    <a:pt x="565" y="1024"/>
                  </a:lnTo>
                  <a:lnTo>
                    <a:pt x="556" y="1034"/>
                  </a:lnTo>
                  <a:lnTo>
                    <a:pt x="575" y="1053"/>
                  </a:lnTo>
                  <a:lnTo>
                    <a:pt x="575" y="1063"/>
                  </a:lnTo>
                  <a:lnTo>
                    <a:pt x="575" y="1073"/>
                  </a:lnTo>
                  <a:lnTo>
                    <a:pt x="565" y="1073"/>
                  </a:lnTo>
                  <a:lnTo>
                    <a:pt x="565" y="1083"/>
                  </a:lnTo>
                  <a:lnTo>
                    <a:pt x="556" y="1083"/>
                  </a:lnTo>
                  <a:lnTo>
                    <a:pt x="546" y="1073"/>
                  </a:lnTo>
                  <a:lnTo>
                    <a:pt x="546" y="1063"/>
                  </a:lnTo>
                  <a:lnTo>
                    <a:pt x="546" y="1053"/>
                  </a:lnTo>
                  <a:lnTo>
                    <a:pt x="536" y="1044"/>
                  </a:lnTo>
                  <a:lnTo>
                    <a:pt x="526" y="1034"/>
                  </a:lnTo>
                  <a:lnTo>
                    <a:pt x="526" y="1014"/>
                  </a:lnTo>
                  <a:lnTo>
                    <a:pt x="517" y="1005"/>
                  </a:lnTo>
                  <a:lnTo>
                    <a:pt x="507" y="1005"/>
                  </a:lnTo>
                  <a:lnTo>
                    <a:pt x="497" y="1005"/>
                  </a:lnTo>
                  <a:lnTo>
                    <a:pt x="487" y="1024"/>
                  </a:lnTo>
                  <a:lnTo>
                    <a:pt x="478" y="1024"/>
                  </a:lnTo>
                  <a:lnTo>
                    <a:pt x="458" y="1044"/>
                  </a:lnTo>
                  <a:lnTo>
                    <a:pt x="439" y="1044"/>
                  </a:lnTo>
                  <a:lnTo>
                    <a:pt x="429" y="1044"/>
                  </a:lnTo>
                  <a:lnTo>
                    <a:pt x="419" y="1044"/>
                  </a:lnTo>
                  <a:lnTo>
                    <a:pt x="409" y="1034"/>
                  </a:lnTo>
                  <a:lnTo>
                    <a:pt x="400" y="1034"/>
                  </a:lnTo>
                  <a:lnTo>
                    <a:pt x="400" y="1014"/>
                  </a:lnTo>
                  <a:lnTo>
                    <a:pt x="409" y="1005"/>
                  </a:lnTo>
                  <a:lnTo>
                    <a:pt x="419" y="995"/>
                  </a:lnTo>
                  <a:lnTo>
                    <a:pt x="429" y="985"/>
                  </a:lnTo>
                  <a:lnTo>
                    <a:pt x="429" y="975"/>
                  </a:lnTo>
                  <a:lnTo>
                    <a:pt x="439" y="956"/>
                  </a:lnTo>
                  <a:lnTo>
                    <a:pt x="429" y="936"/>
                  </a:lnTo>
                  <a:lnTo>
                    <a:pt x="429" y="927"/>
                  </a:lnTo>
                  <a:lnTo>
                    <a:pt x="439" y="917"/>
                  </a:lnTo>
                  <a:lnTo>
                    <a:pt x="439" y="907"/>
                  </a:lnTo>
                  <a:lnTo>
                    <a:pt x="448" y="907"/>
                  </a:lnTo>
                  <a:lnTo>
                    <a:pt x="448" y="897"/>
                  </a:lnTo>
                  <a:lnTo>
                    <a:pt x="448" y="888"/>
                  </a:lnTo>
                  <a:lnTo>
                    <a:pt x="458" y="868"/>
                  </a:lnTo>
                  <a:lnTo>
                    <a:pt x="458" y="858"/>
                  </a:lnTo>
                  <a:lnTo>
                    <a:pt x="468" y="849"/>
                  </a:lnTo>
                  <a:lnTo>
                    <a:pt x="468" y="839"/>
                  </a:lnTo>
                  <a:lnTo>
                    <a:pt x="478" y="829"/>
                  </a:lnTo>
                  <a:lnTo>
                    <a:pt x="478" y="809"/>
                  </a:lnTo>
                  <a:lnTo>
                    <a:pt x="468" y="800"/>
                  </a:lnTo>
                  <a:lnTo>
                    <a:pt x="478" y="790"/>
                  </a:lnTo>
                  <a:lnTo>
                    <a:pt x="478" y="770"/>
                  </a:lnTo>
                  <a:lnTo>
                    <a:pt x="468" y="770"/>
                  </a:lnTo>
                  <a:lnTo>
                    <a:pt x="478" y="751"/>
                  </a:lnTo>
                  <a:lnTo>
                    <a:pt x="478" y="741"/>
                  </a:lnTo>
                  <a:lnTo>
                    <a:pt x="468" y="712"/>
                  </a:lnTo>
                  <a:lnTo>
                    <a:pt x="478" y="702"/>
                  </a:lnTo>
                  <a:lnTo>
                    <a:pt x="478" y="692"/>
                  </a:lnTo>
                  <a:lnTo>
                    <a:pt x="478" y="683"/>
                  </a:lnTo>
                  <a:lnTo>
                    <a:pt x="478" y="673"/>
                  </a:lnTo>
                  <a:lnTo>
                    <a:pt x="487" y="653"/>
                  </a:lnTo>
                  <a:lnTo>
                    <a:pt x="487" y="634"/>
                  </a:lnTo>
                  <a:lnTo>
                    <a:pt x="497" y="634"/>
                  </a:lnTo>
                  <a:lnTo>
                    <a:pt x="497" y="614"/>
                  </a:lnTo>
                  <a:lnTo>
                    <a:pt x="497" y="595"/>
                  </a:lnTo>
                  <a:lnTo>
                    <a:pt x="507" y="585"/>
                  </a:lnTo>
                  <a:lnTo>
                    <a:pt x="517" y="566"/>
                  </a:lnTo>
                  <a:lnTo>
                    <a:pt x="507" y="556"/>
                  </a:lnTo>
                  <a:lnTo>
                    <a:pt x="497" y="546"/>
                  </a:lnTo>
                  <a:lnTo>
                    <a:pt x="497" y="527"/>
                  </a:lnTo>
                  <a:lnTo>
                    <a:pt x="497" y="497"/>
                  </a:lnTo>
                  <a:lnTo>
                    <a:pt x="507" y="488"/>
                  </a:lnTo>
                  <a:lnTo>
                    <a:pt x="517" y="458"/>
                  </a:lnTo>
                  <a:lnTo>
                    <a:pt x="517" y="448"/>
                  </a:lnTo>
                  <a:lnTo>
                    <a:pt x="517" y="439"/>
                  </a:lnTo>
                  <a:lnTo>
                    <a:pt x="507" y="419"/>
                  </a:lnTo>
                  <a:lnTo>
                    <a:pt x="507" y="400"/>
                  </a:lnTo>
                  <a:lnTo>
                    <a:pt x="517" y="380"/>
                  </a:lnTo>
                  <a:lnTo>
                    <a:pt x="526" y="361"/>
                  </a:lnTo>
                  <a:lnTo>
                    <a:pt x="536" y="331"/>
                  </a:lnTo>
                  <a:lnTo>
                    <a:pt x="556" y="331"/>
                  </a:lnTo>
                  <a:lnTo>
                    <a:pt x="565" y="322"/>
                  </a:lnTo>
                  <a:lnTo>
                    <a:pt x="575" y="302"/>
                  </a:lnTo>
                  <a:lnTo>
                    <a:pt x="595" y="292"/>
                  </a:lnTo>
                  <a:lnTo>
                    <a:pt x="614" y="283"/>
                  </a:lnTo>
                  <a:lnTo>
                    <a:pt x="624" y="263"/>
                  </a:lnTo>
                  <a:lnTo>
                    <a:pt x="643" y="253"/>
                  </a:lnTo>
                  <a:lnTo>
                    <a:pt x="653" y="244"/>
                  </a:lnTo>
                  <a:lnTo>
                    <a:pt x="663" y="244"/>
                  </a:lnTo>
                  <a:lnTo>
                    <a:pt x="673" y="253"/>
                  </a:lnTo>
                  <a:lnTo>
                    <a:pt x="692" y="263"/>
                  </a:lnTo>
                  <a:lnTo>
                    <a:pt x="692" y="244"/>
                  </a:lnTo>
                  <a:lnTo>
                    <a:pt x="702" y="244"/>
                  </a:lnTo>
                  <a:lnTo>
                    <a:pt x="682" y="234"/>
                  </a:lnTo>
                  <a:lnTo>
                    <a:pt x="682" y="214"/>
                  </a:lnTo>
                  <a:lnTo>
                    <a:pt x="692" y="214"/>
                  </a:lnTo>
                  <a:lnTo>
                    <a:pt x="702" y="205"/>
                  </a:lnTo>
                  <a:lnTo>
                    <a:pt x="702" y="195"/>
                  </a:lnTo>
                  <a:lnTo>
                    <a:pt x="692" y="175"/>
                  </a:lnTo>
                  <a:lnTo>
                    <a:pt x="682" y="166"/>
                  </a:lnTo>
                  <a:lnTo>
                    <a:pt x="673" y="156"/>
                  </a:lnTo>
                  <a:lnTo>
                    <a:pt x="663" y="156"/>
                  </a:lnTo>
                  <a:lnTo>
                    <a:pt x="643" y="156"/>
                  </a:lnTo>
                  <a:lnTo>
                    <a:pt x="634" y="156"/>
                  </a:lnTo>
                  <a:lnTo>
                    <a:pt x="624" y="146"/>
                  </a:lnTo>
                  <a:lnTo>
                    <a:pt x="614" y="156"/>
                  </a:lnTo>
                  <a:lnTo>
                    <a:pt x="614" y="166"/>
                  </a:lnTo>
                  <a:lnTo>
                    <a:pt x="604" y="166"/>
                  </a:lnTo>
                  <a:lnTo>
                    <a:pt x="585" y="175"/>
                  </a:lnTo>
                  <a:lnTo>
                    <a:pt x="575" y="175"/>
                  </a:lnTo>
                  <a:lnTo>
                    <a:pt x="575" y="156"/>
                  </a:lnTo>
                  <a:lnTo>
                    <a:pt x="565" y="156"/>
                  </a:lnTo>
                  <a:lnTo>
                    <a:pt x="565" y="146"/>
                  </a:lnTo>
                  <a:lnTo>
                    <a:pt x="565" y="117"/>
                  </a:lnTo>
                  <a:lnTo>
                    <a:pt x="575" y="107"/>
                  </a:lnTo>
                  <a:lnTo>
                    <a:pt x="575" y="97"/>
                  </a:lnTo>
                  <a:lnTo>
                    <a:pt x="565" y="78"/>
                  </a:lnTo>
                  <a:lnTo>
                    <a:pt x="575" y="58"/>
                  </a:lnTo>
                  <a:lnTo>
                    <a:pt x="546" y="39"/>
                  </a:lnTo>
                  <a:lnTo>
                    <a:pt x="517" y="19"/>
                  </a:lnTo>
                  <a:lnTo>
                    <a:pt x="458" y="0"/>
                  </a:lnTo>
                  <a:lnTo>
                    <a:pt x="448" y="19"/>
                  </a:lnTo>
                  <a:lnTo>
                    <a:pt x="419" y="19"/>
                  </a:lnTo>
                  <a:lnTo>
                    <a:pt x="409" y="29"/>
                  </a:lnTo>
                  <a:lnTo>
                    <a:pt x="400" y="48"/>
                  </a:lnTo>
                  <a:lnTo>
                    <a:pt x="400" y="58"/>
                  </a:lnTo>
                  <a:lnTo>
                    <a:pt x="400" y="78"/>
                  </a:lnTo>
                  <a:lnTo>
                    <a:pt x="390" y="78"/>
                  </a:lnTo>
                  <a:lnTo>
                    <a:pt x="380" y="78"/>
                  </a:lnTo>
                  <a:lnTo>
                    <a:pt x="370" y="58"/>
                  </a:lnTo>
                  <a:lnTo>
                    <a:pt x="370" y="68"/>
                  </a:lnTo>
                  <a:lnTo>
                    <a:pt x="370" y="78"/>
                  </a:lnTo>
                  <a:lnTo>
                    <a:pt x="361" y="87"/>
                  </a:lnTo>
                  <a:lnTo>
                    <a:pt x="351" y="78"/>
                  </a:lnTo>
                  <a:lnTo>
                    <a:pt x="322" y="87"/>
                  </a:lnTo>
                  <a:lnTo>
                    <a:pt x="341" y="107"/>
                  </a:lnTo>
                  <a:lnTo>
                    <a:pt x="322" y="117"/>
                  </a:lnTo>
                  <a:lnTo>
                    <a:pt x="312" y="127"/>
                  </a:lnTo>
                  <a:lnTo>
                    <a:pt x="292" y="117"/>
                  </a:lnTo>
                  <a:lnTo>
                    <a:pt x="273" y="127"/>
                  </a:lnTo>
                  <a:lnTo>
                    <a:pt x="253" y="127"/>
                  </a:lnTo>
                  <a:lnTo>
                    <a:pt x="234" y="117"/>
                  </a:lnTo>
                  <a:lnTo>
                    <a:pt x="224" y="136"/>
                  </a:lnTo>
                  <a:lnTo>
                    <a:pt x="214" y="127"/>
                  </a:lnTo>
                  <a:lnTo>
                    <a:pt x="205" y="117"/>
                  </a:lnTo>
                  <a:lnTo>
                    <a:pt x="195" y="127"/>
                  </a:lnTo>
                  <a:lnTo>
                    <a:pt x="205" y="136"/>
                  </a:lnTo>
                  <a:lnTo>
                    <a:pt x="195" y="156"/>
                  </a:lnTo>
                  <a:lnTo>
                    <a:pt x="205" y="195"/>
                  </a:lnTo>
                  <a:lnTo>
                    <a:pt x="214" y="205"/>
                  </a:lnTo>
                  <a:lnTo>
                    <a:pt x="214" y="234"/>
                  </a:lnTo>
                  <a:lnTo>
                    <a:pt x="205" y="253"/>
                  </a:lnTo>
                  <a:lnTo>
                    <a:pt x="195" y="273"/>
                  </a:lnTo>
                  <a:lnTo>
                    <a:pt x="195" y="292"/>
                  </a:lnTo>
                  <a:lnTo>
                    <a:pt x="185" y="302"/>
                  </a:lnTo>
                  <a:lnTo>
                    <a:pt x="185" y="331"/>
                  </a:lnTo>
                  <a:lnTo>
                    <a:pt x="185" y="361"/>
                  </a:lnTo>
                  <a:lnTo>
                    <a:pt x="214" y="380"/>
                  </a:lnTo>
                  <a:lnTo>
                    <a:pt x="224" y="419"/>
                  </a:lnTo>
                  <a:lnTo>
                    <a:pt x="234" y="439"/>
                  </a:lnTo>
                  <a:lnTo>
                    <a:pt x="253" y="439"/>
                  </a:lnTo>
                  <a:lnTo>
                    <a:pt x="253" y="458"/>
                  </a:lnTo>
                  <a:lnTo>
                    <a:pt x="253" y="478"/>
                  </a:lnTo>
                  <a:lnTo>
                    <a:pt x="244" y="478"/>
                  </a:lnTo>
                  <a:lnTo>
                    <a:pt x="244" y="517"/>
                  </a:lnTo>
                  <a:lnTo>
                    <a:pt x="234" y="527"/>
                  </a:lnTo>
                  <a:lnTo>
                    <a:pt x="214" y="546"/>
                  </a:lnTo>
                  <a:lnTo>
                    <a:pt x="195" y="546"/>
                  </a:lnTo>
                  <a:lnTo>
                    <a:pt x="185" y="556"/>
                  </a:lnTo>
                  <a:lnTo>
                    <a:pt x="165" y="556"/>
                  </a:lnTo>
                  <a:lnTo>
                    <a:pt x="156" y="556"/>
                  </a:lnTo>
                  <a:lnTo>
                    <a:pt x="146" y="575"/>
                  </a:lnTo>
                  <a:lnTo>
                    <a:pt x="146" y="595"/>
                  </a:lnTo>
                  <a:lnTo>
                    <a:pt x="146" y="614"/>
                  </a:lnTo>
                  <a:lnTo>
                    <a:pt x="136" y="614"/>
                  </a:lnTo>
                  <a:lnTo>
                    <a:pt x="117" y="624"/>
                  </a:lnTo>
                  <a:lnTo>
                    <a:pt x="107" y="624"/>
                  </a:lnTo>
                  <a:lnTo>
                    <a:pt x="97" y="644"/>
                  </a:lnTo>
                  <a:lnTo>
                    <a:pt x="78" y="634"/>
                  </a:lnTo>
                  <a:lnTo>
                    <a:pt x="68" y="653"/>
                  </a:lnTo>
                  <a:lnTo>
                    <a:pt x="48" y="653"/>
                  </a:lnTo>
                  <a:lnTo>
                    <a:pt x="29" y="653"/>
                  </a:lnTo>
                  <a:lnTo>
                    <a:pt x="19" y="683"/>
                  </a:lnTo>
                  <a:lnTo>
                    <a:pt x="29" y="702"/>
                  </a:lnTo>
                  <a:lnTo>
                    <a:pt x="29" y="712"/>
                  </a:lnTo>
                  <a:lnTo>
                    <a:pt x="19" y="712"/>
                  </a:lnTo>
                  <a:lnTo>
                    <a:pt x="29" y="761"/>
                  </a:lnTo>
                  <a:lnTo>
                    <a:pt x="19" y="770"/>
                  </a:lnTo>
                  <a:lnTo>
                    <a:pt x="29" y="790"/>
                  </a:lnTo>
                  <a:lnTo>
                    <a:pt x="29" y="800"/>
                  </a:lnTo>
                  <a:lnTo>
                    <a:pt x="29" y="809"/>
                  </a:lnTo>
                  <a:lnTo>
                    <a:pt x="9" y="809"/>
                  </a:lnTo>
                  <a:lnTo>
                    <a:pt x="0" y="809"/>
                  </a:lnTo>
                  <a:lnTo>
                    <a:pt x="9" y="819"/>
                  </a:lnTo>
                  <a:lnTo>
                    <a:pt x="29" y="829"/>
                  </a:lnTo>
                  <a:lnTo>
                    <a:pt x="39" y="849"/>
                  </a:lnTo>
                  <a:lnTo>
                    <a:pt x="58" y="849"/>
                  </a:lnTo>
                  <a:lnTo>
                    <a:pt x="48" y="868"/>
                  </a:lnTo>
                  <a:lnTo>
                    <a:pt x="39" y="897"/>
                  </a:lnTo>
                  <a:lnTo>
                    <a:pt x="39" y="917"/>
                  </a:lnTo>
                  <a:lnTo>
                    <a:pt x="58" y="917"/>
                  </a:lnTo>
                  <a:lnTo>
                    <a:pt x="78" y="936"/>
                  </a:lnTo>
                  <a:lnTo>
                    <a:pt x="87" y="946"/>
                  </a:lnTo>
                  <a:lnTo>
                    <a:pt x="87" y="956"/>
                  </a:lnTo>
                  <a:lnTo>
                    <a:pt x="78" y="975"/>
                  </a:lnTo>
                  <a:lnTo>
                    <a:pt x="68" y="985"/>
                  </a:lnTo>
                  <a:lnTo>
                    <a:pt x="68" y="1005"/>
                  </a:lnTo>
                  <a:lnTo>
                    <a:pt x="78" y="1014"/>
                  </a:lnTo>
                  <a:lnTo>
                    <a:pt x="68" y="1034"/>
                  </a:lnTo>
                  <a:lnTo>
                    <a:pt x="68" y="1053"/>
                  </a:lnTo>
                  <a:lnTo>
                    <a:pt x="87" y="1073"/>
                  </a:lnTo>
                  <a:lnTo>
                    <a:pt x="146" y="1053"/>
                  </a:lnTo>
                  <a:lnTo>
                    <a:pt x="165" y="1044"/>
                  </a:lnTo>
                  <a:lnTo>
                    <a:pt x="185" y="1034"/>
                  </a:lnTo>
                  <a:lnTo>
                    <a:pt x="205" y="1044"/>
                  </a:lnTo>
                  <a:lnTo>
                    <a:pt x="234" y="1053"/>
                  </a:lnTo>
                  <a:lnTo>
                    <a:pt x="224" y="1063"/>
                  </a:lnTo>
                  <a:lnTo>
                    <a:pt x="214" y="1063"/>
                  </a:lnTo>
                  <a:lnTo>
                    <a:pt x="224" y="1073"/>
                  </a:lnTo>
                  <a:lnTo>
                    <a:pt x="214" y="1073"/>
                  </a:lnTo>
                  <a:lnTo>
                    <a:pt x="214" y="1083"/>
                  </a:lnTo>
                  <a:lnTo>
                    <a:pt x="224" y="1092"/>
                  </a:lnTo>
                  <a:lnTo>
                    <a:pt x="205" y="1102"/>
                  </a:lnTo>
                  <a:lnTo>
                    <a:pt x="195" y="1122"/>
                  </a:lnTo>
                  <a:lnTo>
                    <a:pt x="185" y="1151"/>
                  </a:lnTo>
                  <a:lnTo>
                    <a:pt x="175" y="1170"/>
                  </a:lnTo>
                  <a:lnTo>
                    <a:pt x="165" y="1190"/>
                  </a:lnTo>
                  <a:lnTo>
                    <a:pt x="175" y="1210"/>
                  </a:lnTo>
                  <a:lnTo>
                    <a:pt x="165" y="1229"/>
                  </a:lnTo>
                  <a:lnTo>
                    <a:pt x="156" y="1258"/>
                  </a:lnTo>
                  <a:lnTo>
                    <a:pt x="165" y="1268"/>
                  </a:lnTo>
                  <a:lnTo>
                    <a:pt x="185" y="1268"/>
                  </a:lnTo>
                  <a:lnTo>
                    <a:pt x="195" y="1258"/>
                  </a:lnTo>
                  <a:lnTo>
                    <a:pt x="224" y="1249"/>
                  </a:lnTo>
                  <a:lnTo>
                    <a:pt x="224" y="1268"/>
                  </a:lnTo>
                  <a:lnTo>
                    <a:pt x="234" y="1297"/>
                  </a:lnTo>
                  <a:lnTo>
                    <a:pt x="253" y="1317"/>
                  </a:lnTo>
                  <a:lnTo>
                    <a:pt x="273" y="1307"/>
                  </a:lnTo>
                  <a:lnTo>
                    <a:pt x="283" y="1297"/>
                  </a:lnTo>
                  <a:lnTo>
                    <a:pt x="283" y="1307"/>
                  </a:lnTo>
                  <a:lnTo>
                    <a:pt x="302" y="1307"/>
                  </a:lnTo>
                  <a:lnTo>
                    <a:pt x="302" y="1288"/>
                  </a:lnTo>
                  <a:lnTo>
                    <a:pt x="322" y="1288"/>
                  </a:lnTo>
                  <a:lnTo>
                    <a:pt x="341" y="1268"/>
                  </a:lnTo>
                  <a:lnTo>
                    <a:pt x="341" y="1258"/>
                  </a:lnTo>
                  <a:lnTo>
                    <a:pt x="351" y="1249"/>
                  </a:lnTo>
                  <a:lnTo>
                    <a:pt x="351" y="1229"/>
                  </a:lnTo>
                  <a:lnTo>
                    <a:pt x="380" y="1219"/>
                  </a:lnTo>
                  <a:lnTo>
                    <a:pt x="400" y="1219"/>
                  </a:lnTo>
                  <a:lnTo>
                    <a:pt x="409" y="1210"/>
                  </a:lnTo>
                  <a:lnTo>
                    <a:pt x="419" y="1180"/>
                  </a:lnTo>
                  <a:lnTo>
                    <a:pt x="439" y="1190"/>
                  </a:lnTo>
                  <a:lnTo>
                    <a:pt x="458" y="1200"/>
                  </a:lnTo>
                  <a:lnTo>
                    <a:pt x="458" y="1210"/>
                  </a:lnTo>
                  <a:lnTo>
                    <a:pt x="468" y="1219"/>
                  </a:lnTo>
                  <a:lnTo>
                    <a:pt x="468" y="1239"/>
                  </a:lnTo>
                  <a:lnTo>
                    <a:pt x="478" y="1258"/>
                  </a:lnTo>
                  <a:lnTo>
                    <a:pt x="487" y="1258"/>
                  </a:lnTo>
                  <a:lnTo>
                    <a:pt x="497" y="1278"/>
                  </a:lnTo>
                  <a:lnTo>
                    <a:pt x="497" y="1297"/>
                  </a:lnTo>
                  <a:lnTo>
                    <a:pt x="439" y="1307"/>
                  </a:lnTo>
                  <a:lnTo>
                    <a:pt x="419" y="1317"/>
                  </a:lnTo>
                  <a:lnTo>
                    <a:pt x="409" y="1307"/>
                  </a:lnTo>
                  <a:lnTo>
                    <a:pt x="400" y="1307"/>
                  </a:lnTo>
                  <a:lnTo>
                    <a:pt x="400" y="1317"/>
                  </a:lnTo>
                  <a:lnTo>
                    <a:pt x="419" y="1346"/>
                  </a:lnTo>
                  <a:lnTo>
                    <a:pt x="429" y="1346"/>
                  </a:lnTo>
                  <a:lnTo>
                    <a:pt x="439" y="1366"/>
                  </a:lnTo>
                  <a:lnTo>
                    <a:pt x="419" y="1375"/>
                  </a:lnTo>
                  <a:lnTo>
                    <a:pt x="400" y="1385"/>
                  </a:lnTo>
                  <a:lnTo>
                    <a:pt x="390" y="1385"/>
                  </a:lnTo>
                  <a:lnTo>
                    <a:pt x="390" y="1405"/>
                  </a:lnTo>
                  <a:lnTo>
                    <a:pt x="390" y="1414"/>
                  </a:lnTo>
                  <a:lnTo>
                    <a:pt x="380" y="1414"/>
                  </a:lnTo>
                  <a:lnTo>
                    <a:pt x="380" y="1434"/>
                  </a:lnTo>
                  <a:lnTo>
                    <a:pt x="370" y="1444"/>
                  </a:lnTo>
                  <a:lnTo>
                    <a:pt x="361" y="1463"/>
                  </a:lnTo>
                  <a:lnTo>
                    <a:pt x="331" y="1463"/>
                  </a:lnTo>
                  <a:lnTo>
                    <a:pt x="341" y="1483"/>
                  </a:lnTo>
                  <a:lnTo>
                    <a:pt x="351" y="1492"/>
                  </a:lnTo>
                  <a:lnTo>
                    <a:pt x="351" y="1502"/>
                  </a:lnTo>
                  <a:lnTo>
                    <a:pt x="341" y="1502"/>
                  </a:lnTo>
                  <a:lnTo>
                    <a:pt x="341" y="1522"/>
                  </a:lnTo>
                  <a:lnTo>
                    <a:pt x="331" y="1541"/>
                  </a:lnTo>
                  <a:lnTo>
                    <a:pt x="322" y="1551"/>
                  </a:lnTo>
                  <a:lnTo>
                    <a:pt x="331" y="1571"/>
                  </a:lnTo>
                  <a:lnTo>
                    <a:pt x="331" y="1590"/>
                  </a:lnTo>
                  <a:close/>
                </a:path>
              </a:pathLst>
            </a:custGeom>
            <a:solidFill>
              <a:srgbClr val="96969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8751" name="Freeform 109"/>
            <p:cNvSpPr>
              <a:spLocks noChangeAspect="1"/>
            </p:cNvSpPr>
            <p:nvPr/>
          </p:nvSpPr>
          <p:spPr bwMode="auto">
            <a:xfrm>
              <a:off x="7238" y="2059"/>
              <a:ext cx="1112" cy="1883"/>
            </a:xfrm>
            <a:custGeom>
              <a:avLst/>
              <a:gdLst>
                <a:gd name="T0" fmla="*/ 419 w 1112"/>
                <a:gd name="T1" fmla="*/ 1639 h 1883"/>
                <a:gd name="T2" fmla="*/ 478 w 1112"/>
                <a:gd name="T3" fmla="*/ 1707 h 1883"/>
                <a:gd name="T4" fmla="*/ 565 w 1112"/>
                <a:gd name="T5" fmla="*/ 1678 h 1883"/>
                <a:gd name="T6" fmla="*/ 682 w 1112"/>
                <a:gd name="T7" fmla="*/ 1688 h 1883"/>
                <a:gd name="T8" fmla="*/ 760 w 1112"/>
                <a:gd name="T9" fmla="*/ 1688 h 1883"/>
                <a:gd name="T10" fmla="*/ 790 w 1112"/>
                <a:gd name="T11" fmla="*/ 1756 h 1883"/>
                <a:gd name="T12" fmla="*/ 800 w 1112"/>
                <a:gd name="T13" fmla="*/ 1873 h 1883"/>
                <a:gd name="T14" fmla="*/ 839 w 1112"/>
                <a:gd name="T15" fmla="*/ 1805 h 1883"/>
                <a:gd name="T16" fmla="*/ 917 w 1112"/>
                <a:gd name="T17" fmla="*/ 1795 h 1883"/>
                <a:gd name="T18" fmla="*/ 965 w 1112"/>
                <a:gd name="T19" fmla="*/ 1717 h 1883"/>
                <a:gd name="T20" fmla="*/ 975 w 1112"/>
                <a:gd name="T21" fmla="*/ 1639 h 1883"/>
                <a:gd name="T22" fmla="*/ 1004 w 1112"/>
                <a:gd name="T23" fmla="*/ 1551 h 1883"/>
                <a:gd name="T24" fmla="*/ 1073 w 1112"/>
                <a:gd name="T25" fmla="*/ 1590 h 1883"/>
                <a:gd name="T26" fmla="*/ 1102 w 1112"/>
                <a:gd name="T27" fmla="*/ 1600 h 1883"/>
                <a:gd name="T28" fmla="*/ 1092 w 1112"/>
                <a:gd name="T29" fmla="*/ 1405 h 1883"/>
                <a:gd name="T30" fmla="*/ 1053 w 1112"/>
                <a:gd name="T31" fmla="*/ 1327 h 1883"/>
                <a:gd name="T32" fmla="*/ 975 w 1112"/>
                <a:gd name="T33" fmla="*/ 1229 h 1883"/>
                <a:gd name="T34" fmla="*/ 956 w 1112"/>
                <a:gd name="T35" fmla="*/ 1131 h 1883"/>
                <a:gd name="T36" fmla="*/ 926 w 1112"/>
                <a:gd name="T37" fmla="*/ 1063 h 1883"/>
                <a:gd name="T38" fmla="*/ 878 w 1112"/>
                <a:gd name="T39" fmla="*/ 995 h 1883"/>
                <a:gd name="T40" fmla="*/ 800 w 1112"/>
                <a:gd name="T41" fmla="*/ 956 h 1883"/>
                <a:gd name="T42" fmla="*/ 682 w 1112"/>
                <a:gd name="T43" fmla="*/ 956 h 1883"/>
                <a:gd name="T44" fmla="*/ 673 w 1112"/>
                <a:gd name="T45" fmla="*/ 1014 h 1883"/>
                <a:gd name="T46" fmla="*/ 653 w 1112"/>
                <a:gd name="T47" fmla="*/ 1005 h 1883"/>
                <a:gd name="T48" fmla="*/ 604 w 1112"/>
                <a:gd name="T49" fmla="*/ 1092 h 1883"/>
                <a:gd name="T50" fmla="*/ 575 w 1112"/>
                <a:gd name="T51" fmla="*/ 1034 h 1883"/>
                <a:gd name="T52" fmla="*/ 556 w 1112"/>
                <a:gd name="T53" fmla="*/ 1034 h 1883"/>
                <a:gd name="T54" fmla="*/ 546 w 1112"/>
                <a:gd name="T55" fmla="*/ 1063 h 1883"/>
                <a:gd name="T56" fmla="*/ 487 w 1112"/>
                <a:gd name="T57" fmla="*/ 1024 h 1883"/>
                <a:gd name="T58" fmla="*/ 400 w 1112"/>
                <a:gd name="T59" fmla="*/ 1034 h 1883"/>
                <a:gd name="T60" fmla="*/ 429 w 1112"/>
                <a:gd name="T61" fmla="*/ 927 h 1883"/>
                <a:gd name="T62" fmla="*/ 468 w 1112"/>
                <a:gd name="T63" fmla="*/ 849 h 1883"/>
                <a:gd name="T64" fmla="*/ 478 w 1112"/>
                <a:gd name="T65" fmla="*/ 751 h 1883"/>
                <a:gd name="T66" fmla="*/ 487 w 1112"/>
                <a:gd name="T67" fmla="*/ 634 h 1883"/>
                <a:gd name="T68" fmla="*/ 497 w 1112"/>
                <a:gd name="T69" fmla="*/ 527 h 1883"/>
                <a:gd name="T70" fmla="*/ 517 w 1112"/>
                <a:gd name="T71" fmla="*/ 380 h 1883"/>
                <a:gd name="T72" fmla="*/ 624 w 1112"/>
                <a:gd name="T73" fmla="*/ 263 h 1883"/>
                <a:gd name="T74" fmla="*/ 702 w 1112"/>
                <a:gd name="T75" fmla="*/ 244 h 1883"/>
                <a:gd name="T76" fmla="*/ 673 w 1112"/>
                <a:gd name="T77" fmla="*/ 156 h 1883"/>
                <a:gd name="T78" fmla="*/ 585 w 1112"/>
                <a:gd name="T79" fmla="*/ 175 h 1883"/>
                <a:gd name="T80" fmla="*/ 565 w 1112"/>
                <a:gd name="T81" fmla="*/ 78 h 1883"/>
                <a:gd name="T82" fmla="*/ 400 w 1112"/>
                <a:gd name="T83" fmla="*/ 48 h 1883"/>
                <a:gd name="T84" fmla="*/ 361 w 1112"/>
                <a:gd name="T85" fmla="*/ 87 h 1883"/>
                <a:gd name="T86" fmla="*/ 253 w 1112"/>
                <a:gd name="T87" fmla="*/ 127 h 1883"/>
                <a:gd name="T88" fmla="*/ 205 w 1112"/>
                <a:gd name="T89" fmla="*/ 195 h 1883"/>
                <a:gd name="T90" fmla="*/ 185 w 1112"/>
                <a:gd name="T91" fmla="*/ 361 h 1883"/>
                <a:gd name="T92" fmla="*/ 244 w 1112"/>
                <a:gd name="T93" fmla="*/ 517 h 1883"/>
                <a:gd name="T94" fmla="*/ 146 w 1112"/>
                <a:gd name="T95" fmla="*/ 595 h 1883"/>
                <a:gd name="T96" fmla="*/ 48 w 1112"/>
                <a:gd name="T97" fmla="*/ 653 h 1883"/>
                <a:gd name="T98" fmla="*/ 19 w 1112"/>
                <a:gd name="T99" fmla="*/ 770 h 1883"/>
                <a:gd name="T100" fmla="*/ 29 w 1112"/>
                <a:gd name="T101" fmla="*/ 829 h 1883"/>
                <a:gd name="T102" fmla="*/ 87 w 1112"/>
                <a:gd name="T103" fmla="*/ 946 h 1883"/>
                <a:gd name="T104" fmla="*/ 87 w 1112"/>
                <a:gd name="T105" fmla="*/ 1073 h 1883"/>
                <a:gd name="T106" fmla="*/ 224 w 1112"/>
                <a:gd name="T107" fmla="*/ 1073 h 1883"/>
                <a:gd name="T108" fmla="*/ 185 w 1112"/>
                <a:gd name="T109" fmla="*/ 1151 h 1883"/>
                <a:gd name="T110" fmla="*/ 185 w 1112"/>
                <a:gd name="T111" fmla="*/ 1268 h 1883"/>
                <a:gd name="T112" fmla="*/ 283 w 1112"/>
                <a:gd name="T113" fmla="*/ 1307 h 1883"/>
                <a:gd name="T114" fmla="*/ 380 w 1112"/>
                <a:gd name="T115" fmla="*/ 1219 h 1883"/>
                <a:gd name="T116" fmla="*/ 468 w 1112"/>
                <a:gd name="T117" fmla="*/ 1239 h 1883"/>
                <a:gd name="T118" fmla="*/ 400 w 1112"/>
                <a:gd name="T119" fmla="*/ 1307 h 1883"/>
                <a:gd name="T120" fmla="*/ 390 w 1112"/>
                <a:gd name="T121" fmla="*/ 1405 h 1883"/>
                <a:gd name="T122" fmla="*/ 341 w 1112"/>
                <a:gd name="T123" fmla="*/ 1483 h 1883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12"/>
                <a:gd name="T187" fmla="*/ 0 h 1883"/>
                <a:gd name="T188" fmla="*/ 1112 w 1112"/>
                <a:gd name="T189" fmla="*/ 1883 h 1883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12" h="1883">
                  <a:moveTo>
                    <a:pt x="331" y="1590"/>
                  </a:moveTo>
                  <a:lnTo>
                    <a:pt x="361" y="1590"/>
                  </a:lnTo>
                  <a:lnTo>
                    <a:pt x="361" y="1600"/>
                  </a:lnTo>
                  <a:lnTo>
                    <a:pt x="370" y="1619"/>
                  </a:lnTo>
                  <a:lnTo>
                    <a:pt x="400" y="1610"/>
                  </a:lnTo>
                  <a:lnTo>
                    <a:pt x="419" y="1619"/>
                  </a:lnTo>
                  <a:lnTo>
                    <a:pt x="419" y="1629"/>
                  </a:lnTo>
                  <a:lnTo>
                    <a:pt x="419" y="1639"/>
                  </a:lnTo>
                  <a:lnTo>
                    <a:pt x="439" y="1649"/>
                  </a:lnTo>
                  <a:lnTo>
                    <a:pt x="448" y="1658"/>
                  </a:lnTo>
                  <a:lnTo>
                    <a:pt x="439" y="1678"/>
                  </a:lnTo>
                  <a:lnTo>
                    <a:pt x="448" y="1688"/>
                  </a:lnTo>
                  <a:lnTo>
                    <a:pt x="458" y="1707"/>
                  </a:lnTo>
                  <a:lnTo>
                    <a:pt x="458" y="1727"/>
                  </a:lnTo>
                  <a:lnTo>
                    <a:pt x="478" y="1717"/>
                  </a:lnTo>
                  <a:lnTo>
                    <a:pt x="478" y="1707"/>
                  </a:lnTo>
                  <a:lnTo>
                    <a:pt x="507" y="1697"/>
                  </a:lnTo>
                  <a:lnTo>
                    <a:pt x="507" y="1678"/>
                  </a:lnTo>
                  <a:lnTo>
                    <a:pt x="526" y="1678"/>
                  </a:lnTo>
                  <a:lnTo>
                    <a:pt x="526" y="1688"/>
                  </a:lnTo>
                  <a:lnTo>
                    <a:pt x="536" y="1697"/>
                  </a:lnTo>
                  <a:lnTo>
                    <a:pt x="546" y="1678"/>
                  </a:lnTo>
                  <a:lnTo>
                    <a:pt x="565" y="1678"/>
                  </a:lnTo>
                  <a:lnTo>
                    <a:pt x="575" y="1668"/>
                  </a:lnTo>
                  <a:lnTo>
                    <a:pt x="595" y="1678"/>
                  </a:lnTo>
                  <a:lnTo>
                    <a:pt x="604" y="1678"/>
                  </a:lnTo>
                  <a:lnTo>
                    <a:pt x="614" y="1688"/>
                  </a:lnTo>
                  <a:lnTo>
                    <a:pt x="624" y="1688"/>
                  </a:lnTo>
                  <a:lnTo>
                    <a:pt x="643" y="1688"/>
                  </a:lnTo>
                  <a:lnTo>
                    <a:pt x="673" y="1688"/>
                  </a:lnTo>
                  <a:lnTo>
                    <a:pt x="682" y="1688"/>
                  </a:lnTo>
                  <a:lnTo>
                    <a:pt x="702" y="1678"/>
                  </a:lnTo>
                  <a:lnTo>
                    <a:pt x="702" y="1668"/>
                  </a:lnTo>
                  <a:lnTo>
                    <a:pt x="712" y="1668"/>
                  </a:lnTo>
                  <a:lnTo>
                    <a:pt x="721" y="1668"/>
                  </a:lnTo>
                  <a:lnTo>
                    <a:pt x="741" y="1658"/>
                  </a:lnTo>
                  <a:lnTo>
                    <a:pt x="751" y="1658"/>
                  </a:lnTo>
                  <a:lnTo>
                    <a:pt x="760" y="1668"/>
                  </a:lnTo>
                  <a:lnTo>
                    <a:pt x="760" y="1688"/>
                  </a:lnTo>
                  <a:lnTo>
                    <a:pt x="741" y="1688"/>
                  </a:lnTo>
                  <a:lnTo>
                    <a:pt x="731" y="1688"/>
                  </a:lnTo>
                  <a:lnTo>
                    <a:pt x="731" y="1697"/>
                  </a:lnTo>
                  <a:lnTo>
                    <a:pt x="760" y="1697"/>
                  </a:lnTo>
                  <a:lnTo>
                    <a:pt x="770" y="1727"/>
                  </a:lnTo>
                  <a:lnTo>
                    <a:pt x="780" y="1736"/>
                  </a:lnTo>
                  <a:lnTo>
                    <a:pt x="790" y="1746"/>
                  </a:lnTo>
                  <a:lnTo>
                    <a:pt x="790" y="1756"/>
                  </a:lnTo>
                  <a:lnTo>
                    <a:pt x="790" y="1775"/>
                  </a:lnTo>
                  <a:lnTo>
                    <a:pt x="790" y="1795"/>
                  </a:lnTo>
                  <a:lnTo>
                    <a:pt x="780" y="1805"/>
                  </a:lnTo>
                  <a:lnTo>
                    <a:pt x="780" y="1824"/>
                  </a:lnTo>
                  <a:lnTo>
                    <a:pt x="790" y="1834"/>
                  </a:lnTo>
                  <a:lnTo>
                    <a:pt x="790" y="1853"/>
                  </a:lnTo>
                  <a:lnTo>
                    <a:pt x="800" y="1873"/>
                  </a:lnTo>
                  <a:lnTo>
                    <a:pt x="800" y="1883"/>
                  </a:lnTo>
                  <a:lnTo>
                    <a:pt x="809" y="1863"/>
                  </a:lnTo>
                  <a:lnTo>
                    <a:pt x="829" y="1863"/>
                  </a:lnTo>
                  <a:lnTo>
                    <a:pt x="819" y="1844"/>
                  </a:lnTo>
                  <a:lnTo>
                    <a:pt x="829" y="1834"/>
                  </a:lnTo>
                  <a:lnTo>
                    <a:pt x="819" y="1814"/>
                  </a:lnTo>
                  <a:lnTo>
                    <a:pt x="829" y="1805"/>
                  </a:lnTo>
                  <a:lnTo>
                    <a:pt x="839" y="1805"/>
                  </a:lnTo>
                  <a:lnTo>
                    <a:pt x="848" y="1795"/>
                  </a:lnTo>
                  <a:lnTo>
                    <a:pt x="858" y="1795"/>
                  </a:lnTo>
                  <a:lnTo>
                    <a:pt x="868" y="1805"/>
                  </a:lnTo>
                  <a:lnTo>
                    <a:pt x="878" y="1805"/>
                  </a:lnTo>
                  <a:lnTo>
                    <a:pt x="887" y="1805"/>
                  </a:lnTo>
                  <a:lnTo>
                    <a:pt x="887" y="1795"/>
                  </a:lnTo>
                  <a:lnTo>
                    <a:pt x="897" y="1795"/>
                  </a:lnTo>
                  <a:lnTo>
                    <a:pt x="917" y="1795"/>
                  </a:lnTo>
                  <a:lnTo>
                    <a:pt x="926" y="1785"/>
                  </a:lnTo>
                  <a:lnTo>
                    <a:pt x="946" y="1785"/>
                  </a:lnTo>
                  <a:lnTo>
                    <a:pt x="956" y="1775"/>
                  </a:lnTo>
                  <a:lnTo>
                    <a:pt x="975" y="1775"/>
                  </a:lnTo>
                  <a:lnTo>
                    <a:pt x="975" y="1756"/>
                  </a:lnTo>
                  <a:lnTo>
                    <a:pt x="975" y="1746"/>
                  </a:lnTo>
                  <a:lnTo>
                    <a:pt x="965" y="1727"/>
                  </a:lnTo>
                  <a:lnTo>
                    <a:pt x="965" y="1717"/>
                  </a:lnTo>
                  <a:lnTo>
                    <a:pt x="975" y="1697"/>
                  </a:lnTo>
                  <a:lnTo>
                    <a:pt x="1014" y="1688"/>
                  </a:lnTo>
                  <a:lnTo>
                    <a:pt x="1024" y="1668"/>
                  </a:lnTo>
                  <a:lnTo>
                    <a:pt x="1024" y="1649"/>
                  </a:lnTo>
                  <a:lnTo>
                    <a:pt x="1014" y="1629"/>
                  </a:lnTo>
                  <a:lnTo>
                    <a:pt x="995" y="1629"/>
                  </a:lnTo>
                  <a:lnTo>
                    <a:pt x="975" y="1639"/>
                  </a:lnTo>
                  <a:lnTo>
                    <a:pt x="975" y="1619"/>
                  </a:lnTo>
                  <a:lnTo>
                    <a:pt x="956" y="1619"/>
                  </a:lnTo>
                  <a:lnTo>
                    <a:pt x="946" y="1600"/>
                  </a:lnTo>
                  <a:lnTo>
                    <a:pt x="956" y="1590"/>
                  </a:lnTo>
                  <a:lnTo>
                    <a:pt x="975" y="1561"/>
                  </a:lnTo>
                  <a:lnTo>
                    <a:pt x="975" y="1541"/>
                  </a:lnTo>
                  <a:lnTo>
                    <a:pt x="985" y="1541"/>
                  </a:lnTo>
                  <a:lnTo>
                    <a:pt x="1004" y="1551"/>
                  </a:lnTo>
                  <a:lnTo>
                    <a:pt x="1024" y="1561"/>
                  </a:lnTo>
                  <a:lnTo>
                    <a:pt x="1034" y="1551"/>
                  </a:lnTo>
                  <a:lnTo>
                    <a:pt x="1034" y="1571"/>
                  </a:lnTo>
                  <a:lnTo>
                    <a:pt x="1034" y="1580"/>
                  </a:lnTo>
                  <a:lnTo>
                    <a:pt x="1043" y="1580"/>
                  </a:lnTo>
                  <a:lnTo>
                    <a:pt x="1063" y="1590"/>
                  </a:lnTo>
                  <a:lnTo>
                    <a:pt x="1073" y="1590"/>
                  </a:lnTo>
                  <a:lnTo>
                    <a:pt x="1053" y="1610"/>
                  </a:lnTo>
                  <a:lnTo>
                    <a:pt x="1073" y="1629"/>
                  </a:lnTo>
                  <a:lnTo>
                    <a:pt x="1082" y="1619"/>
                  </a:lnTo>
                  <a:lnTo>
                    <a:pt x="1092" y="1619"/>
                  </a:lnTo>
                  <a:lnTo>
                    <a:pt x="1112" y="1629"/>
                  </a:lnTo>
                  <a:lnTo>
                    <a:pt x="1112" y="1619"/>
                  </a:lnTo>
                  <a:lnTo>
                    <a:pt x="1102" y="1600"/>
                  </a:lnTo>
                  <a:lnTo>
                    <a:pt x="1102" y="1571"/>
                  </a:lnTo>
                  <a:lnTo>
                    <a:pt x="1102" y="1551"/>
                  </a:lnTo>
                  <a:lnTo>
                    <a:pt x="1112" y="1502"/>
                  </a:lnTo>
                  <a:lnTo>
                    <a:pt x="1112" y="1473"/>
                  </a:lnTo>
                  <a:lnTo>
                    <a:pt x="1112" y="1453"/>
                  </a:lnTo>
                  <a:lnTo>
                    <a:pt x="1102" y="1453"/>
                  </a:lnTo>
                  <a:lnTo>
                    <a:pt x="1102" y="1424"/>
                  </a:lnTo>
                  <a:lnTo>
                    <a:pt x="1092" y="1405"/>
                  </a:lnTo>
                  <a:lnTo>
                    <a:pt x="1082" y="1405"/>
                  </a:lnTo>
                  <a:lnTo>
                    <a:pt x="1082" y="1395"/>
                  </a:lnTo>
                  <a:lnTo>
                    <a:pt x="1073" y="1385"/>
                  </a:lnTo>
                  <a:lnTo>
                    <a:pt x="1082" y="1375"/>
                  </a:lnTo>
                  <a:lnTo>
                    <a:pt x="1073" y="1366"/>
                  </a:lnTo>
                  <a:lnTo>
                    <a:pt x="1063" y="1346"/>
                  </a:lnTo>
                  <a:lnTo>
                    <a:pt x="1053" y="1336"/>
                  </a:lnTo>
                  <a:lnTo>
                    <a:pt x="1053" y="1327"/>
                  </a:lnTo>
                  <a:lnTo>
                    <a:pt x="1034" y="1317"/>
                  </a:lnTo>
                  <a:lnTo>
                    <a:pt x="1034" y="1288"/>
                  </a:lnTo>
                  <a:lnTo>
                    <a:pt x="1024" y="1297"/>
                  </a:lnTo>
                  <a:lnTo>
                    <a:pt x="1014" y="1288"/>
                  </a:lnTo>
                  <a:lnTo>
                    <a:pt x="1014" y="1278"/>
                  </a:lnTo>
                  <a:lnTo>
                    <a:pt x="995" y="1258"/>
                  </a:lnTo>
                  <a:lnTo>
                    <a:pt x="995" y="1249"/>
                  </a:lnTo>
                  <a:lnTo>
                    <a:pt x="975" y="1229"/>
                  </a:lnTo>
                  <a:lnTo>
                    <a:pt x="975" y="1210"/>
                  </a:lnTo>
                  <a:lnTo>
                    <a:pt x="975" y="1190"/>
                  </a:lnTo>
                  <a:lnTo>
                    <a:pt x="965" y="1180"/>
                  </a:lnTo>
                  <a:lnTo>
                    <a:pt x="965" y="1170"/>
                  </a:lnTo>
                  <a:lnTo>
                    <a:pt x="965" y="1161"/>
                  </a:lnTo>
                  <a:lnTo>
                    <a:pt x="956" y="1151"/>
                  </a:lnTo>
                  <a:lnTo>
                    <a:pt x="956" y="1131"/>
                  </a:lnTo>
                  <a:lnTo>
                    <a:pt x="956" y="1112"/>
                  </a:lnTo>
                  <a:lnTo>
                    <a:pt x="956" y="1092"/>
                  </a:lnTo>
                  <a:lnTo>
                    <a:pt x="965" y="1092"/>
                  </a:lnTo>
                  <a:lnTo>
                    <a:pt x="956" y="1083"/>
                  </a:lnTo>
                  <a:lnTo>
                    <a:pt x="946" y="1073"/>
                  </a:lnTo>
                  <a:lnTo>
                    <a:pt x="946" y="1063"/>
                  </a:lnTo>
                  <a:lnTo>
                    <a:pt x="926" y="1063"/>
                  </a:lnTo>
                  <a:lnTo>
                    <a:pt x="907" y="1053"/>
                  </a:lnTo>
                  <a:lnTo>
                    <a:pt x="907" y="1034"/>
                  </a:lnTo>
                  <a:lnTo>
                    <a:pt x="897" y="1024"/>
                  </a:lnTo>
                  <a:lnTo>
                    <a:pt x="887" y="1014"/>
                  </a:lnTo>
                  <a:lnTo>
                    <a:pt x="878" y="1005"/>
                  </a:lnTo>
                  <a:lnTo>
                    <a:pt x="868" y="1005"/>
                  </a:lnTo>
                  <a:lnTo>
                    <a:pt x="848" y="1005"/>
                  </a:lnTo>
                  <a:lnTo>
                    <a:pt x="878" y="995"/>
                  </a:lnTo>
                  <a:lnTo>
                    <a:pt x="878" y="975"/>
                  </a:lnTo>
                  <a:lnTo>
                    <a:pt x="868" y="966"/>
                  </a:lnTo>
                  <a:lnTo>
                    <a:pt x="848" y="966"/>
                  </a:lnTo>
                  <a:lnTo>
                    <a:pt x="829" y="966"/>
                  </a:lnTo>
                  <a:lnTo>
                    <a:pt x="829" y="956"/>
                  </a:lnTo>
                  <a:lnTo>
                    <a:pt x="800" y="956"/>
                  </a:lnTo>
                  <a:lnTo>
                    <a:pt x="780" y="956"/>
                  </a:lnTo>
                  <a:lnTo>
                    <a:pt x="770" y="956"/>
                  </a:lnTo>
                  <a:lnTo>
                    <a:pt x="751" y="936"/>
                  </a:lnTo>
                  <a:lnTo>
                    <a:pt x="741" y="936"/>
                  </a:lnTo>
                  <a:lnTo>
                    <a:pt x="721" y="936"/>
                  </a:lnTo>
                  <a:lnTo>
                    <a:pt x="712" y="936"/>
                  </a:lnTo>
                  <a:lnTo>
                    <a:pt x="702" y="927"/>
                  </a:lnTo>
                  <a:lnTo>
                    <a:pt x="682" y="956"/>
                  </a:lnTo>
                  <a:lnTo>
                    <a:pt x="673" y="966"/>
                  </a:lnTo>
                  <a:lnTo>
                    <a:pt x="643" y="966"/>
                  </a:lnTo>
                  <a:lnTo>
                    <a:pt x="653" y="975"/>
                  </a:lnTo>
                  <a:lnTo>
                    <a:pt x="653" y="985"/>
                  </a:lnTo>
                  <a:lnTo>
                    <a:pt x="663" y="995"/>
                  </a:lnTo>
                  <a:lnTo>
                    <a:pt x="673" y="1005"/>
                  </a:lnTo>
                  <a:lnTo>
                    <a:pt x="673" y="1014"/>
                  </a:lnTo>
                  <a:lnTo>
                    <a:pt x="673" y="1024"/>
                  </a:lnTo>
                  <a:lnTo>
                    <a:pt x="682" y="1034"/>
                  </a:lnTo>
                  <a:lnTo>
                    <a:pt x="673" y="1053"/>
                  </a:lnTo>
                  <a:lnTo>
                    <a:pt x="663" y="1044"/>
                  </a:lnTo>
                  <a:lnTo>
                    <a:pt x="663" y="1024"/>
                  </a:lnTo>
                  <a:lnTo>
                    <a:pt x="663" y="1014"/>
                  </a:lnTo>
                  <a:lnTo>
                    <a:pt x="653" y="1005"/>
                  </a:lnTo>
                  <a:lnTo>
                    <a:pt x="643" y="1005"/>
                  </a:lnTo>
                  <a:lnTo>
                    <a:pt x="643" y="1024"/>
                  </a:lnTo>
                  <a:lnTo>
                    <a:pt x="653" y="1034"/>
                  </a:lnTo>
                  <a:lnTo>
                    <a:pt x="643" y="1044"/>
                  </a:lnTo>
                  <a:lnTo>
                    <a:pt x="643" y="1063"/>
                  </a:lnTo>
                  <a:lnTo>
                    <a:pt x="634" y="1073"/>
                  </a:lnTo>
                  <a:lnTo>
                    <a:pt x="624" y="1083"/>
                  </a:lnTo>
                  <a:lnTo>
                    <a:pt x="604" y="1092"/>
                  </a:lnTo>
                  <a:lnTo>
                    <a:pt x="604" y="1073"/>
                  </a:lnTo>
                  <a:lnTo>
                    <a:pt x="614" y="1073"/>
                  </a:lnTo>
                  <a:lnTo>
                    <a:pt x="614" y="1044"/>
                  </a:lnTo>
                  <a:lnTo>
                    <a:pt x="624" y="1034"/>
                  </a:lnTo>
                  <a:lnTo>
                    <a:pt x="604" y="1034"/>
                  </a:lnTo>
                  <a:lnTo>
                    <a:pt x="595" y="1034"/>
                  </a:lnTo>
                  <a:lnTo>
                    <a:pt x="575" y="1034"/>
                  </a:lnTo>
                  <a:lnTo>
                    <a:pt x="585" y="1024"/>
                  </a:lnTo>
                  <a:lnTo>
                    <a:pt x="585" y="1014"/>
                  </a:lnTo>
                  <a:lnTo>
                    <a:pt x="585" y="1005"/>
                  </a:lnTo>
                  <a:lnTo>
                    <a:pt x="575" y="1014"/>
                  </a:lnTo>
                  <a:lnTo>
                    <a:pt x="565" y="1024"/>
                  </a:lnTo>
                  <a:lnTo>
                    <a:pt x="556" y="1034"/>
                  </a:lnTo>
                  <a:lnTo>
                    <a:pt x="575" y="1053"/>
                  </a:lnTo>
                  <a:lnTo>
                    <a:pt x="575" y="1063"/>
                  </a:lnTo>
                  <a:lnTo>
                    <a:pt x="575" y="1073"/>
                  </a:lnTo>
                  <a:lnTo>
                    <a:pt x="565" y="1073"/>
                  </a:lnTo>
                  <a:lnTo>
                    <a:pt x="565" y="1083"/>
                  </a:lnTo>
                  <a:lnTo>
                    <a:pt x="556" y="1083"/>
                  </a:lnTo>
                  <a:lnTo>
                    <a:pt x="546" y="1073"/>
                  </a:lnTo>
                  <a:lnTo>
                    <a:pt x="546" y="1063"/>
                  </a:lnTo>
                  <a:lnTo>
                    <a:pt x="546" y="1053"/>
                  </a:lnTo>
                  <a:lnTo>
                    <a:pt x="536" y="1044"/>
                  </a:lnTo>
                  <a:lnTo>
                    <a:pt x="526" y="1034"/>
                  </a:lnTo>
                  <a:lnTo>
                    <a:pt x="526" y="1014"/>
                  </a:lnTo>
                  <a:lnTo>
                    <a:pt x="517" y="1005"/>
                  </a:lnTo>
                  <a:lnTo>
                    <a:pt x="507" y="1005"/>
                  </a:lnTo>
                  <a:lnTo>
                    <a:pt x="497" y="1005"/>
                  </a:lnTo>
                  <a:lnTo>
                    <a:pt x="487" y="1024"/>
                  </a:lnTo>
                  <a:lnTo>
                    <a:pt x="478" y="1024"/>
                  </a:lnTo>
                  <a:lnTo>
                    <a:pt x="458" y="1044"/>
                  </a:lnTo>
                  <a:lnTo>
                    <a:pt x="439" y="1044"/>
                  </a:lnTo>
                  <a:lnTo>
                    <a:pt x="429" y="1044"/>
                  </a:lnTo>
                  <a:lnTo>
                    <a:pt x="419" y="1044"/>
                  </a:lnTo>
                  <a:lnTo>
                    <a:pt x="409" y="1034"/>
                  </a:lnTo>
                  <a:lnTo>
                    <a:pt x="400" y="1034"/>
                  </a:lnTo>
                  <a:lnTo>
                    <a:pt x="400" y="1014"/>
                  </a:lnTo>
                  <a:lnTo>
                    <a:pt x="409" y="1005"/>
                  </a:lnTo>
                  <a:lnTo>
                    <a:pt x="419" y="995"/>
                  </a:lnTo>
                  <a:lnTo>
                    <a:pt x="429" y="985"/>
                  </a:lnTo>
                  <a:lnTo>
                    <a:pt x="429" y="975"/>
                  </a:lnTo>
                  <a:lnTo>
                    <a:pt x="439" y="956"/>
                  </a:lnTo>
                  <a:lnTo>
                    <a:pt x="429" y="936"/>
                  </a:lnTo>
                  <a:lnTo>
                    <a:pt x="429" y="927"/>
                  </a:lnTo>
                  <a:lnTo>
                    <a:pt x="439" y="917"/>
                  </a:lnTo>
                  <a:lnTo>
                    <a:pt x="439" y="907"/>
                  </a:lnTo>
                  <a:lnTo>
                    <a:pt x="448" y="907"/>
                  </a:lnTo>
                  <a:lnTo>
                    <a:pt x="448" y="897"/>
                  </a:lnTo>
                  <a:lnTo>
                    <a:pt x="448" y="888"/>
                  </a:lnTo>
                  <a:lnTo>
                    <a:pt x="458" y="868"/>
                  </a:lnTo>
                  <a:lnTo>
                    <a:pt x="458" y="858"/>
                  </a:lnTo>
                  <a:lnTo>
                    <a:pt x="468" y="849"/>
                  </a:lnTo>
                  <a:lnTo>
                    <a:pt x="468" y="839"/>
                  </a:lnTo>
                  <a:lnTo>
                    <a:pt x="478" y="829"/>
                  </a:lnTo>
                  <a:lnTo>
                    <a:pt x="478" y="809"/>
                  </a:lnTo>
                  <a:lnTo>
                    <a:pt x="468" y="800"/>
                  </a:lnTo>
                  <a:lnTo>
                    <a:pt x="478" y="790"/>
                  </a:lnTo>
                  <a:lnTo>
                    <a:pt x="478" y="770"/>
                  </a:lnTo>
                  <a:lnTo>
                    <a:pt x="468" y="770"/>
                  </a:lnTo>
                  <a:lnTo>
                    <a:pt x="478" y="751"/>
                  </a:lnTo>
                  <a:lnTo>
                    <a:pt x="478" y="741"/>
                  </a:lnTo>
                  <a:lnTo>
                    <a:pt x="468" y="712"/>
                  </a:lnTo>
                  <a:lnTo>
                    <a:pt x="478" y="702"/>
                  </a:lnTo>
                  <a:lnTo>
                    <a:pt x="478" y="692"/>
                  </a:lnTo>
                  <a:lnTo>
                    <a:pt x="478" y="683"/>
                  </a:lnTo>
                  <a:lnTo>
                    <a:pt x="478" y="673"/>
                  </a:lnTo>
                  <a:lnTo>
                    <a:pt x="487" y="653"/>
                  </a:lnTo>
                  <a:lnTo>
                    <a:pt x="487" y="634"/>
                  </a:lnTo>
                  <a:lnTo>
                    <a:pt x="497" y="634"/>
                  </a:lnTo>
                  <a:lnTo>
                    <a:pt x="497" y="614"/>
                  </a:lnTo>
                  <a:lnTo>
                    <a:pt x="497" y="595"/>
                  </a:lnTo>
                  <a:lnTo>
                    <a:pt x="507" y="585"/>
                  </a:lnTo>
                  <a:lnTo>
                    <a:pt x="517" y="566"/>
                  </a:lnTo>
                  <a:lnTo>
                    <a:pt x="507" y="556"/>
                  </a:lnTo>
                  <a:lnTo>
                    <a:pt x="497" y="546"/>
                  </a:lnTo>
                  <a:lnTo>
                    <a:pt x="497" y="527"/>
                  </a:lnTo>
                  <a:lnTo>
                    <a:pt x="497" y="497"/>
                  </a:lnTo>
                  <a:lnTo>
                    <a:pt x="507" y="488"/>
                  </a:lnTo>
                  <a:lnTo>
                    <a:pt x="517" y="458"/>
                  </a:lnTo>
                  <a:lnTo>
                    <a:pt x="517" y="448"/>
                  </a:lnTo>
                  <a:lnTo>
                    <a:pt x="517" y="439"/>
                  </a:lnTo>
                  <a:lnTo>
                    <a:pt x="507" y="419"/>
                  </a:lnTo>
                  <a:lnTo>
                    <a:pt x="507" y="400"/>
                  </a:lnTo>
                  <a:lnTo>
                    <a:pt x="517" y="380"/>
                  </a:lnTo>
                  <a:lnTo>
                    <a:pt x="526" y="361"/>
                  </a:lnTo>
                  <a:lnTo>
                    <a:pt x="536" y="331"/>
                  </a:lnTo>
                  <a:lnTo>
                    <a:pt x="556" y="331"/>
                  </a:lnTo>
                  <a:lnTo>
                    <a:pt x="565" y="322"/>
                  </a:lnTo>
                  <a:lnTo>
                    <a:pt x="575" y="302"/>
                  </a:lnTo>
                  <a:lnTo>
                    <a:pt x="595" y="292"/>
                  </a:lnTo>
                  <a:lnTo>
                    <a:pt x="614" y="283"/>
                  </a:lnTo>
                  <a:lnTo>
                    <a:pt x="624" y="263"/>
                  </a:lnTo>
                  <a:lnTo>
                    <a:pt x="643" y="253"/>
                  </a:lnTo>
                  <a:lnTo>
                    <a:pt x="653" y="244"/>
                  </a:lnTo>
                  <a:lnTo>
                    <a:pt x="663" y="244"/>
                  </a:lnTo>
                  <a:lnTo>
                    <a:pt x="673" y="253"/>
                  </a:lnTo>
                  <a:lnTo>
                    <a:pt x="692" y="263"/>
                  </a:lnTo>
                  <a:lnTo>
                    <a:pt x="692" y="244"/>
                  </a:lnTo>
                  <a:lnTo>
                    <a:pt x="702" y="244"/>
                  </a:lnTo>
                  <a:lnTo>
                    <a:pt x="682" y="234"/>
                  </a:lnTo>
                  <a:lnTo>
                    <a:pt x="682" y="214"/>
                  </a:lnTo>
                  <a:lnTo>
                    <a:pt x="692" y="214"/>
                  </a:lnTo>
                  <a:lnTo>
                    <a:pt x="702" y="205"/>
                  </a:lnTo>
                  <a:lnTo>
                    <a:pt x="702" y="195"/>
                  </a:lnTo>
                  <a:lnTo>
                    <a:pt x="692" y="175"/>
                  </a:lnTo>
                  <a:lnTo>
                    <a:pt x="682" y="166"/>
                  </a:lnTo>
                  <a:lnTo>
                    <a:pt x="673" y="156"/>
                  </a:lnTo>
                  <a:lnTo>
                    <a:pt x="663" y="156"/>
                  </a:lnTo>
                  <a:lnTo>
                    <a:pt x="643" y="156"/>
                  </a:lnTo>
                  <a:lnTo>
                    <a:pt x="634" y="156"/>
                  </a:lnTo>
                  <a:lnTo>
                    <a:pt x="624" y="146"/>
                  </a:lnTo>
                  <a:lnTo>
                    <a:pt x="614" y="156"/>
                  </a:lnTo>
                  <a:lnTo>
                    <a:pt x="614" y="166"/>
                  </a:lnTo>
                  <a:lnTo>
                    <a:pt x="604" y="166"/>
                  </a:lnTo>
                  <a:lnTo>
                    <a:pt x="585" y="175"/>
                  </a:lnTo>
                  <a:lnTo>
                    <a:pt x="575" y="175"/>
                  </a:lnTo>
                  <a:lnTo>
                    <a:pt x="575" y="156"/>
                  </a:lnTo>
                  <a:lnTo>
                    <a:pt x="565" y="156"/>
                  </a:lnTo>
                  <a:lnTo>
                    <a:pt x="565" y="146"/>
                  </a:lnTo>
                  <a:lnTo>
                    <a:pt x="565" y="117"/>
                  </a:lnTo>
                  <a:lnTo>
                    <a:pt x="575" y="107"/>
                  </a:lnTo>
                  <a:lnTo>
                    <a:pt x="575" y="97"/>
                  </a:lnTo>
                  <a:lnTo>
                    <a:pt x="565" y="78"/>
                  </a:lnTo>
                  <a:lnTo>
                    <a:pt x="575" y="58"/>
                  </a:lnTo>
                  <a:lnTo>
                    <a:pt x="546" y="39"/>
                  </a:lnTo>
                  <a:lnTo>
                    <a:pt x="517" y="19"/>
                  </a:lnTo>
                  <a:lnTo>
                    <a:pt x="458" y="0"/>
                  </a:lnTo>
                  <a:lnTo>
                    <a:pt x="448" y="19"/>
                  </a:lnTo>
                  <a:lnTo>
                    <a:pt x="419" y="19"/>
                  </a:lnTo>
                  <a:lnTo>
                    <a:pt x="409" y="29"/>
                  </a:lnTo>
                  <a:lnTo>
                    <a:pt x="400" y="48"/>
                  </a:lnTo>
                  <a:lnTo>
                    <a:pt x="400" y="58"/>
                  </a:lnTo>
                  <a:lnTo>
                    <a:pt x="400" y="78"/>
                  </a:lnTo>
                  <a:lnTo>
                    <a:pt x="390" y="78"/>
                  </a:lnTo>
                  <a:lnTo>
                    <a:pt x="380" y="78"/>
                  </a:lnTo>
                  <a:lnTo>
                    <a:pt x="370" y="58"/>
                  </a:lnTo>
                  <a:lnTo>
                    <a:pt x="370" y="68"/>
                  </a:lnTo>
                  <a:lnTo>
                    <a:pt x="370" y="78"/>
                  </a:lnTo>
                  <a:lnTo>
                    <a:pt x="361" y="87"/>
                  </a:lnTo>
                  <a:lnTo>
                    <a:pt x="351" y="78"/>
                  </a:lnTo>
                  <a:lnTo>
                    <a:pt x="322" y="87"/>
                  </a:lnTo>
                  <a:lnTo>
                    <a:pt x="341" y="107"/>
                  </a:lnTo>
                  <a:lnTo>
                    <a:pt x="322" y="117"/>
                  </a:lnTo>
                  <a:lnTo>
                    <a:pt x="312" y="127"/>
                  </a:lnTo>
                  <a:lnTo>
                    <a:pt x="292" y="117"/>
                  </a:lnTo>
                  <a:lnTo>
                    <a:pt x="273" y="127"/>
                  </a:lnTo>
                  <a:lnTo>
                    <a:pt x="253" y="127"/>
                  </a:lnTo>
                  <a:lnTo>
                    <a:pt x="234" y="117"/>
                  </a:lnTo>
                  <a:lnTo>
                    <a:pt x="224" y="136"/>
                  </a:lnTo>
                  <a:lnTo>
                    <a:pt x="214" y="127"/>
                  </a:lnTo>
                  <a:lnTo>
                    <a:pt x="205" y="117"/>
                  </a:lnTo>
                  <a:lnTo>
                    <a:pt x="195" y="127"/>
                  </a:lnTo>
                  <a:lnTo>
                    <a:pt x="205" y="136"/>
                  </a:lnTo>
                  <a:lnTo>
                    <a:pt x="195" y="156"/>
                  </a:lnTo>
                  <a:lnTo>
                    <a:pt x="205" y="195"/>
                  </a:lnTo>
                  <a:lnTo>
                    <a:pt x="214" y="205"/>
                  </a:lnTo>
                  <a:lnTo>
                    <a:pt x="214" y="234"/>
                  </a:lnTo>
                  <a:lnTo>
                    <a:pt x="205" y="253"/>
                  </a:lnTo>
                  <a:lnTo>
                    <a:pt x="195" y="273"/>
                  </a:lnTo>
                  <a:lnTo>
                    <a:pt x="195" y="292"/>
                  </a:lnTo>
                  <a:lnTo>
                    <a:pt x="185" y="302"/>
                  </a:lnTo>
                  <a:lnTo>
                    <a:pt x="185" y="331"/>
                  </a:lnTo>
                  <a:lnTo>
                    <a:pt x="185" y="361"/>
                  </a:lnTo>
                  <a:lnTo>
                    <a:pt x="214" y="380"/>
                  </a:lnTo>
                  <a:lnTo>
                    <a:pt x="224" y="419"/>
                  </a:lnTo>
                  <a:lnTo>
                    <a:pt x="234" y="439"/>
                  </a:lnTo>
                  <a:lnTo>
                    <a:pt x="253" y="439"/>
                  </a:lnTo>
                  <a:lnTo>
                    <a:pt x="253" y="458"/>
                  </a:lnTo>
                  <a:lnTo>
                    <a:pt x="253" y="478"/>
                  </a:lnTo>
                  <a:lnTo>
                    <a:pt x="244" y="478"/>
                  </a:lnTo>
                  <a:lnTo>
                    <a:pt x="244" y="517"/>
                  </a:lnTo>
                  <a:lnTo>
                    <a:pt x="234" y="527"/>
                  </a:lnTo>
                  <a:lnTo>
                    <a:pt x="214" y="546"/>
                  </a:lnTo>
                  <a:lnTo>
                    <a:pt x="195" y="546"/>
                  </a:lnTo>
                  <a:lnTo>
                    <a:pt x="185" y="556"/>
                  </a:lnTo>
                  <a:lnTo>
                    <a:pt x="165" y="556"/>
                  </a:lnTo>
                  <a:lnTo>
                    <a:pt x="156" y="556"/>
                  </a:lnTo>
                  <a:lnTo>
                    <a:pt x="146" y="575"/>
                  </a:lnTo>
                  <a:lnTo>
                    <a:pt x="146" y="595"/>
                  </a:lnTo>
                  <a:lnTo>
                    <a:pt x="146" y="614"/>
                  </a:lnTo>
                  <a:lnTo>
                    <a:pt x="136" y="614"/>
                  </a:lnTo>
                  <a:lnTo>
                    <a:pt x="117" y="624"/>
                  </a:lnTo>
                  <a:lnTo>
                    <a:pt x="107" y="624"/>
                  </a:lnTo>
                  <a:lnTo>
                    <a:pt x="97" y="644"/>
                  </a:lnTo>
                  <a:lnTo>
                    <a:pt x="78" y="634"/>
                  </a:lnTo>
                  <a:lnTo>
                    <a:pt x="68" y="653"/>
                  </a:lnTo>
                  <a:lnTo>
                    <a:pt x="48" y="653"/>
                  </a:lnTo>
                  <a:lnTo>
                    <a:pt x="29" y="653"/>
                  </a:lnTo>
                  <a:lnTo>
                    <a:pt x="19" y="683"/>
                  </a:lnTo>
                  <a:lnTo>
                    <a:pt x="29" y="702"/>
                  </a:lnTo>
                  <a:lnTo>
                    <a:pt x="29" y="712"/>
                  </a:lnTo>
                  <a:lnTo>
                    <a:pt x="19" y="712"/>
                  </a:lnTo>
                  <a:lnTo>
                    <a:pt x="29" y="761"/>
                  </a:lnTo>
                  <a:lnTo>
                    <a:pt x="19" y="770"/>
                  </a:lnTo>
                  <a:lnTo>
                    <a:pt x="29" y="790"/>
                  </a:lnTo>
                  <a:lnTo>
                    <a:pt x="29" y="800"/>
                  </a:lnTo>
                  <a:lnTo>
                    <a:pt x="29" y="809"/>
                  </a:lnTo>
                  <a:lnTo>
                    <a:pt x="9" y="809"/>
                  </a:lnTo>
                  <a:lnTo>
                    <a:pt x="0" y="809"/>
                  </a:lnTo>
                  <a:lnTo>
                    <a:pt x="9" y="819"/>
                  </a:lnTo>
                  <a:lnTo>
                    <a:pt x="29" y="829"/>
                  </a:lnTo>
                  <a:lnTo>
                    <a:pt x="39" y="849"/>
                  </a:lnTo>
                  <a:lnTo>
                    <a:pt x="58" y="849"/>
                  </a:lnTo>
                  <a:lnTo>
                    <a:pt x="48" y="868"/>
                  </a:lnTo>
                  <a:lnTo>
                    <a:pt x="39" y="897"/>
                  </a:lnTo>
                  <a:lnTo>
                    <a:pt x="39" y="917"/>
                  </a:lnTo>
                  <a:lnTo>
                    <a:pt x="58" y="917"/>
                  </a:lnTo>
                  <a:lnTo>
                    <a:pt x="78" y="936"/>
                  </a:lnTo>
                  <a:lnTo>
                    <a:pt x="87" y="946"/>
                  </a:lnTo>
                  <a:lnTo>
                    <a:pt x="87" y="956"/>
                  </a:lnTo>
                  <a:lnTo>
                    <a:pt x="78" y="975"/>
                  </a:lnTo>
                  <a:lnTo>
                    <a:pt x="68" y="985"/>
                  </a:lnTo>
                  <a:lnTo>
                    <a:pt x="68" y="1005"/>
                  </a:lnTo>
                  <a:lnTo>
                    <a:pt x="78" y="1014"/>
                  </a:lnTo>
                  <a:lnTo>
                    <a:pt x="68" y="1034"/>
                  </a:lnTo>
                  <a:lnTo>
                    <a:pt x="68" y="1053"/>
                  </a:lnTo>
                  <a:lnTo>
                    <a:pt x="87" y="1073"/>
                  </a:lnTo>
                  <a:lnTo>
                    <a:pt x="146" y="1053"/>
                  </a:lnTo>
                  <a:lnTo>
                    <a:pt x="165" y="1044"/>
                  </a:lnTo>
                  <a:lnTo>
                    <a:pt x="185" y="1034"/>
                  </a:lnTo>
                  <a:lnTo>
                    <a:pt x="205" y="1044"/>
                  </a:lnTo>
                  <a:lnTo>
                    <a:pt x="234" y="1053"/>
                  </a:lnTo>
                  <a:lnTo>
                    <a:pt x="224" y="1063"/>
                  </a:lnTo>
                  <a:lnTo>
                    <a:pt x="214" y="1063"/>
                  </a:lnTo>
                  <a:lnTo>
                    <a:pt x="224" y="1073"/>
                  </a:lnTo>
                  <a:lnTo>
                    <a:pt x="214" y="1073"/>
                  </a:lnTo>
                  <a:lnTo>
                    <a:pt x="214" y="1083"/>
                  </a:lnTo>
                  <a:lnTo>
                    <a:pt x="224" y="1092"/>
                  </a:lnTo>
                  <a:lnTo>
                    <a:pt x="205" y="1102"/>
                  </a:lnTo>
                  <a:lnTo>
                    <a:pt x="195" y="1122"/>
                  </a:lnTo>
                  <a:lnTo>
                    <a:pt x="185" y="1151"/>
                  </a:lnTo>
                  <a:lnTo>
                    <a:pt x="175" y="1170"/>
                  </a:lnTo>
                  <a:lnTo>
                    <a:pt x="165" y="1190"/>
                  </a:lnTo>
                  <a:lnTo>
                    <a:pt x="175" y="1210"/>
                  </a:lnTo>
                  <a:lnTo>
                    <a:pt x="165" y="1229"/>
                  </a:lnTo>
                  <a:lnTo>
                    <a:pt x="156" y="1258"/>
                  </a:lnTo>
                  <a:lnTo>
                    <a:pt x="165" y="1268"/>
                  </a:lnTo>
                  <a:lnTo>
                    <a:pt x="185" y="1268"/>
                  </a:lnTo>
                  <a:lnTo>
                    <a:pt x="195" y="1258"/>
                  </a:lnTo>
                  <a:lnTo>
                    <a:pt x="224" y="1249"/>
                  </a:lnTo>
                  <a:lnTo>
                    <a:pt x="224" y="1268"/>
                  </a:lnTo>
                  <a:lnTo>
                    <a:pt x="234" y="1297"/>
                  </a:lnTo>
                  <a:lnTo>
                    <a:pt x="253" y="1317"/>
                  </a:lnTo>
                  <a:lnTo>
                    <a:pt x="273" y="1307"/>
                  </a:lnTo>
                  <a:lnTo>
                    <a:pt x="283" y="1297"/>
                  </a:lnTo>
                  <a:lnTo>
                    <a:pt x="283" y="1307"/>
                  </a:lnTo>
                  <a:lnTo>
                    <a:pt x="302" y="1307"/>
                  </a:lnTo>
                  <a:lnTo>
                    <a:pt x="302" y="1288"/>
                  </a:lnTo>
                  <a:lnTo>
                    <a:pt x="322" y="1288"/>
                  </a:lnTo>
                  <a:lnTo>
                    <a:pt x="341" y="1268"/>
                  </a:lnTo>
                  <a:lnTo>
                    <a:pt x="341" y="1258"/>
                  </a:lnTo>
                  <a:lnTo>
                    <a:pt x="351" y="1249"/>
                  </a:lnTo>
                  <a:lnTo>
                    <a:pt x="351" y="1229"/>
                  </a:lnTo>
                  <a:lnTo>
                    <a:pt x="380" y="1219"/>
                  </a:lnTo>
                  <a:lnTo>
                    <a:pt x="400" y="1219"/>
                  </a:lnTo>
                  <a:lnTo>
                    <a:pt x="409" y="1210"/>
                  </a:lnTo>
                  <a:lnTo>
                    <a:pt x="419" y="1180"/>
                  </a:lnTo>
                  <a:lnTo>
                    <a:pt x="439" y="1190"/>
                  </a:lnTo>
                  <a:lnTo>
                    <a:pt x="458" y="1200"/>
                  </a:lnTo>
                  <a:lnTo>
                    <a:pt x="458" y="1210"/>
                  </a:lnTo>
                  <a:lnTo>
                    <a:pt x="468" y="1219"/>
                  </a:lnTo>
                  <a:lnTo>
                    <a:pt x="468" y="1239"/>
                  </a:lnTo>
                  <a:lnTo>
                    <a:pt x="478" y="1258"/>
                  </a:lnTo>
                  <a:lnTo>
                    <a:pt x="487" y="1258"/>
                  </a:lnTo>
                  <a:lnTo>
                    <a:pt x="497" y="1278"/>
                  </a:lnTo>
                  <a:lnTo>
                    <a:pt x="497" y="1297"/>
                  </a:lnTo>
                  <a:lnTo>
                    <a:pt x="439" y="1307"/>
                  </a:lnTo>
                  <a:lnTo>
                    <a:pt x="419" y="1317"/>
                  </a:lnTo>
                  <a:lnTo>
                    <a:pt x="409" y="1307"/>
                  </a:lnTo>
                  <a:lnTo>
                    <a:pt x="400" y="1307"/>
                  </a:lnTo>
                  <a:lnTo>
                    <a:pt x="400" y="1317"/>
                  </a:lnTo>
                  <a:lnTo>
                    <a:pt x="419" y="1346"/>
                  </a:lnTo>
                  <a:lnTo>
                    <a:pt x="429" y="1346"/>
                  </a:lnTo>
                  <a:lnTo>
                    <a:pt x="439" y="1366"/>
                  </a:lnTo>
                  <a:lnTo>
                    <a:pt x="419" y="1375"/>
                  </a:lnTo>
                  <a:lnTo>
                    <a:pt x="400" y="1385"/>
                  </a:lnTo>
                  <a:lnTo>
                    <a:pt x="390" y="1385"/>
                  </a:lnTo>
                  <a:lnTo>
                    <a:pt x="390" y="1405"/>
                  </a:lnTo>
                  <a:lnTo>
                    <a:pt x="390" y="1414"/>
                  </a:lnTo>
                  <a:lnTo>
                    <a:pt x="380" y="1414"/>
                  </a:lnTo>
                  <a:lnTo>
                    <a:pt x="380" y="1434"/>
                  </a:lnTo>
                  <a:lnTo>
                    <a:pt x="370" y="1444"/>
                  </a:lnTo>
                  <a:lnTo>
                    <a:pt x="361" y="1463"/>
                  </a:lnTo>
                  <a:lnTo>
                    <a:pt x="331" y="1463"/>
                  </a:lnTo>
                  <a:lnTo>
                    <a:pt x="341" y="1483"/>
                  </a:lnTo>
                  <a:lnTo>
                    <a:pt x="351" y="1492"/>
                  </a:lnTo>
                  <a:lnTo>
                    <a:pt x="351" y="1502"/>
                  </a:lnTo>
                  <a:lnTo>
                    <a:pt x="341" y="1502"/>
                  </a:lnTo>
                  <a:lnTo>
                    <a:pt x="341" y="1522"/>
                  </a:lnTo>
                  <a:lnTo>
                    <a:pt x="331" y="1541"/>
                  </a:lnTo>
                  <a:lnTo>
                    <a:pt x="322" y="1551"/>
                  </a:lnTo>
                  <a:lnTo>
                    <a:pt x="331" y="1571"/>
                  </a:lnTo>
                </a:path>
              </a:pathLst>
            </a:custGeom>
            <a:solidFill>
              <a:srgbClr val="969696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261" name="Freeform 91"/>
          <p:cNvSpPr>
            <a:spLocks/>
          </p:cNvSpPr>
          <p:nvPr>
            <p:custDataLst>
              <p:tags r:id="rId193"/>
            </p:custDataLst>
          </p:nvPr>
        </p:nvSpPr>
        <p:spPr bwMode="auto">
          <a:xfrm>
            <a:off x="2676525" y="3741738"/>
            <a:ext cx="346075" cy="236537"/>
          </a:xfrm>
          <a:custGeom>
            <a:avLst/>
            <a:gdLst/>
            <a:ahLst/>
            <a:cxnLst>
              <a:cxn ang="0">
                <a:pos x="478" y="244"/>
              </a:cxn>
              <a:cxn ang="0">
                <a:pos x="449" y="244"/>
              </a:cxn>
              <a:cxn ang="0">
                <a:pos x="439" y="283"/>
              </a:cxn>
              <a:cxn ang="0">
                <a:pos x="420" y="322"/>
              </a:cxn>
              <a:cxn ang="0">
                <a:pos x="420" y="342"/>
              </a:cxn>
              <a:cxn ang="0">
                <a:pos x="391" y="361"/>
              </a:cxn>
              <a:cxn ang="0">
                <a:pos x="361" y="361"/>
              </a:cxn>
              <a:cxn ang="0">
                <a:pos x="361" y="342"/>
              </a:cxn>
              <a:cxn ang="0">
                <a:pos x="342" y="322"/>
              </a:cxn>
              <a:cxn ang="0">
                <a:pos x="322" y="332"/>
              </a:cxn>
              <a:cxn ang="0">
                <a:pos x="303" y="332"/>
              </a:cxn>
              <a:cxn ang="0">
                <a:pos x="293" y="312"/>
              </a:cxn>
              <a:cxn ang="0">
                <a:pos x="235" y="293"/>
              </a:cxn>
              <a:cxn ang="0">
                <a:pos x="235" y="254"/>
              </a:cxn>
              <a:cxn ang="0">
                <a:pos x="195" y="264"/>
              </a:cxn>
              <a:cxn ang="0">
                <a:pos x="166" y="264"/>
              </a:cxn>
              <a:cxn ang="0">
                <a:pos x="147" y="244"/>
              </a:cxn>
              <a:cxn ang="0">
                <a:pos x="147" y="205"/>
              </a:cxn>
              <a:cxn ang="0">
                <a:pos x="117" y="205"/>
              </a:cxn>
              <a:cxn ang="0">
                <a:pos x="59" y="176"/>
              </a:cxn>
              <a:cxn ang="0">
                <a:pos x="10" y="108"/>
              </a:cxn>
              <a:cxn ang="0">
                <a:pos x="30" y="88"/>
              </a:cxn>
              <a:cxn ang="0">
                <a:pos x="59" y="69"/>
              </a:cxn>
              <a:cxn ang="0">
                <a:pos x="78" y="49"/>
              </a:cxn>
              <a:cxn ang="0">
                <a:pos x="88" y="20"/>
              </a:cxn>
              <a:cxn ang="0">
                <a:pos x="98" y="0"/>
              </a:cxn>
              <a:cxn ang="0">
                <a:pos x="127" y="0"/>
              </a:cxn>
              <a:cxn ang="0">
                <a:pos x="147" y="10"/>
              </a:cxn>
              <a:cxn ang="0">
                <a:pos x="156" y="10"/>
              </a:cxn>
              <a:cxn ang="0">
                <a:pos x="186" y="30"/>
              </a:cxn>
              <a:cxn ang="0">
                <a:pos x="205" y="39"/>
              </a:cxn>
              <a:cxn ang="0">
                <a:pos x="235" y="49"/>
              </a:cxn>
              <a:cxn ang="0">
                <a:pos x="244" y="78"/>
              </a:cxn>
              <a:cxn ang="0">
                <a:pos x="293" y="69"/>
              </a:cxn>
              <a:cxn ang="0">
                <a:pos x="313" y="69"/>
              </a:cxn>
              <a:cxn ang="0">
                <a:pos x="332" y="49"/>
              </a:cxn>
              <a:cxn ang="0">
                <a:pos x="352" y="98"/>
              </a:cxn>
              <a:cxn ang="0">
                <a:pos x="371" y="108"/>
              </a:cxn>
              <a:cxn ang="0">
                <a:pos x="400" y="117"/>
              </a:cxn>
              <a:cxn ang="0">
                <a:pos x="459" y="166"/>
              </a:cxn>
              <a:cxn ang="0">
                <a:pos x="488" y="166"/>
              </a:cxn>
              <a:cxn ang="0">
                <a:pos x="517" y="186"/>
              </a:cxn>
              <a:cxn ang="0">
                <a:pos x="508" y="215"/>
              </a:cxn>
              <a:cxn ang="0">
                <a:pos x="469" y="234"/>
              </a:cxn>
            </a:cxnLst>
            <a:rect l="0" t="0" r="r" b="b"/>
            <a:pathLst>
              <a:path w="517" h="381">
                <a:moveTo>
                  <a:pt x="469" y="234"/>
                </a:moveTo>
                <a:lnTo>
                  <a:pt x="478" y="244"/>
                </a:lnTo>
                <a:lnTo>
                  <a:pt x="469" y="244"/>
                </a:lnTo>
                <a:lnTo>
                  <a:pt x="449" y="244"/>
                </a:lnTo>
                <a:lnTo>
                  <a:pt x="449" y="264"/>
                </a:lnTo>
                <a:lnTo>
                  <a:pt x="439" y="283"/>
                </a:lnTo>
                <a:lnTo>
                  <a:pt x="420" y="303"/>
                </a:lnTo>
                <a:lnTo>
                  <a:pt x="420" y="322"/>
                </a:lnTo>
                <a:lnTo>
                  <a:pt x="430" y="332"/>
                </a:lnTo>
                <a:lnTo>
                  <a:pt x="420" y="342"/>
                </a:lnTo>
                <a:lnTo>
                  <a:pt x="410" y="342"/>
                </a:lnTo>
                <a:lnTo>
                  <a:pt x="391" y="361"/>
                </a:lnTo>
                <a:lnTo>
                  <a:pt x="361" y="381"/>
                </a:lnTo>
                <a:lnTo>
                  <a:pt x="361" y="361"/>
                </a:lnTo>
                <a:lnTo>
                  <a:pt x="361" y="351"/>
                </a:lnTo>
                <a:lnTo>
                  <a:pt x="361" y="342"/>
                </a:lnTo>
                <a:lnTo>
                  <a:pt x="352" y="342"/>
                </a:lnTo>
                <a:lnTo>
                  <a:pt x="342" y="322"/>
                </a:lnTo>
                <a:lnTo>
                  <a:pt x="332" y="322"/>
                </a:lnTo>
                <a:lnTo>
                  <a:pt x="322" y="332"/>
                </a:lnTo>
                <a:lnTo>
                  <a:pt x="303" y="332"/>
                </a:lnTo>
                <a:lnTo>
                  <a:pt x="293" y="332"/>
                </a:lnTo>
                <a:lnTo>
                  <a:pt x="293" y="312"/>
                </a:lnTo>
                <a:lnTo>
                  <a:pt x="274" y="303"/>
                </a:lnTo>
                <a:lnTo>
                  <a:pt x="235" y="293"/>
                </a:lnTo>
                <a:lnTo>
                  <a:pt x="235" y="273"/>
                </a:lnTo>
                <a:lnTo>
                  <a:pt x="235" y="254"/>
                </a:lnTo>
                <a:lnTo>
                  <a:pt x="215" y="254"/>
                </a:lnTo>
                <a:lnTo>
                  <a:pt x="195" y="264"/>
                </a:lnTo>
                <a:lnTo>
                  <a:pt x="176" y="254"/>
                </a:lnTo>
                <a:lnTo>
                  <a:pt x="166" y="264"/>
                </a:lnTo>
                <a:lnTo>
                  <a:pt x="156" y="254"/>
                </a:lnTo>
                <a:lnTo>
                  <a:pt x="147" y="244"/>
                </a:lnTo>
                <a:lnTo>
                  <a:pt x="147" y="225"/>
                </a:lnTo>
                <a:lnTo>
                  <a:pt x="147" y="205"/>
                </a:lnTo>
                <a:lnTo>
                  <a:pt x="147" y="195"/>
                </a:lnTo>
                <a:lnTo>
                  <a:pt x="117" y="205"/>
                </a:lnTo>
                <a:lnTo>
                  <a:pt x="88" y="195"/>
                </a:lnTo>
                <a:lnTo>
                  <a:pt x="59" y="176"/>
                </a:lnTo>
                <a:lnTo>
                  <a:pt x="30" y="147"/>
                </a:lnTo>
                <a:lnTo>
                  <a:pt x="10" y="108"/>
                </a:lnTo>
                <a:lnTo>
                  <a:pt x="0" y="98"/>
                </a:lnTo>
                <a:lnTo>
                  <a:pt x="30" y="88"/>
                </a:lnTo>
                <a:lnTo>
                  <a:pt x="49" y="78"/>
                </a:lnTo>
                <a:lnTo>
                  <a:pt x="59" y="69"/>
                </a:lnTo>
                <a:lnTo>
                  <a:pt x="69" y="49"/>
                </a:lnTo>
                <a:lnTo>
                  <a:pt x="78" y="49"/>
                </a:lnTo>
                <a:lnTo>
                  <a:pt x="88" y="30"/>
                </a:lnTo>
                <a:lnTo>
                  <a:pt x="88" y="20"/>
                </a:lnTo>
                <a:lnTo>
                  <a:pt x="88" y="10"/>
                </a:lnTo>
                <a:lnTo>
                  <a:pt x="98" y="0"/>
                </a:lnTo>
                <a:lnTo>
                  <a:pt x="108" y="0"/>
                </a:lnTo>
                <a:lnTo>
                  <a:pt x="127" y="0"/>
                </a:lnTo>
                <a:lnTo>
                  <a:pt x="137" y="0"/>
                </a:lnTo>
                <a:lnTo>
                  <a:pt x="147" y="10"/>
                </a:lnTo>
                <a:lnTo>
                  <a:pt x="147" y="20"/>
                </a:lnTo>
                <a:lnTo>
                  <a:pt x="156" y="10"/>
                </a:lnTo>
                <a:lnTo>
                  <a:pt x="166" y="10"/>
                </a:lnTo>
                <a:lnTo>
                  <a:pt x="186" y="30"/>
                </a:lnTo>
                <a:lnTo>
                  <a:pt x="205" y="30"/>
                </a:lnTo>
                <a:lnTo>
                  <a:pt x="205" y="39"/>
                </a:lnTo>
                <a:lnTo>
                  <a:pt x="205" y="49"/>
                </a:lnTo>
                <a:lnTo>
                  <a:pt x="235" y="49"/>
                </a:lnTo>
                <a:lnTo>
                  <a:pt x="244" y="59"/>
                </a:lnTo>
                <a:lnTo>
                  <a:pt x="244" y="78"/>
                </a:lnTo>
                <a:lnTo>
                  <a:pt x="264" y="69"/>
                </a:lnTo>
                <a:lnTo>
                  <a:pt x="293" y="69"/>
                </a:lnTo>
                <a:lnTo>
                  <a:pt x="313" y="69"/>
                </a:lnTo>
                <a:lnTo>
                  <a:pt x="322" y="59"/>
                </a:lnTo>
                <a:lnTo>
                  <a:pt x="332" y="49"/>
                </a:lnTo>
                <a:lnTo>
                  <a:pt x="342" y="59"/>
                </a:lnTo>
                <a:lnTo>
                  <a:pt x="352" y="98"/>
                </a:lnTo>
                <a:lnTo>
                  <a:pt x="361" y="108"/>
                </a:lnTo>
                <a:lnTo>
                  <a:pt x="371" y="108"/>
                </a:lnTo>
                <a:lnTo>
                  <a:pt x="391" y="117"/>
                </a:lnTo>
                <a:lnTo>
                  <a:pt x="400" y="117"/>
                </a:lnTo>
                <a:lnTo>
                  <a:pt x="430" y="147"/>
                </a:lnTo>
                <a:lnTo>
                  <a:pt x="459" y="166"/>
                </a:lnTo>
                <a:lnTo>
                  <a:pt x="469" y="166"/>
                </a:lnTo>
                <a:lnTo>
                  <a:pt x="488" y="166"/>
                </a:lnTo>
                <a:lnTo>
                  <a:pt x="498" y="166"/>
                </a:lnTo>
                <a:lnTo>
                  <a:pt x="517" y="186"/>
                </a:lnTo>
                <a:lnTo>
                  <a:pt x="508" y="205"/>
                </a:lnTo>
                <a:lnTo>
                  <a:pt x="508" y="215"/>
                </a:lnTo>
                <a:lnTo>
                  <a:pt x="488" y="225"/>
                </a:lnTo>
                <a:lnTo>
                  <a:pt x="469" y="23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en-US" sz="1100">
              <a:latin typeface="Polo" pitchFamily="2" charset="0"/>
              <a:cs typeface="+mn-cs"/>
            </a:endParaRPr>
          </a:p>
        </p:txBody>
      </p:sp>
      <p:sp>
        <p:nvSpPr>
          <p:cNvPr id="18628" name="Freeform 90"/>
          <p:cNvSpPr>
            <a:spLocks noChangeAspect="1"/>
          </p:cNvSpPr>
          <p:nvPr>
            <p:custDataLst>
              <p:tags r:id="rId194"/>
            </p:custDataLst>
          </p:nvPr>
        </p:nvSpPr>
        <p:spPr bwMode="auto">
          <a:xfrm>
            <a:off x="5403850" y="3413125"/>
            <a:ext cx="1465263" cy="1473200"/>
          </a:xfrm>
          <a:custGeom>
            <a:avLst/>
            <a:gdLst>
              <a:gd name="T0" fmla="*/ 586105 w 2195"/>
              <a:gd name="T1" fmla="*/ 1358252 h 2371"/>
              <a:gd name="T2" fmla="*/ 508002 w 2195"/>
              <a:gd name="T3" fmla="*/ 1303574 h 2371"/>
              <a:gd name="T4" fmla="*/ 410541 w 2195"/>
              <a:gd name="T5" fmla="*/ 1279342 h 2371"/>
              <a:gd name="T6" fmla="*/ 325762 w 2195"/>
              <a:gd name="T7" fmla="*/ 1358252 h 2371"/>
              <a:gd name="T8" fmla="*/ 202266 w 2195"/>
              <a:gd name="T9" fmla="*/ 1370057 h 2371"/>
              <a:gd name="T10" fmla="*/ 195591 w 2195"/>
              <a:gd name="T11" fmla="*/ 1237090 h 2371"/>
              <a:gd name="T12" fmla="*/ 169557 w 2195"/>
              <a:gd name="T13" fmla="*/ 1145753 h 2371"/>
              <a:gd name="T14" fmla="*/ 124164 w 2195"/>
              <a:gd name="T15" fmla="*/ 1048824 h 2371"/>
              <a:gd name="T16" fmla="*/ 20026 w 2195"/>
              <a:gd name="T17" fmla="*/ 1024592 h 2371"/>
              <a:gd name="T18" fmla="*/ 26034 w 2195"/>
              <a:gd name="T19" fmla="*/ 879198 h 2371"/>
              <a:gd name="T20" fmla="*/ 20026 w 2195"/>
              <a:gd name="T21" fmla="*/ 715785 h 2371"/>
              <a:gd name="T22" fmla="*/ 84778 w 2195"/>
              <a:gd name="T23" fmla="*/ 630661 h 2371"/>
              <a:gd name="T24" fmla="*/ 130839 w 2195"/>
              <a:gd name="T25" fmla="*/ 521305 h 2371"/>
              <a:gd name="T26" fmla="*/ 78103 w 2195"/>
              <a:gd name="T27" fmla="*/ 375911 h 2371"/>
              <a:gd name="T28" fmla="*/ 136847 w 2195"/>
              <a:gd name="T29" fmla="*/ 370319 h 2371"/>
              <a:gd name="T30" fmla="*/ 202266 w 2195"/>
              <a:gd name="T31" fmla="*/ 351679 h 2371"/>
              <a:gd name="T32" fmla="*/ 345121 w 2195"/>
              <a:gd name="T33" fmla="*/ 364106 h 2371"/>
              <a:gd name="T34" fmla="*/ 365148 w 2195"/>
              <a:gd name="T35" fmla="*/ 303214 h 2371"/>
              <a:gd name="T36" fmla="*/ 436575 w 2195"/>
              <a:gd name="T37" fmla="*/ 297001 h 2371"/>
              <a:gd name="T38" fmla="*/ 501994 w 2195"/>
              <a:gd name="T39" fmla="*/ 303214 h 2371"/>
              <a:gd name="T40" fmla="*/ 521353 w 2195"/>
              <a:gd name="T41" fmla="*/ 333660 h 2371"/>
              <a:gd name="T42" fmla="*/ 501994 w 2195"/>
              <a:gd name="T43" fmla="*/ 357893 h 2371"/>
              <a:gd name="T44" fmla="*/ 540712 w 2195"/>
              <a:gd name="T45" fmla="*/ 370319 h 2371"/>
              <a:gd name="T46" fmla="*/ 580097 w 2195"/>
              <a:gd name="T47" fmla="*/ 418784 h 2371"/>
              <a:gd name="T48" fmla="*/ 632166 w 2195"/>
              <a:gd name="T49" fmla="*/ 418784 h 2371"/>
              <a:gd name="T50" fmla="*/ 664208 w 2195"/>
              <a:gd name="T51" fmla="*/ 357893 h 2371"/>
              <a:gd name="T52" fmla="*/ 755662 w 2195"/>
              <a:gd name="T53" fmla="*/ 321233 h 2371"/>
              <a:gd name="T54" fmla="*/ 755662 w 2195"/>
              <a:gd name="T55" fmla="*/ 315641 h 2371"/>
              <a:gd name="T56" fmla="*/ 794379 w 2195"/>
              <a:gd name="T57" fmla="*/ 272769 h 2371"/>
              <a:gd name="T58" fmla="*/ 748986 w 2195"/>
              <a:gd name="T59" fmla="*/ 248536 h 2371"/>
              <a:gd name="T60" fmla="*/ 748986 w 2195"/>
              <a:gd name="T61" fmla="*/ 188266 h 2371"/>
              <a:gd name="T62" fmla="*/ 859799 w 2195"/>
              <a:gd name="T63" fmla="*/ 157821 h 2371"/>
              <a:gd name="T64" fmla="*/ 899184 w 2195"/>
              <a:gd name="T65" fmla="*/ 164034 h 2371"/>
              <a:gd name="T66" fmla="*/ 879158 w 2195"/>
              <a:gd name="T67" fmla="*/ 188266 h 2371"/>
              <a:gd name="T68" fmla="*/ 977287 w 2195"/>
              <a:gd name="T69" fmla="*/ 109356 h 2371"/>
              <a:gd name="T70" fmla="*/ 1009329 w 2195"/>
              <a:gd name="T71" fmla="*/ 121783 h 2371"/>
              <a:gd name="T72" fmla="*/ 1094107 w 2195"/>
              <a:gd name="T73" fmla="*/ 109356 h 2371"/>
              <a:gd name="T74" fmla="*/ 1237630 w 2195"/>
              <a:gd name="T75" fmla="*/ 18640 h 2371"/>
              <a:gd name="T76" fmla="*/ 1322408 w 2195"/>
              <a:gd name="T77" fmla="*/ 36659 h 2371"/>
              <a:gd name="T78" fmla="*/ 1380485 w 2195"/>
              <a:gd name="T79" fmla="*/ 30446 h 2371"/>
              <a:gd name="T80" fmla="*/ 1354450 w 2195"/>
              <a:gd name="T81" fmla="*/ 146015 h 2371"/>
              <a:gd name="T82" fmla="*/ 1458588 w 2195"/>
              <a:gd name="T83" fmla="*/ 230518 h 2371"/>
              <a:gd name="T84" fmla="*/ 1380485 w 2195"/>
              <a:gd name="T85" fmla="*/ 321233 h 2371"/>
              <a:gd name="T86" fmla="*/ 1400511 w 2195"/>
              <a:gd name="T87" fmla="*/ 418784 h 2371"/>
              <a:gd name="T88" fmla="*/ 1380485 w 2195"/>
              <a:gd name="T89" fmla="*/ 509500 h 2371"/>
              <a:gd name="T90" fmla="*/ 1341767 w 2195"/>
              <a:gd name="T91" fmla="*/ 539945 h 2371"/>
              <a:gd name="T92" fmla="*/ 1302382 w 2195"/>
              <a:gd name="T93" fmla="*/ 606429 h 2371"/>
              <a:gd name="T94" fmla="*/ 1348442 w 2195"/>
              <a:gd name="T95" fmla="*/ 740017 h 2371"/>
              <a:gd name="T96" fmla="*/ 1302382 w 2195"/>
              <a:gd name="T97" fmla="*/ 788482 h 2371"/>
              <a:gd name="T98" fmla="*/ 1218271 w 2195"/>
              <a:gd name="T99" fmla="*/ 836947 h 2371"/>
              <a:gd name="T100" fmla="*/ 1250313 w 2195"/>
              <a:gd name="T101" fmla="*/ 988554 h 2371"/>
              <a:gd name="T102" fmla="*/ 1178886 w 2195"/>
              <a:gd name="T103" fmla="*/ 1085483 h 2371"/>
              <a:gd name="T104" fmla="*/ 1100783 w 2195"/>
              <a:gd name="T105" fmla="*/ 1151966 h 2371"/>
              <a:gd name="T106" fmla="*/ 1100783 w 2195"/>
              <a:gd name="T107" fmla="*/ 1230877 h 2371"/>
              <a:gd name="T108" fmla="*/ 1133493 w 2195"/>
              <a:gd name="T109" fmla="*/ 1340233 h 2371"/>
              <a:gd name="T110" fmla="*/ 1022680 w 2195"/>
              <a:gd name="T111" fmla="*/ 1442754 h 2371"/>
              <a:gd name="T112" fmla="*/ 937902 w 2195"/>
              <a:gd name="T113" fmla="*/ 1455181 h 2371"/>
              <a:gd name="T114" fmla="*/ 788372 w 2195"/>
              <a:gd name="T115" fmla="*/ 1448968 h 2371"/>
              <a:gd name="T116" fmla="*/ 664208 w 2195"/>
              <a:gd name="T117" fmla="*/ 1461395 h 237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2195"/>
              <a:gd name="T178" fmla="*/ 0 h 2371"/>
              <a:gd name="T179" fmla="*/ 2195 w 2195"/>
              <a:gd name="T180" fmla="*/ 2371 h 2371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2195" h="2371">
                <a:moveTo>
                  <a:pt x="937" y="2283"/>
                </a:moveTo>
                <a:lnTo>
                  <a:pt x="917" y="2303"/>
                </a:lnTo>
                <a:lnTo>
                  <a:pt x="908" y="2293"/>
                </a:lnTo>
                <a:lnTo>
                  <a:pt x="917" y="2283"/>
                </a:lnTo>
                <a:lnTo>
                  <a:pt x="917" y="2274"/>
                </a:lnTo>
                <a:lnTo>
                  <a:pt x="908" y="2274"/>
                </a:lnTo>
                <a:lnTo>
                  <a:pt x="908" y="2264"/>
                </a:lnTo>
                <a:lnTo>
                  <a:pt x="908" y="2244"/>
                </a:lnTo>
                <a:lnTo>
                  <a:pt x="898" y="2225"/>
                </a:lnTo>
                <a:lnTo>
                  <a:pt x="888" y="2205"/>
                </a:lnTo>
                <a:lnTo>
                  <a:pt x="888" y="2196"/>
                </a:lnTo>
                <a:lnTo>
                  <a:pt x="878" y="2186"/>
                </a:lnTo>
                <a:lnTo>
                  <a:pt x="859" y="2186"/>
                </a:lnTo>
                <a:lnTo>
                  <a:pt x="859" y="2166"/>
                </a:lnTo>
                <a:lnTo>
                  <a:pt x="859" y="2147"/>
                </a:lnTo>
                <a:lnTo>
                  <a:pt x="859" y="2127"/>
                </a:lnTo>
                <a:lnTo>
                  <a:pt x="839" y="2127"/>
                </a:lnTo>
                <a:lnTo>
                  <a:pt x="839" y="2108"/>
                </a:lnTo>
                <a:lnTo>
                  <a:pt x="830" y="2098"/>
                </a:lnTo>
                <a:lnTo>
                  <a:pt x="820" y="2108"/>
                </a:lnTo>
                <a:lnTo>
                  <a:pt x="791" y="2088"/>
                </a:lnTo>
                <a:lnTo>
                  <a:pt x="791" y="2098"/>
                </a:lnTo>
                <a:lnTo>
                  <a:pt x="781" y="2108"/>
                </a:lnTo>
                <a:lnTo>
                  <a:pt x="761" y="2098"/>
                </a:lnTo>
                <a:lnTo>
                  <a:pt x="761" y="2108"/>
                </a:lnTo>
                <a:lnTo>
                  <a:pt x="742" y="2118"/>
                </a:lnTo>
                <a:lnTo>
                  <a:pt x="732" y="2098"/>
                </a:lnTo>
                <a:lnTo>
                  <a:pt x="732" y="2079"/>
                </a:lnTo>
                <a:lnTo>
                  <a:pt x="732" y="2059"/>
                </a:lnTo>
                <a:lnTo>
                  <a:pt x="732" y="2049"/>
                </a:lnTo>
                <a:lnTo>
                  <a:pt x="703" y="2030"/>
                </a:lnTo>
                <a:lnTo>
                  <a:pt x="683" y="2030"/>
                </a:lnTo>
                <a:lnTo>
                  <a:pt x="644" y="2020"/>
                </a:lnTo>
                <a:lnTo>
                  <a:pt x="615" y="2040"/>
                </a:lnTo>
                <a:lnTo>
                  <a:pt x="615" y="2059"/>
                </a:lnTo>
                <a:lnTo>
                  <a:pt x="595" y="2079"/>
                </a:lnTo>
                <a:lnTo>
                  <a:pt x="586" y="2127"/>
                </a:lnTo>
                <a:lnTo>
                  <a:pt x="556" y="2157"/>
                </a:lnTo>
                <a:lnTo>
                  <a:pt x="547" y="2166"/>
                </a:lnTo>
                <a:lnTo>
                  <a:pt x="547" y="2205"/>
                </a:lnTo>
                <a:lnTo>
                  <a:pt x="527" y="2215"/>
                </a:lnTo>
                <a:lnTo>
                  <a:pt x="517" y="2225"/>
                </a:lnTo>
                <a:lnTo>
                  <a:pt x="508" y="2244"/>
                </a:lnTo>
                <a:lnTo>
                  <a:pt x="498" y="2225"/>
                </a:lnTo>
                <a:lnTo>
                  <a:pt x="498" y="2215"/>
                </a:lnTo>
                <a:lnTo>
                  <a:pt x="498" y="2186"/>
                </a:lnTo>
                <a:lnTo>
                  <a:pt x="488" y="2186"/>
                </a:lnTo>
                <a:lnTo>
                  <a:pt x="478" y="2166"/>
                </a:lnTo>
                <a:lnTo>
                  <a:pt x="459" y="2196"/>
                </a:lnTo>
                <a:lnTo>
                  <a:pt x="439" y="2215"/>
                </a:lnTo>
                <a:lnTo>
                  <a:pt x="420" y="2225"/>
                </a:lnTo>
                <a:lnTo>
                  <a:pt x="400" y="2225"/>
                </a:lnTo>
                <a:lnTo>
                  <a:pt x="381" y="2225"/>
                </a:lnTo>
                <a:lnTo>
                  <a:pt x="371" y="2244"/>
                </a:lnTo>
                <a:lnTo>
                  <a:pt x="361" y="2254"/>
                </a:lnTo>
                <a:lnTo>
                  <a:pt x="332" y="2254"/>
                </a:lnTo>
                <a:lnTo>
                  <a:pt x="313" y="2235"/>
                </a:lnTo>
                <a:lnTo>
                  <a:pt x="303" y="2225"/>
                </a:lnTo>
                <a:lnTo>
                  <a:pt x="303" y="2205"/>
                </a:lnTo>
                <a:lnTo>
                  <a:pt x="313" y="2176"/>
                </a:lnTo>
                <a:lnTo>
                  <a:pt x="313" y="2127"/>
                </a:lnTo>
                <a:lnTo>
                  <a:pt x="322" y="2069"/>
                </a:lnTo>
                <a:lnTo>
                  <a:pt x="332" y="2069"/>
                </a:lnTo>
                <a:lnTo>
                  <a:pt x="332" y="2059"/>
                </a:lnTo>
                <a:lnTo>
                  <a:pt x="332" y="2049"/>
                </a:lnTo>
                <a:lnTo>
                  <a:pt x="332" y="2040"/>
                </a:lnTo>
                <a:lnTo>
                  <a:pt x="342" y="2030"/>
                </a:lnTo>
                <a:lnTo>
                  <a:pt x="342" y="2020"/>
                </a:lnTo>
                <a:lnTo>
                  <a:pt x="332" y="2010"/>
                </a:lnTo>
                <a:lnTo>
                  <a:pt x="303" y="2001"/>
                </a:lnTo>
                <a:lnTo>
                  <a:pt x="293" y="1991"/>
                </a:lnTo>
                <a:lnTo>
                  <a:pt x="293" y="1971"/>
                </a:lnTo>
                <a:lnTo>
                  <a:pt x="293" y="1961"/>
                </a:lnTo>
                <a:lnTo>
                  <a:pt x="283" y="1961"/>
                </a:lnTo>
                <a:lnTo>
                  <a:pt x="283" y="1952"/>
                </a:lnTo>
                <a:lnTo>
                  <a:pt x="283" y="1932"/>
                </a:lnTo>
                <a:lnTo>
                  <a:pt x="283" y="1922"/>
                </a:lnTo>
                <a:lnTo>
                  <a:pt x="283" y="1874"/>
                </a:lnTo>
                <a:lnTo>
                  <a:pt x="274" y="1874"/>
                </a:lnTo>
                <a:lnTo>
                  <a:pt x="254" y="1874"/>
                </a:lnTo>
                <a:lnTo>
                  <a:pt x="244" y="1854"/>
                </a:lnTo>
                <a:lnTo>
                  <a:pt x="254" y="1844"/>
                </a:lnTo>
                <a:lnTo>
                  <a:pt x="264" y="1825"/>
                </a:lnTo>
                <a:lnTo>
                  <a:pt x="244" y="1786"/>
                </a:lnTo>
                <a:lnTo>
                  <a:pt x="225" y="1766"/>
                </a:lnTo>
                <a:lnTo>
                  <a:pt x="215" y="1757"/>
                </a:lnTo>
                <a:lnTo>
                  <a:pt x="186" y="1757"/>
                </a:lnTo>
                <a:lnTo>
                  <a:pt x="166" y="1747"/>
                </a:lnTo>
                <a:lnTo>
                  <a:pt x="166" y="1737"/>
                </a:lnTo>
                <a:lnTo>
                  <a:pt x="176" y="1727"/>
                </a:lnTo>
                <a:lnTo>
                  <a:pt x="186" y="1718"/>
                </a:lnTo>
                <a:lnTo>
                  <a:pt x="196" y="1718"/>
                </a:lnTo>
                <a:lnTo>
                  <a:pt x="196" y="1708"/>
                </a:lnTo>
                <a:lnTo>
                  <a:pt x="186" y="1688"/>
                </a:lnTo>
                <a:lnTo>
                  <a:pt x="176" y="1669"/>
                </a:lnTo>
                <a:lnTo>
                  <a:pt x="166" y="1669"/>
                </a:lnTo>
                <a:lnTo>
                  <a:pt x="166" y="1679"/>
                </a:lnTo>
                <a:lnTo>
                  <a:pt x="127" y="1669"/>
                </a:lnTo>
                <a:lnTo>
                  <a:pt x="117" y="1679"/>
                </a:lnTo>
                <a:lnTo>
                  <a:pt x="88" y="1669"/>
                </a:lnTo>
                <a:lnTo>
                  <a:pt x="78" y="1659"/>
                </a:lnTo>
                <a:lnTo>
                  <a:pt x="69" y="1659"/>
                </a:lnTo>
                <a:lnTo>
                  <a:pt x="69" y="1669"/>
                </a:lnTo>
                <a:lnTo>
                  <a:pt x="49" y="1659"/>
                </a:lnTo>
                <a:lnTo>
                  <a:pt x="30" y="1659"/>
                </a:lnTo>
                <a:lnTo>
                  <a:pt x="30" y="1649"/>
                </a:lnTo>
                <a:lnTo>
                  <a:pt x="39" y="1620"/>
                </a:lnTo>
                <a:lnTo>
                  <a:pt x="39" y="1591"/>
                </a:lnTo>
                <a:lnTo>
                  <a:pt x="59" y="1571"/>
                </a:lnTo>
                <a:lnTo>
                  <a:pt x="78" y="1552"/>
                </a:lnTo>
                <a:lnTo>
                  <a:pt x="78" y="1542"/>
                </a:lnTo>
                <a:lnTo>
                  <a:pt x="69" y="1532"/>
                </a:lnTo>
                <a:lnTo>
                  <a:pt x="59" y="1513"/>
                </a:lnTo>
                <a:lnTo>
                  <a:pt x="59" y="1483"/>
                </a:lnTo>
                <a:lnTo>
                  <a:pt x="49" y="1464"/>
                </a:lnTo>
                <a:lnTo>
                  <a:pt x="30" y="1454"/>
                </a:lnTo>
                <a:lnTo>
                  <a:pt x="30" y="1435"/>
                </a:lnTo>
                <a:lnTo>
                  <a:pt x="39" y="1415"/>
                </a:lnTo>
                <a:lnTo>
                  <a:pt x="30" y="1396"/>
                </a:lnTo>
                <a:lnTo>
                  <a:pt x="20" y="1386"/>
                </a:lnTo>
                <a:lnTo>
                  <a:pt x="0" y="1386"/>
                </a:lnTo>
                <a:lnTo>
                  <a:pt x="10" y="1366"/>
                </a:lnTo>
                <a:lnTo>
                  <a:pt x="20" y="1357"/>
                </a:lnTo>
                <a:lnTo>
                  <a:pt x="30" y="1347"/>
                </a:lnTo>
                <a:lnTo>
                  <a:pt x="39" y="1347"/>
                </a:lnTo>
                <a:lnTo>
                  <a:pt x="49" y="1327"/>
                </a:lnTo>
                <a:lnTo>
                  <a:pt x="39" y="1269"/>
                </a:lnTo>
                <a:lnTo>
                  <a:pt x="39" y="1220"/>
                </a:lnTo>
                <a:lnTo>
                  <a:pt x="30" y="1152"/>
                </a:lnTo>
                <a:lnTo>
                  <a:pt x="20" y="1122"/>
                </a:lnTo>
                <a:lnTo>
                  <a:pt x="0" y="1103"/>
                </a:lnTo>
                <a:lnTo>
                  <a:pt x="10" y="1083"/>
                </a:lnTo>
                <a:lnTo>
                  <a:pt x="30" y="1083"/>
                </a:lnTo>
                <a:lnTo>
                  <a:pt x="49" y="1074"/>
                </a:lnTo>
                <a:lnTo>
                  <a:pt x="69" y="1054"/>
                </a:lnTo>
                <a:lnTo>
                  <a:pt x="78" y="1044"/>
                </a:lnTo>
                <a:lnTo>
                  <a:pt x="88" y="1044"/>
                </a:lnTo>
                <a:lnTo>
                  <a:pt x="98" y="1044"/>
                </a:lnTo>
                <a:lnTo>
                  <a:pt x="117" y="1044"/>
                </a:lnTo>
                <a:lnTo>
                  <a:pt x="127" y="1025"/>
                </a:lnTo>
                <a:lnTo>
                  <a:pt x="127" y="1015"/>
                </a:lnTo>
                <a:lnTo>
                  <a:pt x="127" y="996"/>
                </a:lnTo>
                <a:lnTo>
                  <a:pt x="137" y="986"/>
                </a:lnTo>
                <a:lnTo>
                  <a:pt x="137" y="966"/>
                </a:lnTo>
                <a:lnTo>
                  <a:pt x="157" y="966"/>
                </a:lnTo>
                <a:lnTo>
                  <a:pt x="157" y="937"/>
                </a:lnTo>
                <a:lnTo>
                  <a:pt x="186" y="908"/>
                </a:lnTo>
                <a:lnTo>
                  <a:pt x="205" y="888"/>
                </a:lnTo>
                <a:lnTo>
                  <a:pt x="225" y="878"/>
                </a:lnTo>
                <a:lnTo>
                  <a:pt x="225" y="869"/>
                </a:lnTo>
                <a:lnTo>
                  <a:pt x="225" y="849"/>
                </a:lnTo>
                <a:lnTo>
                  <a:pt x="196" y="839"/>
                </a:lnTo>
                <a:lnTo>
                  <a:pt x="196" y="820"/>
                </a:lnTo>
                <a:lnTo>
                  <a:pt x="196" y="791"/>
                </a:lnTo>
                <a:lnTo>
                  <a:pt x="166" y="761"/>
                </a:lnTo>
                <a:lnTo>
                  <a:pt x="147" y="742"/>
                </a:lnTo>
                <a:lnTo>
                  <a:pt x="137" y="742"/>
                </a:lnTo>
                <a:lnTo>
                  <a:pt x="137" y="722"/>
                </a:lnTo>
                <a:lnTo>
                  <a:pt x="108" y="703"/>
                </a:lnTo>
                <a:lnTo>
                  <a:pt x="117" y="674"/>
                </a:lnTo>
                <a:lnTo>
                  <a:pt x="108" y="654"/>
                </a:lnTo>
                <a:lnTo>
                  <a:pt x="88" y="635"/>
                </a:lnTo>
                <a:lnTo>
                  <a:pt x="98" y="625"/>
                </a:lnTo>
                <a:lnTo>
                  <a:pt x="117" y="605"/>
                </a:lnTo>
                <a:lnTo>
                  <a:pt x="117" y="596"/>
                </a:lnTo>
                <a:lnTo>
                  <a:pt x="117" y="586"/>
                </a:lnTo>
                <a:lnTo>
                  <a:pt x="127" y="576"/>
                </a:lnTo>
                <a:lnTo>
                  <a:pt x="137" y="586"/>
                </a:lnTo>
                <a:lnTo>
                  <a:pt x="166" y="586"/>
                </a:lnTo>
                <a:lnTo>
                  <a:pt x="186" y="576"/>
                </a:lnTo>
                <a:lnTo>
                  <a:pt x="176" y="566"/>
                </a:lnTo>
                <a:lnTo>
                  <a:pt x="176" y="557"/>
                </a:lnTo>
                <a:lnTo>
                  <a:pt x="186" y="557"/>
                </a:lnTo>
                <a:lnTo>
                  <a:pt x="196" y="566"/>
                </a:lnTo>
                <a:lnTo>
                  <a:pt x="205" y="596"/>
                </a:lnTo>
                <a:lnTo>
                  <a:pt x="205" y="615"/>
                </a:lnTo>
                <a:lnTo>
                  <a:pt x="215" y="625"/>
                </a:lnTo>
                <a:lnTo>
                  <a:pt x="215" y="635"/>
                </a:lnTo>
                <a:lnTo>
                  <a:pt x="225" y="625"/>
                </a:lnTo>
                <a:lnTo>
                  <a:pt x="235" y="615"/>
                </a:lnTo>
                <a:lnTo>
                  <a:pt x="225" y="615"/>
                </a:lnTo>
                <a:lnTo>
                  <a:pt x="215" y="605"/>
                </a:lnTo>
                <a:lnTo>
                  <a:pt x="215" y="596"/>
                </a:lnTo>
                <a:lnTo>
                  <a:pt x="235" y="596"/>
                </a:lnTo>
                <a:lnTo>
                  <a:pt x="254" y="586"/>
                </a:lnTo>
                <a:lnTo>
                  <a:pt x="274" y="566"/>
                </a:lnTo>
                <a:lnTo>
                  <a:pt x="303" y="566"/>
                </a:lnTo>
                <a:lnTo>
                  <a:pt x="361" y="557"/>
                </a:lnTo>
                <a:lnTo>
                  <a:pt x="381" y="557"/>
                </a:lnTo>
                <a:lnTo>
                  <a:pt x="400" y="566"/>
                </a:lnTo>
                <a:lnTo>
                  <a:pt x="391" y="566"/>
                </a:lnTo>
                <a:lnTo>
                  <a:pt x="381" y="566"/>
                </a:lnTo>
                <a:lnTo>
                  <a:pt x="381" y="576"/>
                </a:lnTo>
                <a:lnTo>
                  <a:pt x="381" y="596"/>
                </a:lnTo>
                <a:lnTo>
                  <a:pt x="430" y="605"/>
                </a:lnTo>
                <a:lnTo>
                  <a:pt x="449" y="605"/>
                </a:lnTo>
                <a:lnTo>
                  <a:pt x="459" y="596"/>
                </a:lnTo>
                <a:lnTo>
                  <a:pt x="498" y="596"/>
                </a:lnTo>
                <a:lnTo>
                  <a:pt x="517" y="586"/>
                </a:lnTo>
                <a:lnTo>
                  <a:pt x="537" y="586"/>
                </a:lnTo>
                <a:lnTo>
                  <a:pt x="537" y="576"/>
                </a:lnTo>
                <a:lnTo>
                  <a:pt x="547" y="576"/>
                </a:lnTo>
                <a:lnTo>
                  <a:pt x="566" y="576"/>
                </a:lnTo>
                <a:lnTo>
                  <a:pt x="566" y="566"/>
                </a:lnTo>
                <a:lnTo>
                  <a:pt x="566" y="547"/>
                </a:lnTo>
                <a:lnTo>
                  <a:pt x="576" y="537"/>
                </a:lnTo>
                <a:lnTo>
                  <a:pt x="556" y="537"/>
                </a:lnTo>
                <a:lnTo>
                  <a:pt x="547" y="527"/>
                </a:lnTo>
                <a:lnTo>
                  <a:pt x="547" y="517"/>
                </a:lnTo>
                <a:lnTo>
                  <a:pt x="537" y="508"/>
                </a:lnTo>
                <a:lnTo>
                  <a:pt x="547" y="488"/>
                </a:lnTo>
                <a:lnTo>
                  <a:pt x="547" y="498"/>
                </a:lnTo>
                <a:lnTo>
                  <a:pt x="566" y="498"/>
                </a:lnTo>
                <a:lnTo>
                  <a:pt x="556" y="478"/>
                </a:lnTo>
                <a:lnTo>
                  <a:pt x="566" y="469"/>
                </a:lnTo>
                <a:lnTo>
                  <a:pt x="586" y="478"/>
                </a:lnTo>
                <a:lnTo>
                  <a:pt x="595" y="478"/>
                </a:lnTo>
                <a:lnTo>
                  <a:pt x="605" y="488"/>
                </a:lnTo>
                <a:lnTo>
                  <a:pt x="625" y="488"/>
                </a:lnTo>
                <a:lnTo>
                  <a:pt x="634" y="478"/>
                </a:lnTo>
                <a:lnTo>
                  <a:pt x="644" y="488"/>
                </a:lnTo>
                <a:lnTo>
                  <a:pt x="654" y="478"/>
                </a:lnTo>
                <a:lnTo>
                  <a:pt x="664" y="469"/>
                </a:lnTo>
                <a:lnTo>
                  <a:pt x="673" y="459"/>
                </a:lnTo>
                <a:lnTo>
                  <a:pt x="683" y="459"/>
                </a:lnTo>
                <a:lnTo>
                  <a:pt x="693" y="459"/>
                </a:lnTo>
                <a:lnTo>
                  <a:pt x="703" y="459"/>
                </a:lnTo>
                <a:lnTo>
                  <a:pt x="713" y="459"/>
                </a:lnTo>
                <a:lnTo>
                  <a:pt x="722" y="478"/>
                </a:lnTo>
                <a:lnTo>
                  <a:pt x="732" y="469"/>
                </a:lnTo>
                <a:lnTo>
                  <a:pt x="732" y="478"/>
                </a:lnTo>
                <a:lnTo>
                  <a:pt x="742" y="478"/>
                </a:lnTo>
                <a:lnTo>
                  <a:pt x="752" y="488"/>
                </a:lnTo>
                <a:lnTo>
                  <a:pt x="752" y="498"/>
                </a:lnTo>
                <a:lnTo>
                  <a:pt x="761" y="498"/>
                </a:lnTo>
                <a:lnTo>
                  <a:pt x="761" y="508"/>
                </a:lnTo>
                <a:lnTo>
                  <a:pt x="761" y="517"/>
                </a:lnTo>
                <a:lnTo>
                  <a:pt x="771" y="517"/>
                </a:lnTo>
                <a:lnTo>
                  <a:pt x="771" y="527"/>
                </a:lnTo>
                <a:lnTo>
                  <a:pt x="761" y="527"/>
                </a:lnTo>
                <a:lnTo>
                  <a:pt x="761" y="537"/>
                </a:lnTo>
                <a:lnTo>
                  <a:pt x="761" y="547"/>
                </a:lnTo>
                <a:lnTo>
                  <a:pt x="771" y="547"/>
                </a:lnTo>
                <a:lnTo>
                  <a:pt x="781" y="537"/>
                </a:lnTo>
                <a:lnTo>
                  <a:pt x="791" y="547"/>
                </a:lnTo>
                <a:lnTo>
                  <a:pt x="800" y="557"/>
                </a:lnTo>
                <a:lnTo>
                  <a:pt x="791" y="557"/>
                </a:lnTo>
                <a:lnTo>
                  <a:pt x="800" y="557"/>
                </a:lnTo>
                <a:lnTo>
                  <a:pt x="800" y="566"/>
                </a:lnTo>
                <a:lnTo>
                  <a:pt x="810" y="576"/>
                </a:lnTo>
                <a:lnTo>
                  <a:pt x="800" y="576"/>
                </a:lnTo>
                <a:lnTo>
                  <a:pt x="791" y="586"/>
                </a:lnTo>
                <a:lnTo>
                  <a:pt x="781" y="586"/>
                </a:lnTo>
                <a:lnTo>
                  <a:pt x="771" y="576"/>
                </a:lnTo>
                <a:lnTo>
                  <a:pt x="761" y="576"/>
                </a:lnTo>
                <a:lnTo>
                  <a:pt x="752" y="576"/>
                </a:lnTo>
                <a:lnTo>
                  <a:pt x="742" y="576"/>
                </a:lnTo>
                <a:lnTo>
                  <a:pt x="752" y="586"/>
                </a:lnTo>
                <a:lnTo>
                  <a:pt x="771" y="586"/>
                </a:lnTo>
                <a:lnTo>
                  <a:pt x="781" y="605"/>
                </a:lnTo>
                <a:lnTo>
                  <a:pt x="781" y="615"/>
                </a:lnTo>
                <a:lnTo>
                  <a:pt x="791" y="615"/>
                </a:lnTo>
                <a:lnTo>
                  <a:pt x="810" y="615"/>
                </a:lnTo>
                <a:lnTo>
                  <a:pt x="800" y="596"/>
                </a:lnTo>
                <a:lnTo>
                  <a:pt x="810" y="596"/>
                </a:lnTo>
                <a:lnTo>
                  <a:pt x="820" y="605"/>
                </a:lnTo>
                <a:lnTo>
                  <a:pt x="830" y="605"/>
                </a:lnTo>
                <a:lnTo>
                  <a:pt x="830" y="615"/>
                </a:lnTo>
                <a:lnTo>
                  <a:pt x="820" y="615"/>
                </a:lnTo>
                <a:lnTo>
                  <a:pt x="820" y="625"/>
                </a:lnTo>
                <a:lnTo>
                  <a:pt x="820" y="635"/>
                </a:lnTo>
                <a:lnTo>
                  <a:pt x="830" y="635"/>
                </a:lnTo>
                <a:lnTo>
                  <a:pt x="849" y="654"/>
                </a:lnTo>
                <a:lnTo>
                  <a:pt x="859" y="664"/>
                </a:lnTo>
                <a:lnTo>
                  <a:pt x="869" y="674"/>
                </a:lnTo>
                <a:lnTo>
                  <a:pt x="878" y="674"/>
                </a:lnTo>
                <a:lnTo>
                  <a:pt x="888" y="674"/>
                </a:lnTo>
                <a:lnTo>
                  <a:pt x="888" y="683"/>
                </a:lnTo>
                <a:lnTo>
                  <a:pt x="898" y="683"/>
                </a:lnTo>
                <a:lnTo>
                  <a:pt x="908" y="683"/>
                </a:lnTo>
                <a:lnTo>
                  <a:pt x="917" y="693"/>
                </a:lnTo>
                <a:lnTo>
                  <a:pt x="917" y="674"/>
                </a:lnTo>
                <a:lnTo>
                  <a:pt x="927" y="683"/>
                </a:lnTo>
                <a:lnTo>
                  <a:pt x="927" y="693"/>
                </a:lnTo>
                <a:lnTo>
                  <a:pt x="947" y="693"/>
                </a:lnTo>
                <a:lnTo>
                  <a:pt x="947" y="674"/>
                </a:lnTo>
                <a:lnTo>
                  <a:pt x="947" y="644"/>
                </a:lnTo>
                <a:lnTo>
                  <a:pt x="937" y="625"/>
                </a:lnTo>
                <a:lnTo>
                  <a:pt x="937" y="615"/>
                </a:lnTo>
                <a:lnTo>
                  <a:pt x="937" y="605"/>
                </a:lnTo>
                <a:lnTo>
                  <a:pt x="937" y="576"/>
                </a:lnTo>
                <a:lnTo>
                  <a:pt x="927" y="566"/>
                </a:lnTo>
                <a:lnTo>
                  <a:pt x="927" y="547"/>
                </a:lnTo>
                <a:lnTo>
                  <a:pt x="937" y="547"/>
                </a:lnTo>
                <a:lnTo>
                  <a:pt x="947" y="557"/>
                </a:lnTo>
                <a:lnTo>
                  <a:pt x="956" y="566"/>
                </a:lnTo>
                <a:lnTo>
                  <a:pt x="966" y="566"/>
                </a:lnTo>
                <a:lnTo>
                  <a:pt x="995" y="576"/>
                </a:lnTo>
                <a:lnTo>
                  <a:pt x="1015" y="566"/>
                </a:lnTo>
                <a:lnTo>
                  <a:pt x="1025" y="557"/>
                </a:lnTo>
                <a:lnTo>
                  <a:pt x="1025" y="537"/>
                </a:lnTo>
                <a:lnTo>
                  <a:pt x="1034" y="537"/>
                </a:lnTo>
                <a:lnTo>
                  <a:pt x="1034" y="517"/>
                </a:lnTo>
                <a:lnTo>
                  <a:pt x="1054" y="508"/>
                </a:lnTo>
                <a:lnTo>
                  <a:pt x="1073" y="508"/>
                </a:lnTo>
                <a:lnTo>
                  <a:pt x="1083" y="517"/>
                </a:lnTo>
                <a:lnTo>
                  <a:pt x="1093" y="508"/>
                </a:lnTo>
                <a:lnTo>
                  <a:pt x="1103" y="517"/>
                </a:lnTo>
                <a:lnTo>
                  <a:pt x="1122" y="517"/>
                </a:lnTo>
                <a:lnTo>
                  <a:pt x="1132" y="517"/>
                </a:lnTo>
                <a:lnTo>
                  <a:pt x="1132" y="527"/>
                </a:lnTo>
                <a:lnTo>
                  <a:pt x="1142" y="527"/>
                </a:lnTo>
                <a:lnTo>
                  <a:pt x="1151" y="517"/>
                </a:lnTo>
                <a:lnTo>
                  <a:pt x="1142" y="517"/>
                </a:lnTo>
                <a:lnTo>
                  <a:pt x="1151" y="508"/>
                </a:lnTo>
                <a:lnTo>
                  <a:pt x="1171" y="508"/>
                </a:lnTo>
                <a:lnTo>
                  <a:pt x="1181" y="517"/>
                </a:lnTo>
                <a:lnTo>
                  <a:pt x="1181" y="508"/>
                </a:lnTo>
                <a:lnTo>
                  <a:pt x="1181" y="498"/>
                </a:lnTo>
                <a:lnTo>
                  <a:pt x="1161" y="498"/>
                </a:lnTo>
                <a:lnTo>
                  <a:pt x="1151" y="498"/>
                </a:lnTo>
                <a:lnTo>
                  <a:pt x="1132" y="508"/>
                </a:lnTo>
                <a:lnTo>
                  <a:pt x="1132" y="498"/>
                </a:lnTo>
                <a:lnTo>
                  <a:pt x="1132" y="478"/>
                </a:lnTo>
                <a:lnTo>
                  <a:pt x="1132" y="469"/>
                </a:lnTo>
                <a:lnTo>
                  <a:pt x="1142" y="469"/>
                </a:lnTo>
                <a:lnTo>
                  <a:pt x="1142" y="459"/>
                </a:lnTo>
                <a:lnTo>
                  <a:pt x="1151" y="459"/>
                </a:lnTo>
                <a:lnTo>
                  <a:pt x="1171" y="469"/>
                </a:lnTo>
                <a:lnTo>
                  <a:pt x="1181" y="459"/>
                </a:lnTo>
                <a:lnTo>
                  <a:pt x="1190" y="449"/>
                </a:lnTo>
                <a:lnTo>
                  <a:pt x="1190" y="439"/>
                </a:lnTo>
                <a:lnTo>
                  <a:pt x="1181" y="439"/>
                </a:lnTo>
                <a:lnTo>
                  <a:pt x="1161" y="430"/>
                </a:lnTo>
                <a:lnTo>
                  <a:pt x="1151" y="420"/>
                </a:lnTo>
                <a:lnTo>
                  <a:pt x="1142" y="420"/>
                </a:lnTo>
                <a:lnTo>
                  <a:pt x="1142" y="410"/>
                </a:lnTo>
                <a:lnTo>
                  <a:pt x="1142" y="400"/>
                </a:lnTo>
                <a:lnTo>
                  <a:pt x="1142" y="391"/>
                </a:lnTo>
                <a:lnTo>
                  <a:pt x="1151" y="381"/>
                </a:lnTo>
                <a:lnTo>
                  <a:pt x="1142" y="381"/>
                </a:lnTo>
                <a:lnTo>
                  <a:pt x="1132" y="381"/>
                </a:lnTo>
                <a:lnTo>
                  <a:pt x="1132" y="391"/>
                </a:lnTo>
                <a:lnTo>
                  <a:pt x="1122" y="400"/>
                </a:lnTo>
                <a:lnTo>
                  <a:pt x="1112" y="400"/>
                </a:lnTo>
                <a:lnTo>
                  <a:pt x="1112" y="391"/>
                </a:lnTo>
                <a:lnTo>
                  <a:pt x="1112" y="371"/>
                </a:lnTo>
                <a:lnTo>
                  <a:pt x="1112" y="361"/>
                </a:lnTo>
                <a:lnTo>
                  <a:pt x="1112" y="352"/>
                </a:lnTo>
                <a:lnTo>
                  <a:pt x="1132" y="352"/>
                </a:lnTo>
                <a:lnTo>
                  <a:pt x="1132" y="342"/>
                </a:lnTo>
                <a:lnTo>
                  <a:pt x="1151" y="332"/>
                </a:lnTo>
                <a:lnTo>
                  <a:pt x="1142" y="322"/>
                </a:lnTo>
                <a:lnTo>
                  <a:pt x="1142" y="313"/>
                </a:lnTo>
                <a:lnTo>
                  <a:pt x="1132" y="313"/>
                </a:lnTo>
                <a:lnTo>
                  <a:pt x="1122" y="303"/>
                </a:lnTo>
                <a:lnTo>
                  <a:pt x="1132" y="293"/>
                </a:lnTo>
                <a:lnTo>
                  <a:pt x="1142" y="293"/>
                </a:lnTo>
                <a:lnTo>
                  <a:pt x="1161" y="293"/>
                </a:lnTo>
                <a:lnTo>
                  <a:pt x="1190" y="274"/>
                </a:lnTo>
                <a:lnTo>
                  <a:pt x="1229" y="254"/>
                </a:lnTo>
                <a:lnTo>
                  <a:pt x="1259" y="244"/>
                </a:lnTo>
                <a:lnTo>
                  <a:pt x="1288" y="225"/>
                </a:lnTo>
                <a:lnTo>
                  <a:pt x="1317" y="215"/>
                </a:lnTo>
                <a:lnTo>
                  <a:pt x="1337" y="215"/>
                </a:lnTo>
                <a:lnTo>
                  <a:pt x="1317" y="235"/>
                </a:lnTo>
                <a:lnTo>
                  <a:pt x="1298" y="244"/>
                </a:lnTo>
                <a:lnTo>
                  <a:pt x="1288" y="254"/>
                </a:lnTo>
                <a:lnTo>
                  <a:pt x="1278" y="254"/>
                </a:lnTo>
                <a:lnTo>
                  <a:pt x="1269" y="264"/>
                </a:lnTo>
                <a:lnTo>
                  <a:pt x="1278" y="274"/>
                </a:lnTo>
                <a:lnTo>
                  <a:pt x="1269" y="283"/>
                </a:lnTo>
                <a:lnTo>
                  <a:pt x="1278" y="293"/>
                </a:lnTo>
                <a:lnTo>
                  <a:pt x="1288" y="283"/>
                </a:lnTo>
                <a:lnTo>
                  <a:pt x="1288" y="264"/>
                </a:lnTo>
                <a:lnTo>
                  <a:pt x="1308" y="244"/>
                </a:lnTo>
                <a:lnTo>
                  <a:pt x="1327" y="235"/>
                </a:lnTo>
                <a:lnTo>
                  <a:pt x="1347" y="235"/>
                </a:lnTo>
                <a:lnTo>
                  <a:pt x="1347" y="244"/>
                </a:lnTo>
                <a:lnTo>
                  <a:pt x="1347" y="264"/>
                </a:lnTo>
                <a:lnTo>
                  <a:pt x="1347" y="283"/>
                </a:lnTo>
                <a:lnTo>
                  <a:pt x="1337" y="264"/>
                </a:lnTo>
                <a:lnTo>
                  <a:pt x="1337" y="254"/>
                </a:lnTo>
                <a:lnTo>
                  <a:pt x="1327" y="264"/>
                </a:lnTo>
                <a:lnTo>
                  <a:pt x="1317" y="254"/>
                </a:lnTo>
                <a:lnTo>
                  <a:pt x="1308" y="254"/>
                </a:lnTo>
                <a:lnTo>
                  <a:pt x="1317" y="274"/>
                </a:lnTo>
                <a:lnTo>
                  <a:pt x="1337" y="274"/>
                </a:lnTo>
                <a:lnTo>
                  <a:pt x="1337" y="283"/>
                </a:lnTo>
                <a:lnTo>
                  <a:pt x="1337" y="293"/>
                </a:lnTo>
                <a:lnTo>
                  <a:pt x="1317" y="293"/>
                </a:lnTo>
                <a:lnTo>
                  <a:pt x="1317" y="303"/>
                </a:lnTo>
                <a:lnTo>
                  <a:pt x="1327" y="303"/>
                </a:lnTo>
                <a:lnTo>
                  <a:pt x="1337" y="322"/>
                </a:lnTo>
                <a:lnTo>
                  <a:pt x="1347" y="313"/>
                </a:lnTo>
                <a:lnTo>
                  <a:pt x="1356" y="303"/>
                </a:lnTo>
                <a:lnTo>
                  <a:pt x="1356" y="274"/>
                </a:lnTo>
                <a:lnTo>
                  <a:pt x="1356" y="244"/>
                </a:lnTo>
                <a:lnTo>
                  <a:pt x="1347" y="235"/>
                </a:lnTo>
                <a:lnTo>
                  <a:pt x="1347" y="205"/>
                </a:lnTo>
                <a:lnTo>
                  <a:pt x="1386" y="186"/>
                </a:lnTo>
                <a:lnTo>
                  <a:pt x="1405" y="176"/>
                </a:lnTo>
                <a:lnTo>
                  <a:pt x="1444" y="176"/>
                </a:lnTo>
                <a:lnTo>
                  <a:pt x="1464" y="176"/>
                </a:lnTo>
                <a:lnTo>
                  <a:pt x="1464" y="186"/>
                </a:lnTo>
                <a:lnTo>
                  <a:pt x="1464" y="205"/>
                </a:lnTo>
                <a:lnTo>
                  <a:pt x="1454" y="205"/>
                </a:lnTo>
                <a:lnTo>
                  <a:pt x="1444" y="196"/>
                </a:lnTo>
                <a:lnTo>
                  <a:pt x="1444" y="215"/>
                </a:lnTo>
                <a:lnTo>
                  <a:pt x="1444" y="225"/>
                </a:lnTo>
                <a:lnTo>
                  <a:pt x="1464" y="215"/>
                </a:lnTo>
                <a:lnTo>
                  <a:pt x="1483" y="196"/>
                </a:lnTo>
                <a:lnTo>
                  <a:pt x="1493" y="205"/>
                </a:lnTo>
                <a:lnTo>
                  <a:pt x="1493" y="215"/>
                </a:lnTo>
                <a:lnTo>
                  <a:pt x="1503" y="205"/>
                </a:lnTo>
                <a:lnTo>
                  <a:pt x="1512" y="196"/>
                </a:lnTo>
                <a:lnTo>
                  <a:pt x="1522" y="215"/>
                </a:lnTo>
                <a:lnTo>
                  <a:pt x="1532" y="205"/>
                </a:lnTo>
                <a:lnTo>
                  <a:pt x="1532" y="196"/>
                </a:lnTo>
                <a:lnTo>
                  <a:pt x="1542" y="186"/>
                </a:lnTo>
                <a:lnTo>
                  <a:pt x="1571" y="196"/>
                </a:lnTo>
                <a:lnTo>
                  <a:pt x="1590" y="205"/>
                </a:lnTo>
                <a:lnTo>
                  <a:pt x="1590" y="215"/>
                </a:lnTo>
                <a:lnTo>
                  <a:pt x="1600" y="205"/>
                </a:lnTo>
                <a:lnTo>
                  <a:pt x="1629" y="196"/>
                </a:lnTo>
                <a:lnTo>
                  <a:pt x="1639" y="186"/>
                </a:lnTo>
                <a:lnTo>
                  <a:pt x="1639" y="176"/>
                </a:lnTo>
                <a:lnTo>
                  <a:pt x="1649" y="166"/>
                </a:lnTo>
                <a:lnTo>
                  <a:pt x="1659" y="156"/>
                </a:lnTo>
                <a:lnTo>
                  <a:pt x="1668" y="117"/>
                </a:lnTo>
                <a:lnTo>
                  <a:pt x="1688" y="98"/>
                </a:lnTo>
                <a:lnTo>
                  <a:pt x="1707" y="78"/>
                </a:lnTo>
                <a:lnTo>
                  <a:pt x="1727" y="59"/>
                </a:lnTo>
                <a:lnTo>
                  <a:pt x="1737" y="49"/>
                </a:lnTo>
                <a:lnTo>
                  <a:pt x="1776" y="30"/>
                </a:lnTo>
                <a:lnTo>
                  <a:pt x="1805" y="20"/>
                </a:lnTo>
                <a:lnTo>
                  <a:pt x="1825" y="20"/>
                </a:lnTo>
                <a:lnTo>
                  <a:pt x="1854" y="20"/>
                </a:lnTo>
                <a:lnTo>
                  <a:pt x="1854" y="30"/>
                </a:lnTo>
                <a:lnTo>
                  <a:pt x="1873" y="30"/>
                </a:lnTo>
                <a:lnTo>
                  <a:pt x="1883" y="39"/>
                </a:lnTo>
                <a:lnTo>
                  <a:pt x="1883" y="49"/>
                </a:lnTo>
                <a:lnTo>
                  <a:pt x="1893" y="59"/>
                </a:lnTo>
                <a:lnTo>
                  <a:pt x="1893" y="69"/>
                </a:lnTo>
                <a:lnTo>
                  <a:pt x="1903" y="69"/>
                </a:lnTo>
                <a:lnTo>
                  <a:pt x="1912" y="69"/>
                </a:lnTo>
                <a:lnTo>
                  <a:pt x="1932" y="69"/>
                </a:lnTo>
                <a:lnTo>
                  <a:pt x="1951" y="59"/>
                </a:lnTo>
                <a:lnTo>
                  <a:pt x="1971" y="69"/>
                </a:lnTo>
                <a:lnTo>
                  <a:pt x="1981" y="69"/>
                </a:lnTo>
                <a:lnTo>
                  <a:pt x="1981" y="59"/>
                </a:lnTo>
                <a:lnTo>
                  <a:pt x="1981" y="49"/>
                </a:lnTo>
                <a:lnTo>
                  <a:pt x="1990" y="49"/>
                </a:lnTo>
                <a:lnTo>
                  <a:pt x="2000" y="49"/>
                </a:lnTo>
                <a:lnTo>
                  <a:pt x="1990" y="30"/>
                </a:lnTo>
                <a:lnTo>
                  <a:pt x="1990" y="20"/>
                </a:lnTo>
                <a:lnTo>
                  <a:pt x="1990" y="0"/>
                </a:lnTo>
                <a:lnTo>
                  <a:pt x="2000" y="10"/>
                </a:lnTo>
                <a:lnTo>
                  <a:pt x="2010" y="30"/>
                </a:lnTo>
                <a:lnTo>
                  <a:pt x="2020" y="20"/>
                </a:lnTo>
                <a:lnTo>
                  <a:pt x="2039" y="30"/>
                </a:lnTo>
                <a:lnTo>
                  <a:pt x="2039" y="39"/>
                </a:lnTo>
                <a:lnTo>
                  <a:pt x="2068" y="49"/>
                </a:lnTo>
                <a:lnTo>
                  <a:pt x="2068" y="59"/>
                </a:lnTo>
                <a:lnTo>
                  <a:pt x="2088" y="69"/>
                </a:lnTo>
                <a:lnTo>
                  <a:pt x="2107" y="69"/>
                </a:lnTo>
                <a:lnTo>
                  <a:pt x="2107" y="88"/>
                </a:lnTo>
                <a:lnTo>
                  <a:pt x="2098" y="98"/>
                </a:lnTo>
                <a:lnTo>
                  <a:pt x="2078" y="117"/>
                </a:lnTo>
                <a:lnTo>
                  <a:pt x="2078" y="137"/>
                </a:lnTo>
                <a:lnTo>
                  <a:pt x="2078" y="166"/>
                </a:lnTo>
                <a:lnTo>
                  <a:pt x="2059" y="186"/>
                </a:lnTo>
                <a:lnTo>
                  <a:pt x="2059" y="196"/>
                </a:lnTo>
                <a:lnTo>
                  <a:pt x="2049" y="205"/>
                </a:lnTo>
                <a:lnTo>
                  <a:pt x="2029" y="235"/>
                </a:lnTo>
                <a:lnTo>
                  <a:pt x="2029" y="244"/>
                </a:lnTo>
                <a:lnTo>
                  <a:pt x="2029" y="264"/>
                </a:lnTo>
                <a:lnTo>
                  <a:pt x="2049" y="264"/>
                </a:lnTo>
                <a:lnTo>
                  <a:pt x="2039" y="293"/>
                </a:lnTo>
                <a:lnTo>
                  <a:pt x="2049" y="303"/>
                </a:lnTo>
                <a:lnTo>
                  <a:pt x="2078" y="313"/>
                </a:lnTo>
                <a:lnTo>
                  <a:pt x="2117" y="303"/>
                </a:lnTo>
                <a:lnTo>
                  <a:pt x="2146" y="303"/>
                </a:lnTo>
                <a:lnTo>
                  <a:pt x="2156" y="322"/>
                </a:lnTo>
                <a:lnTo>
                  <a:pt x="2166" y="352"/>
                </a:lnTo>
                <a:lnTo>
                  <a:pt x="2176" y="361"/>
                </a:lnTo>
                <a:lnTo>
                  <a:pt x="2185" y="371"/>
                </a:lnTo>
                <a:lnTo>
                  <a:pt x="2195" y="381"/>
                </a:lnTo>
                <a:lnTo>
                  <a:pt x="2185" y="400"/>
                </a:lnTo>
                <a:lnTo>
                  <a:pt x="2185" y="439"/>
                </a:lnTo>
                <a:lnTo>
                  <a:pt x="2146" y="439"/>
                </a:lnTo>
                <a:lnTo>
                  <a:pt x="2146" y="449"/>
                </a:lnTo>
                <a:lnTo>
                  <a:pt x="2146" y="459"/>
                </a:lnTo>
                <a:lnTo>
                  <a:pt x="2137" y="469"/>
                </a:lnTo>
                <a:lnTo>
                  <a:pt x="2107" y="488"/>
                </a:lnTo>
                <a:lnTo>
                  <a:pt x="2098" y="488"/>
                </a:lnTo>
                <a:lnTo>
                  <a:pt x="2098" y="508"/>
                </a:lnTo>
                <a:lnTo>
                  <a:pt x="2068" y="508"/>
                </a:lnTo>
                <a:lnTo>
                  <a:pt x="2068" y="517"/>
                </a:lnTo>
                <a:lnTo>
                  <a:pt x="2078" y="527"/>
                </a:lnTo>
                <a:lnTo>
                  <a:pt x="2098" y="537"/>
                </a:lnTo>
                <a:lnTo>
                  <a:pt x="2098" y="557"/>
                </a:lnTo>
                <a:lnTo>
                  <a:pt x="2078" y="566"/>
                </a:lnTo>
                <a:lnTo>
                  <a:pt x="2068" y="576"/>
                </a:lnTo>
                <a:lnTo>
                  <a:pt x="2107" y="596"/>
                </a:lnTo>
                <a:lnTo>
                  <a:pt x="2107" y="615"/>
                </a:lnTo>
                <a:lnTo>
                  <a:pt x="2098" y="625"/>
                </a:lnTo>
                <a:lnTo>
                  <a:pt x="2088" y="635"/>
                </a:lnTo>
                <a:lnTo>
                  <a:pt x="2088" y="654"/>
                </a:lnTo>
                <a:lnTo>
                  <a:pt x="2098" y="674"/>
                </a:lnTo>
                <a:lnTo>
                  <a:pt x="2127" y="683"/>
                </a:lnTo>
                <a:lnTo>
                  <a:pt x="2137" y="693"/>
                </a:lnTo>
                <a:lnTo>
                  <a:pt x="2137" y="722"/>
                </a:lnTo>
                <a:lnTo>
                  <a:pt x="2146" y="732"/>
                </a:lnTo>
                <a:lnTo>
                  <a:pt x="2146" y="742"/>
                </a:lnTo>
                <a:lnTo>
                  <a:pt x="2127" y="742"/>
                </a:lnTo>
                <a:lnTo>
                  <a:pt x="2117" y="791"/>
                </a:lnTo>
                <a:lnTo>
                  <a:pt x="2107" y="791"/>
                </a:lnTo>
                <a:lnTo>
                  <a:pt x="2098" y="800"/>
                </a:lnTo>
                <a:lnTo>
                  <a:pt x="2098" y="810"/>
                </a:lnTo>
                <a:lnTo>
                  <a:pt x="2088" y="830"/>
                </a:lnTo>
                <a:lnTo>
                  <a:pt x="2068" y="820"/>
                </a:lnTo>
                <a:lnTo>
                  <a:pt x="2068" y="810"/>
                </a:lnTo>
                <a:lnTo>
                  <a:pt x="2049" y="810"/>
                </a:lnTo>
                <a:lnTo>
                  <a:pt x="2049" y="830"/>
                </a:lnTo>
                <a:lnTo>
                  <a:pt x="2039" y="839"/>
                </a:lnTo>
                <a:lnTo>
                  <a:pt x="2020" y="839"/>
                </a:lnTo>
                <a:lnTo>
                  <a:pt x="2010" y="849"/>
                </a:lnTo>
                <a:lnTo>
                  <a:pt x="2000" y="849"/>
                </a:lnTo>
                <a:lnTo>
                  <a:pt x="1990" y="849"/>
                </a:lnTo>
                <a:lnTo>
                  <a:pt x="1990" y="859"/>
                </a:lnTo>
                <a:lnTo>
                  <a:pt x="2000" y="869"/>
                </a:lnTo>
                <a:lnTo>
                  <a:pt x="2010" y="869"/>
                </a:lnTo>
                <a:lnTo>
                  <a:pt x="2020" y="898"/>
                </a:lnTo>
                <a:lnTo>
                  <a:pt x="2020" y="908"/>
                </a:lnTo>
                <a:lnTo>
                  <a:pt x="2010" y="918"/>
                </a:lnTo>
                <a:lnTo>
                  <a:pt x="2000" y="908"/>
                </a:lnTo>
                <a:lnTo>
                  <a:pt x="1981" y="908"/>
                </a:lnTo>
                <a:lnTo>
                  <a:pt x="1981" y="927"/>
                </a:lnTo>
                <a:lnTo>
                  <a:pt x="1961" y="927"/>
                </a:lnTo>
                <a:lnTo>
                  <a:pt x="1951" y="937"/>
                </a:lnTo>
                <a:lnTo>
                  <a:pt x="1942" y="947"/>
                </a:lnTo>
                <a:lnTo>
                  <a:pt x="1942" y="966"/>
                </a:lnTo>
                <a:lnTo>
                  <a:pt x="1951" y="976"/>
                </a:lnTo>
                <a:lnTo>
                  <a:pt x="1942" y="996"/>
                </a:lnTo>
                <a:lnTo>
                  <a:pt x="1942" y="1005"/>
                </a:lnTo>
                <a:lnTo>
                  <a:pt x="1951" y="1025"/>
                </a:lnTo>
                <a:lnTo>
                  <a:pt x="1971" y="1064"/>
                </a:lnTo>
                <a:lnTo>
                  <a:pt x="1981" y="1083"/>
                </a:lnTo>
                <a:lnTo>
                  <a:pt x="2000" y="1093"/>
                </a:lnTo>
                <a:lnTo>
                  <a:pt x="2000" y="1103"/>
                </a:lnTo>
                <a:lnTo>
                  <a:pt x="2020" y="1122"/>
                </a:lnTo>
                <a:lnTo>
                  <a:pt x="2010" y="1132"/>
                </a:lnTo>
                <a:lnTo>
                  <a:pt x="2029" y="1152"/>
                </a:lnTo>
                <a:lnTo>
                  <a:pt x="2029" y="1181"/>
                </a:lnTo>
                <a:lnTo>
                  <a:pt x="2020" y="1191"/>
                </a:lnTo>
                <a:lnTo>
                  <a:pt x="2020" y="1210"/>
                </a:lnTo>
                <a:lnTo>
                  <a:pt x="2020" y="1230"/>
                </a:lnTo>
                <a:lnTo>
                  <a:pt x="2010" y="1230"/>
                </a:lnTo>
                <a:lnTo>
                  <a:pt x="2010" y="1220"/>
                </a:lnTo>
                <a:lnTo>
                  <a:pt x="2000" y="1210"/>
                </a:lnTo>
                <a:lnTo>
                  <a:pt x="1990" y="1220"/>
                </a:lnTo>
                <a:lnTo>
                  <a:pt x="1990" y="1230"/>
                </a:lnTo>
                <a:lnTo>
                  <a:pt x="1981" y="1239"/>
                </a:lnTo>
                <a:lnTo>
                  <a:pt x="1971" y="1220"/>
                </a:lnTo>
                <a:lnTo>
                  <a:pt x="1951" y="1239"/>
                </a:lnTo>
                <a:lnTo>
                  <a:pt x="1961" y="1259"/>
                </a:lnTo>
                <a:lnTo>
                  <a:pt x="1951" y="1269"/>
                </a:lnTo>
                <a:lnTo>
                  <a:pt x="1932" y="1279"/>
                </a:lnTo>
                <a:lnTo>
                  <a:pt x="1912" y="1269"/>
                </a:lnTo>
                <a:lnTo>
                  <a:pt x="1893" y="1279"/>
                </a:lnTo>
                <a:lnTo>
                  <a:pt x="1873" y="1269"/>
                </a:lnTo>
                <a:lnTo>
                  <a:pt x="1854" y="1269"/>
                </a:lnTo>
                <a:lnTo>
                  <a:pt x="1844" y="1279"/>
                </a:lnTo>
                <a:lnTo>
                  <a:pt x="1834" y="1279"/>
                </a:lnTo>
                <a:lnTo>
                  <a:pt x="1825" y="1269"/>
                </a:lnTo>
                <a:lnTo>
                  <a:pt x="1815" y="1279"/>
                </a:lnTo>
                <a:lnTo>
                  <a:pt x="1825" y="1288"/>
                </a:lnTo>
                <a:lnTo>
                  <a:pt x="1815" y="1308"/>
                </a:lnTo>
                <a:lnTo>
                  <a:pt x="1825" y="1347"/>
                </a:lnTo>
                <a:lnTo>
                  <a:pt x="1834" y="1357"/>
                </a:lnTo>
                <a:lnTo>
                  <a:pt x="1834" y="1386"/>
                </a:lnTo>
                <a:lnTo>
                  <a:pt x="1825" y="1405"/>
                </a:lnTo>
                <a:lnTo>
                  <a:pt x="1815" y="1425"/>
                </a:lnTo>
                <a:lnTo>
                  <a:pt x="1815" y="1444"/>
                </a:lnTo>
                <a:lnTo>
                  <a:pt x="1805" y="1454"/>
                </a:lnTo>
                <a:lnTo>
                  <a:pt x="1805" y="1483"/>
                </a:lnTo>
                <a:lnTo>
                  <a:pt x="1805" y="1513"/>
                </a:lnTo>
                <a:lnTo>
                  <a:pt x="1834" y="1532"/>
                </a:lnTo>
                <a:lnTo>
                  <a:pt x="1844" y="1571"/>
                </a:lnTo>
                <a:lnTo>
                  <a:pt x="1854" y="1581"/>
                </a:lnTo>
                <a:lnTo>
                  <a:pt x="1873" y="1591"/>
                </a:lnTo>
                <a:lnTo>
                  <a:pt x="1873" y="1610"/>
                </a:lnTo>
                <a:lnTo>
                  <a:pt x="1873" y="1620"/>
                </a:lnTo>
                <a:lnTo>
                  <a:pt x="1864" y="1630"/>
                </a:lnTo>
                <a:lnTo>
                  <a:pt x="1864" y="1659"/>
                </a:lnTo>
                <a:lnTo>
                  <a:pt x="1854" y="1679"/>
                </a:lnTo>
                <a:lnTo>
                  <a:pt x="1834" y="1698"/>
                </a:lnTo>
                <a:lnTo>
                  <a:pt x="1815" y="1698"/>
                </a:lnTo>
                <a:lnTo>
                  <a:pt x="1805" y="1708"/>
                </a:lnTo>
                <a:lnTo>
                  <a:pt x="1785" y="1708"/>
                </a:lnTo>
                <a:lnTo>
                  <a:pt x="1776" y="1708"/>
                </a:lnTo>
                <a:lnTo>
                  <a:pt x="1766" y="1727"/>
                </a:lnTo>
                <a:lnTo>
                  <a:pt x="1766" y="1747"/>
                </a:lnTo>
                <a:lnTo>
                  <a:pt x="1766" y="1757"/>
                </a:lnTo>
                <a:lnTo>
                  <a:pt x="1756" y="1766"/>
                </a:lnTo>
                <a:lnTo>
                  <a:pt x="1737" y="1776"/>
                </a:lnTo>
                <a:lnTo>
                  <a:pt x="1727" y="1776"/>
                </a:lnTo>
                <a:lnTo>
                  <a:pt x="1717" y="1796"/>
                </a:lnTo>
                <a:lnTo>
                  <a:pt x="1698" y="1786"/>
                </a:lnTo>
                <a:lnTo>
                  <a:pt x="1688" y="1796"/>
                </a:lnTo>
                <a:lnTo>
                  <a:pt x="1668" y="1796"/>
                </a:lnTo>
                <a:lnTo>
                  <a:pt x="1649" y="1805"/>
                </a:lnTo>
                <a:lnTo>
                  <a:pt x="1649" y="1835"/>
                </a:lnTo>
                <a:lnTo>
                  <a:pt x="1649" y="1854"/>
                </a:lnTo>
                <a:lnTo>
                  <a:pt x="1639" y="1864"/>
                </a:lnTo>
                <a:lnTo>
                  <a:pt x="1649" y="1913"/>
                </a:lnTo>
                <a:lnTo>
                  <a:pt x="1639" y="1913"/>
                </a:lnTo>
                <a:lnTo>
                  <a:pt x="1639" y="1922"/>
                </a:lnTo>
                <a:lnTo>
                  <a:pt x="1649" y="1932"/>
                </a:lnTo>
                <a:lnTo>
                  <a:pt x="1649" y="1942"/>
                </a:lnTo>
                <a:lnTo>
                  <a:pt x="1649" y="1952"/>
                </a:lnTo>
                <a:lnTo>
                  <a:pt x="1649" y="1961"/>
                </a:lnTo>
                <a:lnTo>
                  <a:pt x="1629" y="1961"/>
                </a:lnTo>
                <a:lnTo>
                  <a:pt x="1620" y="1961"/>
                </a:lnTo>
                <a:lnTo>
                  <a:pt x="1629" y="1971"/>
                </a:lnTo>
                <a:lnTo>
                  <a:pt x="1649" y="1981"/>
                </a:lnTo>
                <a:lnTo>
                  <a:pt x="1659" y="1991"/>
                </a:lnTo>
                <a:lnTo>
                  <a:pt x="1678" y="2001"/>
                </a:lnTo>
                <a:lnTo>
                  <a:pt x="1668" y="2020"/>
                </a:lnTo>
                <a:lnTo>
                  <a:pt x="1659" y="2049"/>
                </a:lnTo>
                <a:lnTo>
                  <a:pt x="1659" y="2069"/>
                </a:lnTo>
                <a:lnTo>
                  <a:pt x="1678" y="2069"/>
                </a:lnTo>
                <a:lnTo>
                  <a:pt x="1698" y="2088"/>
                </a:lnTo>
                <a:lnTo>
                  <a:pt x="1707" y="2098"/>
                </a:lnTo>
                <a:lnTo>
                  <a:pt x="1707" y="2108"/>
                </a:lnTo>
                <a:lnTo>
                  <a:pt x="1707" y="2127"/>
                </a:lnTo>
                <a:lnTo>
                  <a:pt x="1698" y="2137"/>
                </a:lnTo>
                <a:lnTo>
                  <a:pt x="1698" y="2157"/>
                </a:lnTo>
                <a:lnTo>
                  <a:pt x="1698" y="2166"/>
                </a:lnTo>
                <a:lnTo>
                  <a:pt x="1688" y="2186"/>
                </a:lnTo>
                <a:lnTo>
                  <a:pt x="1688" y="2205"/>
                </a:lnTo>
                <a:lnTo>
                  <a:pt x="1707" y="2225"/>
                </a:lnTo>
                <a:lnTo>
                  <a:pt x="1659" y="2244"/>
                </a:lnTo>
                <a:lnTo>
                  <a:pt x="1629" y="2254"/>
                </a:lnTo>
                <a:lnTo>
                  <a:pt x="1590" y="2274"/>
                </a:lnTo>
                <a:lnTo>
                  <a:pt x="1590" y="2293"/>
                </a:lnTo>
                <a:lnTo>
                  <a:pt x="1600" y="2303"/>
                </a:lnTo>
                <a:lnTo>
                  <a:pt x="1590" y="2313"/>
                </a:lnTo>
                <a:lnTo>
                  <a:pt x="1551" y="2322"/>
                </a:lnTo>
                <a:lnTo>
                  <a:pt x="1532" y="2322"/>
                </a:lnTo>
                <a:lnTo>
                  <a:pt x="1522" y="2322"/>
                </a:lnTo>
                <a:lnTo>
                  <a:pt x="1512" y="2322"/>
                </a:lnTo>
                <a:lnTo>
                  <a:pt x="1512" y="2342"/>
                </a:lnTo>
                <a:lnTo>
                  <a:pt x="1493" y="2342"/>
                </a:lnTo>
                <a:lnTo>
                  <a:pt x="1493" y="2332"/>
                </a:lnTo>
                <a:lnTo>
                  <a:pt x="1483" y="2342"/>
                </a:lnTo>
                <a:lnTo>
                  <a:pt x="1473" y="2342"/>
                </a:lnTo>
                <a:lnTo>
                  <a:pt x="1454" y="2342"/>
                </a:lnTo>
                <a:lnTo>
                  <a:pt x="1444" y="2362"/>
                </a:lnTo>
                <a:lnTo>
                  <a:pt x="1425" y="2362"/>
                </a:lnTo>
                <a:lnTo>
                  <a:pt x="1415" y="2352"/>
                </a:lnTo>
                <a:lnTo>
                  <a:pt x="1405" y="2342"/>
                </a:lnTo>
                <a:lnTo>
                  <a:pt x="1395" y="2352"/>
                </a:lnTo>
                <a:lnTo>
                  <a:pt x="1386" y="2352"/>
                </a:lnTo>
                <a:lnTo>
                  <a:pt x="1356" y="2352"/>
                </a:lnTo>
                <a:lnTo>
                  <a:pt x="1327" y="2362"/>
                </a:lnTo>
                <a:lnTo>
                  <a:pt x="1308" y="2371"/>
                </a:lnTo>
                <a:lnTo>
                  <a:pt x="1298" y="2362"/>
                </a:lnTo>
                <a:lnTo>
                  <a:pt x="1278" y="2342"/>
                </a:lnTo>
                <a:lnTo>
                  <a:pt x="1259" y="2332"/>
                </a:lnTo>
                <a:lnTo>
                  <a:pt x="1239" y="2332"/>
                </a:lnTo>
                <a:lnTo>
                  <a:pt x="1220" y="2332"/>
                </a:lnTo>
                <a:lnTo>
                  <a:pt x="1190" y="2332"/>
                </a:lnTo>
                <a:lnTo>
                  <a:pt x="1181" y="2332"/>
                </a:lnTo>
                <a:lnTo>
                  <a:pt x="1181" y="2352"/>
                </a:lnTo>
                <a:lnTo>
                  <a:pt x="1161" y="2352"/>
                </a:lnTo>
                <a:lnTo>
                  <a:pt x="1142" y="2342"/>
                </a:lnTo>
                <a:lnTo>
                  <a:pt x="1132" y="2322"/>
                </a:lnTo>
                <a:lnTo>
                  <a:pt x="1112" y="2342"/>
                </a:lnTo>
                <a:lnTo>
                  <a:pt x="1093" y="2332"/>
                </a:lnTo>
                <a:lnTo>
                  <a:pt x="1083" y="2322"/>
                </a:lnTo>
                <a:lnTo>
                  <a:pt x="1064" y="2322"/>
                </a:lnTo>
                <a:lnTo>
                  <a:pt x="1044" y="2322"/>
                </a:lnTo>
                <a:lnTo>
                  <a:pt x="1015" y="2332"/>
                </a:lnTo>
                <a:lnTo>
                  <a:pt x="1005" y="2342"/>
                </a:lnTo>
                <a:lnTo>
                  <a:pt x="995" y="2352"/>
                </a:lnTo>
                <a:lnTo>
                  <a:pt x="976" y="2342"/>
                </a:lnTo>
                <a:lnTo>
                  <a:pt x="947" y="2303"/>
                </a:lnTo>
                <a:lnTo>
                  <a:pt x="947" y="2283"/>
                </a:lnTo>
                <a:lnTo>
                  <a:pt x="937" y="2283"/>
                </a:lnTo>
                <a:close/>
              </a:path>
            </a:pathLst>
          </a:custGeom>
          <a:solidFill>
            <a:srgbClr val="969696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629" name="Freeform 89"/>
          <p:cNvSpPr>
            <a:spLocks noChangeAspect="1"/>
          </p:cNvSpPr>
          <p:nvPr>
            <p:custDataLst>
              <p:tags r:id="rId195"/>
            </p:custDataLst>
          </p:nvPr>
        </p:nvSpPr>
        <p:spPr bwMode="auto">
          <a:xfrm>
            <a:off x="6697663" y="3608388"/>
            <a:ext cx="560387" cy="649287"/>
          </a:xfrm>
          <a:custGeom>
            <a:avLst/>
            <a:gdLst>
              <a:gd name="T0" fmla="*/ 142935 w 839"/>
              <a:gd name="T1" fmla="*/ 78362 h 1044"/>
              <a:gd name="T2" fmla="*/ 104196 w 839"/>
              <a:gd name="T3" fmla="*/ 108837 h 1044"/>
              <a:gd name="T4" fmla="*/ 104196 w 839"/>
              <a:gd name="T5" fmla="*/ 139311 h 1044"/>
              <a:gd name="T6" fmla="*/ 116886 w 839"/>
              <a:gd name="T7" fmla="*/ 176004 h 1044"/>
              <a:gd name="T8" fmla="*/ 110875 w 839"/>
              <a:gd name="T9" fmla="*/ 224514 h 1044"/>
              <a:gd name="T10" fmla="*/ 142935 w 839"/>
              <a:gd name="T11" fmla="*/ 266805 h 1044"/>
              <a:gd name="T12" fmla="*/ 110875 w 839"/>
              <a:gd name="T13" fmla="*/ 309096 h 1044"/>
              <a:gd name="T14" fmla="*/ 71468 w 839"/>
              <a:gd name="T15" fmla="*/ 309096 h 1044"/>
              <a:gd name="T16" fmla="*/ 38740 w 839"/>
              <a:gd name="T17" fmla="*/ 333351 h 1044"/>
              <a:gd name="T18" fmla="*/ 58777 w 839"/>
              <a:gd name="T19" fmla="*/ 363825 h 1044"/>
              <a:gd name="T20" fmla="*/ 32728 w 839"/>
              <a:gd name="T21" fmla="*/ 370044 h 1044"/>
              <a:gd name="T22" fmla="*/ 6679 w 839"/>
              <a:gd name="T23" fmla="*/ 406116 h 1044"/>
              <a:gd name="T24" fmla="*/ 26049 w 839"/>
              <a:gd name="T25" fmla="*/ 467064 h 1044"/>
              <a:gd name="T26" fmla="*/ 52098 w 839"/>
              <a:gd name="T27" fmla="*/ 515574 h 1044"/>
              <a:gd name="T28" fmla="*/ 136924 w 839"/>
              <a:gd name="T29" fmla="*/ 527391 h 1044"/>
              <a:gd name="T30" fmla="*/ 175664 w 839"/>
              <a:gd name="T31" fmla="*/ 588339 h 1044"/>
              <a:gd name="T32" fmla="*/ 175664 w 839"/>
              <a:gd name="T33" fmla="*/ 630630 h 1044"/>
              <a:gd name="T34" fmla="*/ 208392 w 839"/>
              <a:gd name="T35" fmla="*/ 612594 h 1044"/>
              <a:gd name="T36" fmla="*/ 247131 w 839"/>
              <a:gd name="T37" fmla="*/ 625033 h 1044"/>
              <a:gd name="T38" fmla="*/ 273180 w 839"/>
              <a:gd name="T39" fmla="*/ 643069 h 1044"/>
              <a:gd name="T40" fmla="*/ 293218 w 839"/>
              <a:gd name="T41" fmla="*/ 625033 h 1044"/>
              <a:gd name="T42" fmla="*/ 331957 w 839"/>
              <a:gd name="T43" fmla="*/ 612594 h 1044"/>
              <a:gd name="T44" fmla="*/ 325946 w 839"/>
              <a:gd name="T45" fmla="*/ 600778 h 1044"/>
              <a:gd name="T46" fmla="*/ 325946 w 839"/>
              <a:gd name="T47" fmla="*/ 564084 h 1044"/>
              <a:gd name="T48" fmla="*/ 378044 w 839"/>
              <a:gd name="T49" fmla="*/ 557865 h 1044"/>
              <a:gd name="T50" fmla="*/ 397414 w 839"/>
              <a:gd name="T51" fmla="*/ 533610 h 1044"/>
              <a:gd name="T52" fmla="*/ 430142 w 839"/>
              <a:gd name="T53" fmla="*/ 527391 h 1044"/>
              <a:gd name="T54" fmla="*/ 410104 w 839"/>
              <a:gd name="T55" fmla="*/ 564084 h 1044"/>
              <a:gd name="T56" fmla="*/ 442833 w 839"/>
              <a:gd name="T57" fmla="*/ 533610 h 1044"/>
              <a:gd name="T58" fmla="*/ 462202 w 839"/>
              <a:gd name="T59" fmla="*/ 515574 h 1044"/>
              <a:gd name="T60" fmla="*/ 488251 w 839"/>
              <a:gd name="T61" fmla="*/ 491319 h 1044"/>
              <a:gd name="T62" fmla="*/ 501610 w 839"/>
              <a:gd name="T63" fmla="*/ 467064 h 1044"/>
              <a:gd name="T64" fmla="*/ 488251 w 839"/>
              <a:gd name="T65" fmla="*/ 449029 h 1044"/>
              <a:gd name="T66" fmla="*/ 462202 w 839"/>
              <a:gd name="T67" fmla="*/ 467064 h 1044"/>
              <a:gd name="T68" fmla="*/ 442833 w 839"/>
              <a:gd name="T69" fmla="*/ 430371 h 1044"/>
              <a:gd name="T70" fmla="*/ 436153 w 839"/>
              <a:gd name="T71" fmla="*/ 394299 h 1044"/>
              <a:gd name="T72" fmla="*/ 436153 w 839"/>
              <a:gd name="T73" fmla="*/ 357606 h 1044"/>
              <a:gd name="T74" fmla="*/ 416784 w 839"/>
              <a:gd name="T75" fmla="*/ 302877 h 1044"/>
              <a:gd name="T76" fmla="*/ 430142 w 839"/>
              <a:gd name="T77" fmla="*/ 260586 h 1044"/>
              <a:gd name="T78" fmla="*/ 449512 w 839"/>
              <a:gd name="T79" fmla="*/ 224514 h 1044"/>
              <a:gd name="T80" fmla="*/ 482240 w 839"/>
              <a:gd name="T81" fmla="*/ 218295 h 1044"/>
              <a:gd name="T82" fmla="*/ 501610 w 839"/>
              <a:gd name="T83" fmla="*/ 212076 h 1044"/>
              <a:gd name="T84" fmla="*/ 527659 w 839"/>
              <a:gd name="T85" fmla="*/ 248769 h 1044"/>
              <a:gd name="T86" fmla="*/ 540349 w 839"/>
              <a:gd name="T87" fmla="*/ 242550 h 1044"/>
              <a:gd name="T88" fmla="*/ 560387 w 839"/>
              <a:gd name="T89" fmla="*/ 230112 h 1044"/>
              <a:gd name="T90" fmla="*/ 553708 w 839"/>
              <a:gd name="T91" fmla="*/ 187821 h 1044"/>
              <a:gd name="T92" fmla="*/ 547029 w 839"/>
              <a:gd name="T93" fmla="*/ 145530 h 1044"/>
              <a:gd name="T94" fmla="*/ 514300 w 839"/>
              <a:gd name="T95" fmla="*/ 126872 h 1044"/>
              <a:gd name="T96" fmla="*/ 462202 w 839"/>
              <a:gd name="T97" fmla="*/ 90801 h 1044"/>
              <a:gd name="T98" fmla="*/ 442833 w 839"/>
              <a:gd name="T99" fmla="*/ 54107 h 1044"/>
              <a:gd name="T100" fmla="*/ 410104 w 839"/>
              <a:gd name="T101" fmla="*/ 42291 h 1044"/>
              <a:gd name="T102" fmla="*/ 390735 w 839"/>
              <a:gd name="T103" fmla="*/ 11817 h 1044"/>
              <a:gd name="T104" fmla="*/ 325946 w 839"/>
              <a:gd name="T105" fmla="*/ 18036 h 1044"/>
              <a:gd name="T106" fmla="*/ 273180 w 839"/>
              <a:gd name="T107" fmla="*/ 42291 h 1044"/>
              <a:gd name="T108" fmla="*/ 234441 w 839"/>
              <a:gd name="T109" fmla="*/ 48510 h 104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839"/>
              <a:gd name="T166" fmla="*/ 0 h 1044"/>
              <a:gd name="T167" fmla="*/ 839 w 839"/>
              <a:gd name="T168" fmla="*/ 1044 h 1044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839" h="1044">
                <a:moveTo>
                  <a:pt x="253" y="48"/>
                </a:moveTo>
                <a:lnTo>
                  <a:pt x="263" y="68"/>
                </a:lnTo>
                <a:lnTo>
                  <a:pt x="253" y="87"/>
                </a:lnTo>
                <a:lnTo>
                  <a:pt x="253" y="126"/>
                </a:lnTo>
                <a:lnTo>
                  <a:pt x="214" y="126"/>
                </a:lnTo>
                <a:lnTo>
                  <a:pt x="205" y="136"/>
                </a:lnTo>
                <a:lnTo>
                  <a:pt x="205" y="146"/>
                </a:lnTo>
                <a:lnTo>
                  <a:pt x="205" y="156"/>
                </a:lnTo>
                <a:lnTo>
                  <a:pt x="175" y="175"/>
                </a:lnTo>
                <a:lnTo>
                  <a:pt x="156" y="175"/>
                </a:lnTo>
                <a:lnTo>
                  <a:pt x="156" y="195"/>
                </a:lnTo>
                <a:lnTo>
                  <a:pt x="136" y="195"/>
                </a:lnTo>
                <a:lnTo>
                  <a:pt x="136" y="204"/>
                </a:lnTo>
                <a:lnTo>
                  <a:pt x="146" y="214"/>
                </a:lnTo>
                <a:lnTo>
                  <a:pt x="156" y="224"/>
                </a:lnTo>
                <a:lnTo>
                  <a:pt x="156" y="234"/>
                </a:lnTo>
                <a:lnTo>
                  <a:pt x="146" y="244"/>
                </a:lnTo>
                <a:lnTo>
                  <a:pt x="136" y="263"/>
                </a:lnTo>
                <a:lnTo>
                  <a:pt x="166" y="283"/>
                </a:lnTo>
                <a:lnTo>
                  <a:pt x="175" y="283"/>
                </a:lnTo>
                <a:lnTo>
                  <a:pt x="175" y="292"/>
                </a:lnTo>
                <a:lnTo>
                  <a:pt x="166" y="312"/>
                </a:lnTo>
                <a:lnTo>
                  <a:pt x="156" y="322"/>
                </a:lnTo>
                <a:lnTo>
                  <a:pt x="156" y="341"/>
                </a:lnTo>
                <a:lnTo>
                  <a:pt x="166" y="361"/>
                </a:lnTo>
                <a:lnTo>
                  <a:pt x="195" y="370"/>
                </a:lnTo>
                <a:lnTo>
                  <a:pt x="205" y="380"/>
                </a:lnTo>
                <a:lnTo>
                  <a:pt x="205" y="409"/>
                </a:lnTo>
                <a:lnTo>
                  <a:pt x="214" y="419"/>
                </a:lnTo>
                <a:lnTo>
                  <a:pt x="214" y="429"/>
                </a:lnTo>
                <a:lnTo>
                  <a:pt x="195" y="429"/>
                </a:lnTo>
                <a:lnTo>
                  <a:pt x="185" y="478"/>
                </a:lnTo>
                <a:lnTo>
                  <a:pt x="175" y="478"/>
                </a:lnTo>
                <a:lnTo>
                  <a:pt x="166" y="487"/>
                </a:lnTo>
                <a:lnTo>
                  <a:pt x="166" y="497"/>
                </a:lnTo>
                <a:lnTo>
                  <a:pt x="156" y="517"/>
                </a:lnTo>
                <a:lnTo>
                  <a:pt x="136" y="507"/>
                </a:lnTo>
                <a:lnTo>
                  <a:pt x="136" y="487"/>
                </a:lnTo>
                <a:lnTo>
                  <a:pt x="117" y="487"/>
                </a:lnTo>
                <a:lnTo>
                  <a:pt x="107" y="497"/>
                </a:lnTo>
                <a:lnTo>
                  <a:pt x="107" y="517"/>
                </a:lnTo>
                <a:lnTo>
                  <a:pt x="97" y="526"/>
                </a:lnTo>
                <a:lnTo>
                  <a:pt x="88" y="526"/>
                </a:lnTo>
                <a:lnTo>
                  <a:pt x="78" y="536"/>
                </a:lnTo>
                <a:lnTo>
                  <a:pt x="58" y="536"/>
                </a:lnTo>
                <a:lnTo>
                  <a:pt x="58" y="546"/>
                </a:lnTo>
                <a:lnTo>
                  <a:pt x="58" y="556"/>
                </a:lnTo>
                <a:lnTo>
                  <a:pt x="78" y="556"/>
                </a:lnTo>
                <a:lnTo>
                  <a:pt x="88" y="585"/>
                </a:lnTo>
                <a:lnTo>
                  <a:pt x="88" y="595"/>
                </a:lnTo>
                <a:lnTo>
                  <a:pt x="78" y="605"/>
                </a:lnTo>
                <a:lnTo>
                  <a:pt x="68" y="605"/>
                </a:lnTo>
                <a:lnTo>
                  <a:pt x="58" y="595"/>
                </a:lnTo>
                <a:lnTo>
                  <a:pt x="49" y="595"/>
                </a:lnTo>
                <a:lnTo>
                  <a:pt x="49" y="614"/>
                </a:lnTo>
                <a:lnTo>
                  <a:pt x="29" y="614"/>
                </a:lnTo>
                <a:lnTo>
                  <a:pt x="10" y="624"/>
                </a:lnTo>
                <a:lnTo>
                  <a:pt x="0" y="634"/>
                </a:lnTo>
                <a:lnTo>
                  <a:pt x="10" y="653"/>
                </a:lnTo>
                <a:lnTo>
                  <a:pt x="19" y="663"/>
                </a:lnTo>
                <a:lnTo>
                  <a:pt x="10" y="683"/>
                </a:lnTo>
                <a:lnTo>
                  <a:pt x="0" y="692"/>
                </a:lnTo>
                <a:lnTo>
                  <a:pt x="19" y="712"/>
                </a:lnTo>
                <a:lnTo>
                  <a:pt x="39" y="751"/>
                </a:lnTo>
                <a:lnTo>
                  <a:pt x="49" y="770"/>
                </a:lnTo>
                <a:lnTo>
                  <a:pt x="58" y="780"/>
                </a:lnTo>
                <a:lnTo>
                  <a:pt x="58" y="790"/>
                </a:lnTo>
                <a:lnTo>
                  <a:pt x="88" y="809"/>
                </a:lnTo>
                <a:lnTo>
                  <a:pt x="78" y="829"/>
                </a:lnTo>
                <a:lnTo>
                  <a:pt x="97" y="839"/>
                </a:lnTo>
                <a:lnTo>
                  <a:pt x="97" y="868"/>
                </a:lnTo>
                <a:lnTo>
                  <a:pt x="136" y="848"/>
                </a:lnTo>
                <a:lnTo>
                  <a:pt x="146" y="839"/>
                </a:lnTo>
                <a:lnTo>
                  <a:pt x="205" y="848"/>
                </a:lnTo>
                <a:lnTo>
                  <a:pt x="234" y="878"/>
                </a:lnTo>
                <a:lnTo>
                  <a:pt x="263" y="897"/>
                </a:lnTo>
                <a:lnTo>
                  <a:pt x="253" y="917"/>
                </a:lnTo>
                <a:lnTo>
                  <a:pt x="263" y="926"/>
                </a:lnTo>
                <a:lnTo>
                  <a:pt x="263" y="946"/>
                </a:lnTo>
                <a:lnTo>
                  <a:pt x="244" y="956"/>
                </a:lnTo>
                <a:lnTo>
                  <a:pt x="244" y="985"/>
                </a:lnTo>
                <a:lnTo>
                  <a:pt x="253" y="995"/>
                </a:lnTo>
                <a:lnTo>
                  <a:pt x="263" y="995"/>
                </a:lnTo>
                <a:lnTo>
                  <a:pt x="263" y="1014"/>
                </a:lnTo>
                <a:lnTo>
                  <a:pt x="273" y="1014"/>
                </a:lnTo>
                <a:lnTo>
                  <a:pt x="292" y="1005"/>
                </a:lnTo>
                <a:lnTo>
                  <a:pt x="302" y="1005"/>
                </a:lnTo>
                <a:lnTo>
                  <a:pt x="302" y="985"/>
                </a:lnTo>
                <a:lnTo>
                  <a:pt x="312" y="985"/>
                </a:lnTo>
                <a:lnTo>
                  <a:pt x="322" y="995"/>
                </a:lnTo>
                <a:lnTo>
                  <a:pt x="331" y="995"/>
                </a:lnTo>
                <a:lnTo>
                  <a:pt x="351" y="995"/>
                </a:lnTo>
                <a:lnTo>
                  <a:pt x="361" y="985"/>
                </a:lnTo>
                <a:lnTo>
                  <a:pt x="370" y="1005"/>
                </a:lnTo>
                <a:lnTo>
                  <a:pt x="380" y="1014"/>
                </a:lnTo>
                <a:lnTo>
                  <a:pt x="390" y="1024"/>
                </a:lnTo>
                <a:lnTo>
                  <a:pt x="390" y="1044"/>
                </a:lnTo>
                <a:lnTo>
                  <a:pt x="409" y="1034"/>
                </a:lnTo>
                <a:lnTo>
                  <a:pt x="419" y="1034"/>
                </a:lnTo>
                <a:lnTo>
                  <a:pt x="439" y="1034"/>
                </a:lnTo>
                <a:lnTo>
                  <a:pt x="439" y="1024"/>
                </a:lnTo>
                <a:lnTo>
                  <a:pt x="439" y="1014"/>
                </a:lnTo>
                <a:lnTo>
                  <a:pt x="439" y="1005"/>
                </a:lnTo>
                <a:lnTo>
                  <a:pt x="448" y="995"/>
                </a:lnTo>
                <a:lnTo>
                  <a:pt x="458" y="985"/>
                </a:lnTo>
                <a:lnTo>
                  <a:pt x="468" y="995"/>
                </a:lnTo>
                <a:lnTo>
                  <a:pt x="497" y="985"/>
                </a:lnTo>
                <a:lnTo>
                  <a:pt x="497" y="975"/>
                </a:lnTo>
                <a:lnTo>
                  <a:pt x="488" y="966"/>
                </a:lnTo>
                <a:lnTo>
                  <a:pt x="478" y="966"/>
                </a:lnTo>
                <a:lnTo>
                  <a:pt x="478" y="956"/>
                </a:lnTo>
                <a:lnTo>
                  <a:pt x="488" y="966"/>
                </a:lnTo>
                <a:lnTo>
                  <a:pt x="488" y="946"/>
                </a:lnTo>
                <a:lnTo>
                  <a:pt x="478" y="946"/>
                </a:lnTo>
                <a:lnTo>
                  <a:pt x="478" y="917"/>
                </a:lnTo>
                <a:lnTo>
                  <a:pt x="488" y="907"/>
                </a:lnTo>
                <a:lnTo>
                  <a:pt x="497" y="907"/>
                </a:lnTo>
                <a:lnTo>
                  <a:pt x="517" y="897"/>
                </a:lnTo>
                <a:lnTo>
                  <a:pt x="527" y="887"/>
                </a:lnTo>
                <a:lnTo>
                  <a:pt x="536" y="887"/>
                </a:lnTo>
                <a:lnTo>
                  <a:pt x="566" y="897"/>
                </a:lnTo>
                <a:lnTo>
                  <a:pt x="575" y="878"/>
                </a:lnTo>
                <a:lnTo>
                  <a:pt x="566" y="878"/>
                </a:lnTo>
                <a:lnTo>
                  <a:pt x="566" y="868"/>
                </a:lnTo>
                <a:lnTo>
                  <a:pt x="585" y="848"/>
                </a:lnTo>
                <a:lnTo>
                  <a:pt x="595" y="858"/>
                </a:lnTo>
                <a:lnTo>
                  <a:pt x="614" y="868"/>
                </a:lnTo>
                <a:lnTo>
                  <a:pt x="624" y="858"/>
                </a:lnTo>
                <a:lnTo>
                  <a:pt x="644" y="848"/>
                </a:lnTo>
                <a:lnTo>
                  <a:pt x="653" y="848"/>
                </a:lnTo>
                <a:lnTo>
                  <a:pt x="644" y="848"/>
                </a:lnTo>
                <a:lnTo>
                  <a:pt x="644" y="868"/>
                </a:lnTo>
                <a:lnTo>
                  <a:pt x="614" y="878"/>
                </a:lnTo>
                <a:lnTo>
                  <a:pt x="614" y="887"/>
                </a:lnTo>
                <a:lnTo>
                  <a:pt x="605" y="907"/>
                </a:lnTo>
                <a:lnTo>
                  <a:pt x="614" y="907"/>
                </a:lnTo>
                <a:lnTo>
                  <a:pt x="644" y="917"/>
                </a:lnTo>
                <a:lnTo>
                  <a:pt x="653" y="907"/>
                </a:lnTo>
                <a:lnTo>
                  <a:pt x="663" y="897"/>
                </a:lnTo>
                <a:lnTo>
                  <a:pt x="663" y="887"/>
                </a:lnTo>
                <a:lnTo>
                  <a:pt x="663" y="858"/>
                </a:lnTo>
                <a:lnTo>
                  <a:pt x="673" y="858"/>
                </a:lnTo>
                <a:lnTo>
                  <a:pt x="683" y="858"/>
                </a:lnTo>
                <a:lnTo>
                  <a:pt x="702" y="848"/>
                </a:lnTo>
                <a:lnTo>
                  <a:pt x="692" y="829"/>
                </a:lnTo>
                <a:lnTo>
                  <a:pt x="702" y="819"/>
                </a:lnTo>
                <a:lnTo>
                  <a:pt x="692" y="809"/>
                </a:lnTo>
                <a:lnTo>
                  <a:pt x="702" y="790"/>
                </a:lnTo>
                <a:lnTo>
                  <a:pt x="722" y="790"/>
                </a:lnTo>
                <a:lnTo>
                  <a:pt x="731" y="790"/>
                </a:lnTo>
                <a:lnTo>
                  <a:pt x="731" y="780"/>
                </a:lnTo>
                <a:lnTo>
                  <a:pt x="741" y="770"/>
                </a:lnTo>
                <a:lnTo>
                  <a:pt x="741" y="761"/>
                </a:lnTo>
                <a:lnTo>
                  <a:pt x="751" y="761"/>
                </a:lnTo>
                <a:lnTo>
                  <a:pt x="751" y="751"/>
                </a:lnTo>
                <a:lnTo>
                  <a:pt x="770" y="741"/>
                </a:lnTo>
                <a:lnTo>
                  <a:pt x="770" y="731"/>
                </a:lnTo>
                <a:lnTo>
                  <a:pt x="751" y="712"/>
                </a:lnTo>
                <a:lnTo>
                  <a:pt x="731" y="712"/>
                </a:lnTo>
                <a:lnTo>
                  <a:pt x="731" y="722"/>
                </a:lnTo>
                <a:lnTo>
                  <a:pt x="722" y="722"/>
                </a:lnTo>
                <a:lnTo>
                  <a:pt x="712" y="731"/>
                </a:lnTo>
                <a:lnTo>
                  <a:pt x="712" y="741"/>
                </a:lnTo>
                <a:lnTo>
                  <a:pt x="702" y="751"/>
                </a:lnTo>
                <a:lnTo>
                  <a:pt x="692" y="751"/>
                </a:lnTo>
                <a:lnTo>
                  <a:pt x="692" y="731"/>
                </a:lnTo>
                <a:lnTo>
                  <a:pt x="683" y="731"/>
                </a:lnTo>
                <a:lnTo>
                  <a:pt x="673" y="712"/>
                </a:lnTo>
                <a:lnTo>
                  <a:pt x="663" y="692"/>
                </a:lnTo>
                <a:lnTo>
                  <a:pt x="673" y="683"/>
                </a:lnTo>
                <a:lnTo>
                  <a:pt x="663" y="683"/>
                </a:lnTo>
                <a:lnTo>
                  <a:pt x="663" y="663"/>
                </a:lnTo>
                <a:lnTo>
                  <a:pt x="663" y="644"/>
                </a:lnTo>
                <a:lnTo>
                  <a:pt x="653" y="634"/>
                </a:lnTo>
                <a:lnTo>
                  <a:pt x="663" y="614"/>
                </a:lnTo>
                <a:lnTo>
                  <a:pt x="663" y="595"/>
                </a:lnTo>
                <a:lnTo>
                  <a:pt x="663" y="575"/>
                </a:lnTo>
                <a:lnTo>
                  <a:pt x="653" y="575"/>
                </a:lnTo>
                <a:lnTo>
                  <a:pt x="644" y="556"/>
                </a:lnTo>
                <a:lnTo>
                  <a:pt x="644" y="536"/>
                </a:lnTo>
                <a:lnTo>
                  <a:pt x="644" y="517"/>
                </a:lnTo>
                <a:lnTo>
                  <a:pt x="634" y="497"/>
                </a:lnTo>
                <a:lnTo>
                  <a:pt x="624" y="487"/>
                </a:lnTo>
                <a:lnTo>
                  <a:pt x="634" y="478"/>
                </a:lnTo>
                <a:lnTo>
                  <a:pt x="634" y="458"/>
                </a:lnTo>
                <a:lnTo>
                  <a:pt x="634" y="429"/>
                </a:lnTo>
                <a:lnTo>
                  <a:pt x="644" y="429"/>
                </a:lnTo>
                <a:lnTo>
                  <a:pt x="644" y="419"/>
                </a:lnTo>
                <a:lnTo>
                  <a:pt x="663" y="419"/>
                </a:lnTo>
                <a:lnTo>
                  <a:pt x="663" y="400"/>
                </a:lnTo>
                <a:lnTo>
                  <a:pt x="663" y="390"/>
                </a:lnTo>
                <a:lnTo>
                  <a:pt x="673" y="370"/>
                </a:lnTo>
                <a:lnTo>
                  <a:pt x="673" y="361"/>
                </a:lnTo>
                <a:lnTo>
                  <a:pt x="683" y="351"/>
                </a:lnTo>
                <a:lnTo>
                  <a:pt x="692" y="361"/>
                </a:lnTo>
                <a:lnTo>
                  <a:pt x="702" y="351"/>
                </a:lnTo>
                <a:lnTo>
                  <a:pt x="712" y="361"/>
                </a:lnTo>
                <a:lnTo>
                  <a:pt x="722" y="351"/>
                </a:lnTo>
                <a:lnTo>
                  <a:pt x="722" y="331"/>
                </a:lnTo>
                <a:lnTo>
                  <a:pt x="722" y="312"/>
                </a:lnTo>
                <a:lnTo>
                  <a:pt x="731" y="312"/>
                </a:lnTo>
                <a:lnTo>
                  <a:pt x="731" y="322"/>
                </a:lnTo>
                <a:lnTo>
                  <a:pt x="751" y="341"/>
                </a:lnTo>
                <a:lnTo>
                  <a:pt x="761" y="361"/>
                </a:lnTo>
                <a:lnTo>
                  <a:pt x="761" y="380"/>
                </a:lnTo>
                <a:lnTo>
                  <a:pt x="770" y="380"/>
                </a:lnTo>
                <a:lnTo>
                  <a:pt x="790" y="380"/>
                </a:lnTo>
                <a:lnTo>
                  <a:pt x="790" y="400"/>
                </a:lnTo>
                <a:lnTo>
                  <a:pt x="790" y="380"/>
                </a:lnTo>
                <a:lnTo>
                  <a:pt x="800" y="370"/>
                </a:lnTo>
                <a:lnTo>
                  <a:pt x="809" y="380"/>
                </a:lnTo>
                <a:lnTo>
                  <a:pt x="809" y="390"/>
                </a:lnTo>
                <a:lnTo>
                  <a:pt x="829" y="409"/>
                </a:lnTo>
                <a:lnTo>
                  <a:pt x="839" y="400"/>
                </a:lnTo>
                <a:lnTo>
                  <a:pt x="829" y="390"/>
                </a:lnTo>
                <a:lnTo>
                  <a:pt x="839" y="380"/>
                </a:lnTo>
                <a:lnTo>
                  <a:pt x="839" y="370"/>
                </a:lnTo>
                <a:lnTo>
                  <a:pt x="839" y="361"/>
                </a:lnTo>
                <a:lnTo>
                  <a:pt x="829" y="341"/>
                </a:lnTo>
                <a:lnTo>
                  <a:pt x="829" y="322"/>
                </a:lnTo>
                <a:lnTo>
                  <a:pt x="829" y="302"/>
                </a:lnTo>
                <a:lnTo>
                  <a:pt x="829" y="283"/>
                </a:lnTo>
                <a:lnTo>
                  <a:pt x="819" y="273"/>
                </a:lnTo>
                <a:lnTo>
                  <a:pt x="819" y="263"/>
                </a:lnTo>
                <a:lnTo>
                  <a:pt x="819" y="244"/>
                </a:lnTo>
                <a:lnTo>
                  <a:pt x="819" y="234"/>
                </a:lnTo>
                <a:lnTo>
                  <a:pt x="790" y="224"/>
                </a:lnTo>
                <a:lnTo>
                  <a:pt x="790" y="204"/>
                </a:lnTo>
                <a:lnTo>
                  <a:pt x="770" y="204"/>
                </a:lnTo>
                <a:lnTo>
                  <a:pt x="770" y="195"/>
                </a:lnTo>
                <a:lnTo>
                  <a:pt x="761" y="175"/>
                </a:lnTo>
                <a:lnTo>
                  <a:pt x="741" y="165"/>
                </a:lnTo>
                <a:lnTo>
                  <a:pt x="731" y="146"/>
                </a:lnTo>
                <a:lnTo>
                  <a:pt x="692" y="146"/>
                </a:lnTo>
                <a:lnTo>
                  <a:pt x="683" y="146"/>
                </a:lnTo>
                <a:lnTo>
                  <a:pt x="683" y="117"/>
                </a:lnTo>
                <a:lnTo>
                  <a:pt x="663" y="117"/>
                </a:lnTo>
                <a:lnTo>
                  <a:pt x="663" y="107"/>
                </a:lnTo>
                <a:lnTo>
                  <a:pt x="663" y="87"/>
                </a:lnTo>
                <a:lnTo>
                  <a:pt x="653" y="78"/>
                </a:lnTo>
                <a:lnTo>
                  <a:pt x="644" y="68"/>
                </a:lnTo>
                <a:lnTo>
                  <a:pt x="634" y="78"/>
                </a:lnTo>
                <a:lnTo>
                  <a:pt x="614" y="78"/>
                </a:lnTo>
                <a:lnTo>
                  <a:pt x="614" y="68"/>
                </a:lnTo>
                <a:lnTo>
                  <a:pt x="614" y="58"/>
                </a:lnTo>
                <a:lnTo>
                  <a:pt x="595" y="48"/>
                </a:lnTo>
                <a:lnTo>
                  <a:pt x="585" y="39"/>
                </a:lnTo>
                <a:lnTo>
                  <a:pt x="585" y="29"/>
                </a:lnTo>
                <a:lnTo>
                  <a:pt x="585" y="19"/>
                </a:lnTo>
                <a:lnTo>
                  <a:pt x="566" y="19"/>
                </a:lnTo>
                <a:lnTo>
                  <a:pt x="556" y="0"/>
                </a:lnTo>
                <a:lnTo>
                  <a:pt x="527" y="0"/>
                </a:lnTo>
                <a:lnTo>
                  <a:pt x="507" y="9"/>
                </a:lnTo>
                <a:lnTo>
                  <a:pt x="488" y="29"/>
                </a:lnTo>
                <a:lnTo>
                  <a:pt x="468" y="29"/>
                </a:lnTo>
                <a:lnTo>
                  <a:pt x="439" y="39"/>
                </a:lnTo>
                <a:lnTo>
                  <a:pt x="439" y="48"/>
                </a:lnTo>
                <a:lnTo>
                  <a:pt x="429" y="68"/>
                </a:lnTo>
                <a:lnTo>
                  <a:pt x="409" y="68"/>
                </a:lnTo>
                <a:lnTo>
                  <a:pt x="400" y="68"/>
                </a:lnTo>
                <a:lnTo>
                  <a:pt x="390" y="68"/>
                </a:lnTo>
                <a:lnTo>
                  <a:pt x="370" y="68"/>
                </a:lnTo>
                <a:lnTo>
                  <a:pt x="351" y="68"/>
                </a:lnTo>
                <a:lnTo>
                  <a:pt x="351" y="78"/>
                </a:lnTo>
                <a:lnTo>
                  <a:pt x="322" y="78"/>
                </a:lnTo>
                <a:lnTo>
                  <a:pt x="302" y="68"/>
                </a:lnTo>
                <a:lnTo>
                  <a:pt x="292" y="48"/>
                </a:lnTo>
                <a:lnTo>
                  <a:pt x="253" y="48"/>
                </a:lnTo>
                <a:close/>
              </a:path>
            </a:pathLst>
          </a:custGeom>
          <a:solidFill>
            <a:srgbClr val="CCECFF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grpSp>
        <p:nvGrpSpPr>
          <p:cNvPr id="18630" name="Group 86"/>
          <p:cNvGrpSpPr>
            <a:grpSpLocks noChangeAspect="1"/>
          </p:cNvGrpSpPr>
          <p:nvPr>
            <p:custDataLst>
              <p:tags r:id="rId196"/>
            </p:custDataLst>
          </p:nvPr>
        </p:nvGrpSpPr>
        <p:grpSpPr bwMode="auto">
          <a:xfrm>
            <a:off x="6697663" y="3608388"/>
            <a:ext cx="560387" cy="649287"/>
            <a:chOff x="7550" y="1220"/>
            <a:chExt cx="839" cy="1044"/>
          </a:xfrm>
        </p:grpSpPr>
        <p:sp>
          <p:nvSpPr>
            <p:cNvPr id="18748" name="Freeform 88"/>
            <p:cNvSpPr>
              <a:spLocks noChangeAspect="1"/>
            </p:cNvSpPr>
            <p:nvPr/>
          </p:nvSpPr>
          <p:spPr bwMode="auto">
            <a:xfrm>
              <a:off x="7550" y="1220"/>
              <a:ext cx="839" cy="1044"/>
            </a:xfrm>
            <a:custGeom>
              <a:avLst/>
              <a:gdLst>
                <a:gd name="T0" fmla="*/ 214 w 839"/>
                <a:gd name="T1" fmla="*/ 126 h 1044"/>
                <a:gd name="T2" fmla="*/ 156 w 839"/>
                <a:gd name="T3" fmla="*/ 175 h 1044"/>
                <a:gd name="T4" fmla="*/ 156 w 839"/>
                <a:gd name="T5" fmla="*/ 224 h 1044"/>
                <a:gd name="T6" fmla="*/ 175 w 839"/>
                <a:gd name="T7" fmla="*/ 283 h 1044"/>
                <a:gd name="T8" fmla="*/ 166 w 839"/>
                <a:gd name="T9" fmla="*/ 361 h 1044"/>
                <a:gd name="T10" fmla="*/ 214 w 839"/>
                <a:gd name="T11" fmla="*/ 429 h 1044"/>
                <a:gd name="T12" fmla="*/ 166 w 839"/>
                <a:gd name="T13" fmla="*/ 497 h 1044"/>
                <a:gd name="T14" fmla="*/ 107 w 839"/>
                <a:gd name="T15" fmla="*/ 497 h 1044"/>
                <a:gd name="T16" fmla="*/ 58 w 839"/>
                <a:gd name="T17" fmla="*/ 536 h 1044"/>
                <a:gd name="T18" fmla="*/ 88 w 839"/>
                <a:gd name="T19" fmla="*/ 585 h 1044"/>
                <a:gd name="T20" fmla="*/ 49 w 839"/>
                <a:gd name="T21" fmla="*/ 595 h 1044"/>
                <a:gd name="T22" fmla="*/ 10 w 839"/>
                <a:gd name="T23" fmla="*/ 653 h 1044"/>
                <a:gd name="T24" fmla="*/ 39 w 839"/>
                <a:gd name="T25" fmla="*/ 751 h 1044"/>
                <a:gd name="T26" fmla="*/ 78 w 839"/>
                <a:gd name="T27" fmla="*/ 829 h 1044"/>
                <a:gd name="T28" fmla="*/ 205 w 839"/>
                <a:gd name="T29" fmla="*/ 848 h 1044"/>
                <a:gd name="T30" fmla="*/ 263 w 839"/>
                <a:gd name="T31" fmla="*/ 946 h 1044"/>
                <a:gd name="T32" fmla="*/ 263 w 839"/>
                <a:gd name="T33" fmla="*/ 1014 h 1044"/>
                <a:gd name="T34" fmla="*/ 312 w 839"/>
                <a:gd name="T35" fmla="*/ 985 h 1044"/>
                <a:gd name="T36" fmla="*/ 370 w 839"/>
                <a:gd name="T37" fmla="*/ 1005 h 1044"/>
                <a:gd name="T38" fmla="*/ 409 w 839"/>
                <a:gd name="T39" fmla="*/ 1034 h 1044"/>
                <a:gd name="T40" fmla="*/ 439 w 839"/>
                <a:gd name="T41" fmla="*/ 1005 h 1044"/>
                <a:gd name="T42" fmla="*/ 488 w 839"/>
                <a:gd name="T43" fmla="*/ 985 h 1044"/>
                <a:gd name="T44" fmla="*/ 488 w 839"/>
                <a:gd name="T45" fmla="*/ 966 h 1044"/>
                <a:gd name="T46" fmla="*/ 488 w 839"/>
                <a:gd name="T47" fmla="*/ 907 h 1044"/>
                <a:gd name="T48" fmla="*/ 566 w 839"/>
                <a:gd name="T49" fmla="*/ 897 h 1044"/>
                <a:gd name="T50" fmla="*/ 595 w 839"/>
                <a:gd name="T51" fmla="*/ 858 h 1044"/>
                <a:gd name="T52" fmla="*/ 644 w 839"/>
                <a:gd name="T53" fmla="*/ 848 h 1044"/>
                <a:gd name="T54" fmla="*/ 614 w 839"/>
                <a:gd name="T55" fmla="*/ 907 h 1044"/>
                <a:gd name="T56" fmla="*/ 663 w 839"/>
                <a:gd name="T57" fmla="*/ 858 h 1044"/>
                <a:gd name="T58" fmla="*/ 692 w 839"/>
                <a:gd name="T59" fmla="*/ 829 h 1044"/>
                <a:gd name="T60" fmla="*/ 731 w 839"/>
                <a:gd name="T61" fmla="*/ 790 h 1044"/>
                <a:gd name="T62" fmla="*/ 751 w 839"/>
                <a:gd name="T63" fmla="*/ 751 h 1044"/>
                <a:gd name="T64" fmla="*/ 731 w 839"/>
                <a:gd name="T65" fmla="*/ 722 h 1044"/>
                <a:gd name="T66" fmla="*/ 692 w 839"/>
                <a:gd name="T67" fmla="*/ 751 h 1044"/>
                <a:gd name="T68" fmla="*/ 663 w 839"/>
                <a:gd name="T69" fmla="*/ 692 h 1044"/>
                <a:gd name="T70" fmla="*/ 653 w 839"/>
                <a:gd name="T71" fmla="*/ 634 h 1044"/>
                <a:gd name="T72" fmla="*/ 653 w 839"/>
                <a:gd name="T73" fmla="*/ 575 h 1044"/>
                <a:gd name="T74" fmla="*/ 624 w 839"/>
                <a:gd name="T75" fmla="*/ 487 h 1044"/>
                <a:gd name="T76" fmla="*/ 644 w 839"/>
                <a:gd name="T77" fmla="*/ 419 h 1044"/>
                <a:gd name="T78" fmla="*/ 673 w 839"/>
                <a:gd name="T79" fmla="*/ 361 h 1044"/>
                <a:gd name="T80" fmla="*/ 722 w 839"/>
                <a:gd name="T81" fmla="*/ 351 h 1044"/>
                <a:gd name="T82" fmla="*/ 751 w 839"/>
                <a:gd name="T83" fmla="*/ 341 h 1044"/>
                <a:gd name="T84" fmla="*/ 780 w 839"/>
                <a:gd name="T85" fmla="*/ 400 h 1044"/>
                <a:gd name="T86" fmla="*/ 809 w 839"/>
                <a:gd name="T87" fmla="*/ 390 h 1044"/>
                <a:gd name="T88" fmla="*/ 839 w 839"/>
                <a:gd name="T89" fmla="*/ 370 h 1044"/>
                <a:gd name="T90" fmla="*/ 829 w 839"/>
                <a:gd name="T91" fmla="*/ 302 h 1044"/>
                <a:gd name="T92" fmla="*/ 819 w 839"/>
                <a:gd name="T93" fmla="*/ 244 h 1044"/>
                <a:gd name="T94" fmla="*/ 770 w 839"/>
                <a:gd name="T95" fmla="*/ 204 h 1044"/>
                <a:gd name="T96" fmla="*/ 692 w 839"/>
                <a:gd name="T97" fmla="*/ 146 h 1044"/>
                <a:gd name="T98" fmla="*/ 663 w 839"/>
                <a:gd name="T99" fmla="*/ 87 h 1044"/>
                <a:gd name="T100" fmla="*/ 614 w 839"/>
                <a:gd name="T101" fmla="*/ 68 h 1044"/>
                <a:gd name="T102" fmla="*/ 585 w 839"/>
                <a:gd name="T103" fmla="*/ 19 h 1044"/>
                <a:gd name="T104" fmla="*/ 488 w 839"/>
                <a:gd name="T105" fmla="*/ 29 h 1044"/>
                <a:gd name="T106" fmla="*/ 409 w 839"/>
                <a:gd name="T107" fmla="*/ 68 h 1044"/>
                <a:gd name="T108" fmla="*/ 341 w 839"/>
                <a:gd name="T109" fmla="*/ 78 h 104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39"/>
                <a:gd name="T166" fmla="*/ 0 h 1044"/>
                <a:gd name="T167" fmla="*/ 839 w 839"/>
                <a:gd name="T168" fmla="*/ 1044 h 104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39" h="1044">
                  <a:moveTo>
                    <a:pt x="253" y="48"/>
                  </a:moveTo>
                  <a:lnTo>
                    <a:pt x="263" y="68"/>
                  </a:lnTo>
                  <a:lnTo>
                    <a:pt x="253" y="87"/>
                  </a:lnTo>
                  <a:lnTo>
                    <a:pt x="253" y="126"/>
                  </a:lnTo>
                  <a:lnTo>
                    <a:pt x="214" y="126"/>
                  </a:lnTo>
                  <a:lnTo>
                    <a:pt x="205" y="136"/>
                  </a:lnTo>
                  <a:lnTo>
                    <a:pt x="205" y="146"/>
                  </a:lnTo>
                  <a:lnTo>
                    <a:pt x="195" y="156"/>
                  </a:lnTo>
                  <a:lnTo>
                    <a:pt x="175" y="175"/>
                  </a:lnTo>
                  <a:lnTo>
                    <a:pt x="156" y="175"/>
                  </a:lnTo>
                  <a:lnTo>
                    <a:pt x="156" y="195"/>
                  </a:lnTo>
                  <a:lnTo>
                    <a:pt x="136" y="195"/>
                  </a:lnTo>
                  <a:lnTo>
                    <a:pt x="136" y="204"/>
                  </a:lnTo>
                  <a:lnTo>
                    <a:pt x="146" y="214"/>
                  </a:lnTo>
                  <a:lnTo>
                    <a:pt x="156" y="224"/>
                  </a:lnTo>
                  <a:lnTo>
                    <a:pt x="156" y="244"/>
                  </a:lnTo>
                  <a:lnTo>
                    <a:pt x="146" y="244"/>
                  </a:lnTo>
                  <a:lnTo>
                    <a:pt x="136" y="263"/>
                  </a:lnTo>
                  <a:lnTo>
                    <a:pt x="166" y="283"/>
                  </a:lnTo>
                  <a:lnTo>
                    <a:pt x="175" y="283"/>
                  </a:lnTo>
                  <a:lnTo>
                    <a:pt x="175" y="302"/>
                  </a:lnTo>
                  <a:lnTo>
                    <a:pt x="166" y="312"/>
                  </a:lnTo>
                  <a:lnTo>
                    <a:pt x="156" y="322"/>
                  </a:lnTo>
                  <a:lnTo>
                    <a:pt x="156" y="341"/>
                  </a:lnTo>
                  <a:lnTo>
                    <a:pt x="166" y="361"/>
                  </a:lnTo>
                  <a:lnTo>
                    <a:pt x="195" y="370"/>
                  </a:lnTo>
                  <a:lnTo>
                    <a:pt x="205" y="380"/>
                  </a:lnTo>
                  <a:lnTo>
                    <a:pt x="205" y="409"/>
                  </a:lnTo>
                  <a:lnTo>
                    <a:pt x="214" y="419"/>
                  </a:lnTo>
                  <a:lnTo>
                    <a:pt x="214" y="429"/>
                  </a:lnTo>
                  <a:lnTo>
                    <a:pt x="195" y="429"/>
                  </a:lnTo>
                  <a:lnTo>
                    <a:pt x="185" y="478"/>
                  </a:lnTo>
                  <a:lnTo>
                    <a:pt x="175" y="478"/>
                  </a:lnTo>
                  <a:lnTo>
                    <a:pt x="166" y="487"/>
                  </a:lnTo>
                  <a:lnTo>
                    <a:pt x="166" y="497"/>
                  </a:lnTo>
                  <a:lnTo>
                    <a:pt x="156" y="517"/>
                  </a:lnTo>
                  <a:lnTo>
                    <a:pt x="136" y="507"/>
                  </a:lnTo>
                  <a:lnTo>
                    <a:pt x="136" y="497"/>
                  </a:lnTo>
                  <a:lnTo>
                    <a:pt x="117" y="497"/>
                  </a:lnTo>
                  <a:lnTo>
                    <a:pt x="107" y="497"/>
                  </a:lnTo>
                  <a:lnTo>
                    <a:pt x="107" y="517"/>
                  </a:lnTo>
                  <a:lnTo>
                    <a:pt x="97" y="526"/>
                  </a:lnTo>
                  <a:lnTo>
                    <a:pt x="88" y="526"/>
                  </a:lnTo>
                  <a:lnTo>
                    <a:pt x="78" y="536"/>
                  </a:lnTo>
                  <a:lnTo>
                    <a:pt x="58" y="536"/>
                  </a:lnTo>
                  <a:lnTo>
                    <a:pt x="49" y="536"/>
                  </a:lnTo>
                  <a:lnTo>
                    <a:pt x="49" y="546"/>
                  </a:lnTo>
                  <a:lnTo>
                    <a:pt x="58" y="556"/>
                  </a:lnTo>
                  <a:lnTo>
                    <a:pt x="78" y="556"/>
                  </a:lnTo>
                  <a:lnTo>
                    <a:pt x="88" y="585"/>
                  </a:lnTo>
                  <a:lnTo>
                    <a:pt x="88" y="595"/>
                  </a:lnTo>
                  <a:lnTo>
                    <a:pt x="78" y="605"/>
                  </a:lnTo>
                  <a:lnTo>
                    <a:pt x="68" y="605"/>
                  </a:lnTo>
                  <a:lnTo>
                    <a:pt x="58" y="595"/>
                  </a:lnTo>
                  <a:lnTo>
                    <a:pt x="49" y="595"/>
                  </a:lnTo>
                  <a:lnTo>
                    <a:pt x="49" y="614"/>
                  </a:lnTo>
                  <a:lnTo>
                    <a:pt x="29" y="614"/>
                  </a:lnTo>
                  <a:lnTo>
                    <a:pt x="10" y="624"/>
                  </a:lnTo>
                  <a:lnTo>
                    <a:pt x="0" y="634"/>
                  </a:lnTo>
                  <a:lnTo>
                    <a:pt x="10" y="653"/>
                  </a:lnTo>
                  <a:lnTo>
                    <a:pt x="19" y="663"/>
                  </a:lnTo>
                  <a:lnTo>
                    <a:pt x="10" y="683"/>
                  </a:lnTo>
                  <a:lnTo>
                    <a:pt x="0" y="692"/>
                  </a:lnTo>
                  <a:lnTo>
                    <a:pt x="19" y="712"/>
                  </a:lnTo>
                  <a:lnTo>
                    <a:pt x="39" y="751"/>
                  </a:lnTo>
                  <a:lnTo>
                    <a:pt x="49" y="770"/>
                  </a:lnTo>
                  <a:lnTo>
                    <a:pt x="58" y="780"/>
                  </a:lnTo>
                  <a:lnTo>
                    <a:pt x="58" y="790"/>
                  </a:lnTo>
                  <a:lnTo>
                    <a:pt x="88" y="809"/>
                  </a:lnTo>
                  <a:lnTo>
                    <a:pt x="78" y="829"/>
                  </a:lnTo>
                  <a:lnTo>
                    <a:pt x="97" y="839"/>
                  </a:lnTo>
                  <a:lnTo>
                    <a:pt x="97" y="868"/>
                  </a:lnTo>
                  <a:lnTo>
                    <a:pt x="136" y="848"/>
                  </a:lnTo>
                  <a:lnTo>
                    <a:pt x="146" y="839"/>
                  </a:lnTo>
                  <a:lnTo>
                    <a:pt x="205" y="848"/>
                  </a:lnTo>
                  <a:lnTo>
                    <a:pt x="234" y="878"/>
                  </a:lnTo>
                  <a:lnTo>
                    <a:pt x="263" y="897"/>
                  </a:lnTo>
                  <a:lnTo>
                    <a:pt x="253" y="917"/>
                  </a:lnTo>
                  <a:lnTo>
                    <a:pt x="263" y="926"/>
                  </a:lnTo>
                  <a:lnTo>
                    <a:pt x="263" y="946"/>
                  </a:lnTo>
                  <a:lnTo>
                    <a:pt x="244" y="956"/>
                  </a:lnTo>
                  <a:lnTo>
                    <a:pt x="244" y="985"/>
                  </a:lnTo>
                  <a:lnTo>
                    <a:pt x="253" y="995"/>
                  </a:lnTo>
                  <a:lnTo>
                    <a:pt x="263" y="995"/>
                  </a:lnTo>
                  <a:lnTo>
                    <a:pt x="263" y="1014"/>
                  </a:lnTo>
                  <a:lnTo>
                    <a:pt x="273" y="1014"/>
                  </a:lnTo>
                  <a:lnTo>
                    <a:pt x="292" y="1005"/>
                  </a:lnTo>
                  <a:lnTo>
                    <a:pt x="302" y="1005"/>
                  </a:lnTo>
                  <a:lnTo>
                    <a:pt x="302" y="985"/>
                  </a:lnTo>
                  <a:lnTo>
                    <a:pt x="312" y="985"/>
                  </a:lnTo>
                  <a:lnTo>
                    <a:pt x="322" y="995"/>
                  </a:lnTo>
                  <a:lnTo>
                    <a:pt x="331" y="995"/>
                  </a:lnTo>
                  <a:lnTo>
                    <a:pt x="351" y="995"/>
                  </a:lnTo>
                  <a:lnTo>
                    <a:pt x="361" y="985"/>
                  </a:lnTo>
                  <a:lnTo>
                    <a:pt x="370" y="1005"/>
                  </a:lnTo>
                  <a:lnTo>
                    <a:pt x="380" y="1014"/>
                  </a:lnTo>
                  <a:lnTo>
                    <a:pt x="390" y="1024"/>
                  </a:lnTo>
                  <a:lnTo>
                    <a:pt x="390" y="1044"/>
                  </a:lnTo>
                  <a:lnTo>
                    <a:pt x="409" y="1034"/>
                  </a:lnTo>
                  <a:lnTo>
                    <a:pt x="419" y="1034"/>
                  </a:lnTo>
                  <a:lnTo>
                    <a:pt x="439" y="1034"/>
                  </a:lnTo>
                  <a:lnTo>
                    <a:pt x="439" y="1024"/>
                  </a:lnTo>
                  <a:lnTo>
                    <a:pt x="439" y="1014"/>
                  </a:lnTo>
                  <a:lnTo>
                    <a:pt x="439" y="1005"/>
                  </a:lnTo>
                  <a:lnTo>
                    <a:pt x="448" y="995"/>
                  </a:lnTo>
                  <a:lnTo>
                    <a:pt x="458" y="985"/>
                  </a:lnTo>
                  <a:lnTo>
                    <a:pt x="468" y="995"/>
                  </a:lnTo>
                  <a:lnTo>
                    <a:pt x="488" y="985"/>
                  </a:lnTo>
                  <a:lnTo>
                    <a:pt x="497" y="975"/>
                  </a:lnTo>
                  <a:lnTo>
                    <a:pt x="488" y="966"/>
                  </a:lnTo>
                  <a:lnTo>
                    <a:pt x="478" y="966"/>
                  </a:lnTo>
                  <a:lnTo>
                    <a:pt x="478" y="956"/>
                  </a:lnTo>
                  <a:lnTo>
                    <a:pt x="488" y="966"/>
                  </a:lnTo>
                  <a:lnTo>
                    <a:pt x="488" y="946"/>
                  </a:lnTo>
                  <a:lnTo>
                    <a:pt x="478" y="946"/>
                  </a:lnTo>
                  <a:lnTo>
                    <a:pt x="478" y="917"/>
                  </a:lnTo>
                  <a:lnTo>
                    <a:pt x="488" y="907"/>
                  </a:lnTo>
                  <a:lnTo>
                    <a:pt x="497" y="907"/>
                  </a:lnTo>
                  <a:lnTo>
                    <a:pt x="517" y="897"/>
                  </a:lnTo>
                  <a:lnTo>
                    <a:pt x="527" y="887"/>
                  </a:lnTo>
                  <a:lnTo>
                    <a:pt x="536" y="887"/>
                  </a:lnTo>
                  <a:lnTo>
                    <a:pt x="566" y="897"/>
                  </a:lnTo>
                  <a:lnTo>
                    <a:pt x="575" y="878"/>
                  </a:lnTo>
                  <a:lnTo>
                    <a:pt x="566" y="878"/>
                  </a:lnTo>
                  <a:lnTo>
                    <a:pt x="566" y="868"/>
                  </a:lnTo>
                  <a:lnTo>
                    <a:pt x="585" y="848"/>
                  </a:lnTo>
                  <a:lnTo>
                    <a:pt x="595" y="858"/>
                  </a:lnTo>
                  <a:lnTo>
                    <a:pt x="614" y="868"/>
                  </a:lnTo>
                  <a:lnTo>
                    <a:pt x="624" y="858"/>
                  </a:lnTo>
                  <a:lnTo>
                    <a:pt x="644" y="848"/>
                  </a:lnTo>
                  <a:lnTo>
                    <a:pt x="653" y="848"/>
                  </a:lnTo>
                  <a:lnTo>
                    <a:pt x="644" y="848"/>
                  </a:lnTo>
                  <a:lnTo>
                    <a:pt x="644" y="868"/>
                  </a:lnTo>
                  <a:lnTo>
                    <a:pt x="614" y="878"/>
                  </a:lnTo>
                  <a:lnTo>
                    <a:pt x="614" y="887"/>
                  </a:lnTo>
                  <a:lnTo>
                    <a:pt x="605" y="907"/>
                  </a:lnTo>
                  <a:lnTo>
                    <a:pt x="614" y="907"/>
                  </a:lnTo>
                  <a:lnTo>
                    <a:pt x="634" y="917"/>
                  </a:lnTo>
                  <a:lnTo>
                    <a:pt x="653" y="907"/>
                  </a:lnTo>
                  <a:lnTo>
                    <a:pt x="663" y="897"/>
                  </a:lnTo>
                  <a:lnTo>
                    <a:pt x="663" y="887"/>
                  </a:lnTo>
                  <a:lnTo>
                    <a:pt x="663" y="858"/>
                  </a:lnTo>
                  <a:lnTo>
                    <a:pt x="673" y="858"/>
                  </a:lnTo>
                  <a:lnTo>
                    <a:pt x="683" y="858"/>
                  </a:lnTo>
                  <a:lnTo>
                    <a:pt x="702" y="848"/>
                  </a:lnTo>
                  <a:lnTo>
                    <a:pt x="692" y="829"/>
                  </a:lnTo>
                  <a:lnTo>
                    <a:pt x="702" y="819"/>
                  </a:lnTo>
                  <a:lnTo>
                    <a:pt x="692" y="809"/>
                  </a:lnTo>
                  <a:lnTo>
                    <a:pt x="702" y="790"/>
                  </a:lnTo>
                  <a:lnTo>
                    <a:pt x="722" y="790"/>
                  </a:lnTo>
                  <a:lnTo>
                    <a:pt x="731" y="790"/>
                  </a:lnTo>
                  <a:lnTo>
                    <a:pt x="731" y="780"/>
                  </a:lnTo>
                  <a:lnTo>
                    <a:pt x="741" y="770"/>
                  </a:lnTo>
                  <a:lnTo>
                    <a:pt x="741" y="761"/>
                  </a:lnTo>
                  <a:lnTo>
                    <a:pt x="751" y="761"/>
                  </a:lnTo>
                  <a:lnTo>
                    <a:pt x="751" y="751"/>
                  </a:lnTo>
                  <a:lnTo>
                    <a:pt x="770" y="741"/>
                  </a:lnTo>
                  <a:lnTo>
                    <a:pt x="770" y="731"/>
                  </a:lnTo>
                  <a:lnTo>
                    <a:pt x="751" y="712"/>
                  </a:lnTo>
                  <a:lnTo>
                    <a:pt x="731" y="712"/>
                  </a:lnTo>
                  <a:lnTo>
                    <a:pt x="731" y="722"/>
                  </a:lnTo>
                  <a:lnTo>
                    <a:pt x="722" y="722"/>
                  </a:lnTo>
                  <a:lnTo>
                    <a:pt x="712" y="731"/>
                  </a:lnTo>
                  <a:lnTo>
                    <a:pt x="712" y="741"/>
                  </a:lnTo>
                  <a:lnTo>
                    <a:pt x="702" y="751"/>
                  </a:lnTo>
                  <a:lnTo>
                    <a:pt x="692" y="751"/>
                  </a:lnTo>
                  <a:lnTo>
                    <a:pt x="692" y="731"/>
                  </a:lnTo>
                  <a:lnTo>
                    <a:pt x="683" y="731"/>
                  </a:lnTo>
                  <a:lnTo>
                    <a:pt x="673" y="712"/>
                  </a:lnTo>
                  <a:lnTo>
                    <a:pt x="663" y="692"/>
                  </a:lnTo>
                  <a:lnTo>
                    <a:pt x="673" y="692"/>
                  </a:lnTo>
                  <a:lnTo>
                    <a:pt x="663" y="683"/>
                  </a:lnTo>
                  <a:lnTo>
                    <a:pt x="663" y="663"/>
                  </a:lnTo>
                  <a:lnTo>
                    <a:pt x="663" y="644"/>
                  </a:lnTo>
                  <a:lnTo>
                    <a:pt x="653" y="634"/>
                  </a:lnTo>
                  <a:lnTo>
                    <a:pt x="663" y="614"/>
                  </a:lnTo>
                  <a:lnTo>
                    <a:pt x="663" y="595"/>
                  </a:lnTo>
                  <a:lnTo>
                    <a:pt x="663" y="575"/>
                  </a:lnTo>
                  <a:lnTo>
                    <a:pt x="653" y="575"/>
                  </a:lnTo>
                  <a:lnTo>
                    <a:pt x="644" y="556"/>
                  </a:lnTo>
                  <a:lnTo>
                    <a:pt x="644" y="536"/>
                  </a:lnTo>
                  <a:lnTo>
                    <a:pt x="644" y="517"/>
                  </a:lnTo>
                  <a:lnTo>
                    <a:pt x="634" y="497"/>
                  </a:lnTo>
                  <a:lnTo>
                    <a:pt x="624" y="487"/>
                  </a:lnTo>
                  <a:lnTo>
                    <a:pt x="634" y="478"/>
                  </a:lnTo>
                  <a:lnTo>
                    <a:pt x="634" y="458"/>
                  </a:lnTo>
                  <a:lnTo>
                    <a:pt x="634" y="439"/>
                  </a:lnTo>
                  <a:lnTo>
                    <a:pt x="634" y="429"/>
                  </a:lnTo>
                  <a:lnTo>
                    <a:pt x="644" y="419"/>
                  </a:lnTo>
                  <a:lnTo>
                    <a:pt x="663" y="419"/>
                  </a:lnTo>
                  <a:lnTo>
                    <a:pt x="663" y="400"/>
                  </a:lnTo>
                  <a:lnTo>
                    <a:pt x="663" y="390"/>
                  </a:lnTo>
                  <a:lnTo>
                    <a:pt x="673" y="370"/>
                  </a:lnTo>
                  <a:lnTo>
                    <a:pt x="673" y="361"/>
                  </a:lnTo>
                  <a:lnTo>
                    <a:pt x="683" y="351"/>
                  </a:lnTo>
                  <a:lnTo>
                    <a:pt x="692" y="361"/>
                  </a:lnTo>
                  <a:lnTo>
                    <a:pt x="702" y="351"/>
                  </a:lnTo>
                  <a:lnTo>
                    <a:pt x="712" y="361"/>
                  </a:lnTo>
                  <a:lnTo>
                    <a:pt x="722" y="351"/>
                  </a:lnTo>
                  <a:lnTo>
                    <a:pt x="722" y="331"/>
                  </a:lnTo>
                  <a:lnTo>
                    <a:pt x="722" y="312"/>
                  </a:lnTo>
                  <a:lnTo>
                    <a:pt x="731" y="312"/>
                  </a:lnTo>
                  <a:lnTo>
                    <a:pt x="731" y="322"/>
                  </a:lnTo>
                  <a:lnTo>
                    <a:pt x="751" y="341"/>
                  </a:lnTo>
                  <a:lnTo>
                    <a:pt x="761" y="361"/>
                  </a:lnTo>
                  <a:lnTo>
                    <a:pt x="761" y="380"/>
                  </a:lnTo>
                  <a:lnTo>
                    <a:pt x="770" y="380"/>
                  </a:lnTo>
                  <a:lnTo>
                    <a:pt x="780" y="380"/>
                  </a:lnTo>
                  <a:lnTo>
                    <a:pt x="780" y="400"/>
                  </a:lnTo>
                  <a:lnTo>
                    <a:pt x="790" y="400"/>
                  </a:lnTo>
                  <a:lnTo>
                    <a:pt x="790" y="380"/>
                  </a:lnTo>
                  <a:lnTo>
                    <a:pt x="800" y="370"/>
                  </a:lnTo>
                  <a:lnTo>
                    <a:pt x="809" y="380"/>
                  </a:lnTo>
                  <a:lnTo>
                    <a:pt x="809" y="390"/>
                  </a:lnTo>
                  <a:lnTo>
                    <a:pt x="829" y="409"/>
                  </a:lnTo>
                  <a:lnTo>
                    <a:pt x="839" y="400"/>
                  </a:lnTo>
                  <a:lnTo>
                    <a:pt x="829" y="390"/>
                  </a:lnTo>
                  <a:lnTo>
                    <a:pt x="839" y="380"/>
                  </a:lnTo>
                  <a:lnTo>
                    <a:pt x="839" y="370"/>
                  </a:lnTo>
                  <a:lnTo>
                    <a:pt x="839" y="361"/>
                  </a:lnTo>
                  <a:lnTo>
                    <a:pt x="829" y="341"/>
                  </a:lnTo>
                  <a:lnTo>
                    <a:pt x="829" y="322"/>
                  </a:lnTo>
                  <a:lnTo>
                    <a:pt x="829" y="302"/>
                  </a:lnTo>
                  <a:lnTo>
                    <a:pt x="829" y="283"/>
                  </a:lnTo>
                  <a:lnTo>
                    <a:pt x="819" y="273"/>
                  </a:lnTo>
                  <a:lnTo>
                    <a:pt x="819" y="263"/>
                  </a:lnTo>
                  <a:lnTo>
                    <a:pt x="819" y="244"/>
                  </a:lnTo>
                  <a:lnTo>
                    <a:pt x="790" y="224"/>
                  </a:lnTo>
                  <a:lnTo>
                    <a:pt x="790" y="204"/>
                  </a:lnTo>
                  <a:lnTo>
                    <a:pt x="780" y="204"/>
                  </a:lnTo>
                  <a:lnTo>
                    <a:pt x="770" y="204"/>
                  </a:lnTo>
                  <a:lnTo>
                    <a:pt x="770" y="195"/>
                  </a:lnTo>
                  <a:lnTo>
                    <a:pt x="761" y="185"/>
                  </a:lnTo>
                  <a:lnTo>
                    <a:pt x="741" y="165"/>
                  </a:lnTo>
                  <a:lnTo>
                    <a:pt x="731" y="146"/>
                  </a:lnTo>
                  <a:lnTo>
                    <a:pt x="692" y="146"/>
                  </a:lnTo>
                  <a:lnTo>
                    <a:pt x="683" y="146"/>
                  </a:lnTo>
                  <a:lnTo>
                    <a:pt x="683" y="117"/>
                  </a:lnTo>
                  <a:lnTo>
                    <a:pt x="663" y="117"/>
                  </a:lnTo>
                  <a:lnTo>
                    <a:pt x="663" y="107"/>
                  </a:lnTo>
                  <a:lnTo>
                    <a:pt x="663" y="87"/>
                  </a:lnTo>
                  <a:lnTo>
                    <a:pt x="653" y="78"/>
                  </a:lnTo>
                  <a:lnTo>
                    <a:pt x="644" y="68"/>
                  </a:lnTo>
                  <a:lnTo>
                    <a:pt x="634" y="78"/>
                  </a:lnTo>
                  <a:lnTo>
                    <a:pt x="614" y="78"/>
                  </a:lnTo>
                  <a:lnTo>
                    <a:pt x="614" y="68"/>
                  </a:lnTo>
                  <a:lnTo>
                    <a:pt x="614" y="58"/>
                  </a:lnTo>
                  <a:lnTo>
                    <a:pt x="595" y="48"/>
                  </a:lnTo>
                  <a:lnTo>
                    <a:pt x="585" y="48"/>
                  </a:lnTo>
                  <a:lnTo>
                    <a:pt x="585" y="29"/>
                  </a:lnTo>
                  <a:lnTo>
                    <a:pt x="585" y="19"/>
                  </a:lnTo>
                  <a:lnTo>
                    <a:pt x="566" y="19"/>
                  </a:lnTo>
                  <a:lnTo>
                    <a:pt x="556" y="0"/>
                  </a:lnTo>
                  <a:lnTo>
                    <a:pt x="527" y="0"/>
                  </a:lnTo>
                  <a:lnTo>
                    <a:pt x="507" y="9"/>
                  </a:lnTo>
                  <a:lnTo>
                    <a:pt x="488" y="29"/>
                  </a:lnTo>
                  <a:lnTo>
                    <a:pt x="468" y="29"/>
                  </a:lnTo>
                  <a:lnTo>
                    <a:pt x="439" y="39"/>
                  </a:lnTo>
                  <a:lnTo>
                    <a:pt x="439" y="48"/>
                  </a:lnTo>
                  <a:lnTo>
                    <a:pt x="429" y="68"/>
                  </a:lnTo>
                  <a:lnTo>
                    <a:pt x="409" y="68"/>
                  </a:lnTo>
                  <a:lnTo>
                    <a:pt x="400" y="68"/>
                  </a:lnTo>
                  <a:lnTo>
                    <a:pt x="390" y="68"/>
                  </a:lnTo>
                  <a:lnTo>
                    <a:pt x="370" y="68"/>
                  </a:lnTo>
                  <a:lnTo>
                    <a:pt x="351" y="68"/>
                  </a:lnTo>
                  <a:lnTo>
                    <a:pt x="341" y="78"/>
                  </a:lnTo>
                  <a:lnTo>
                    <a:pt x="322" y="78"/>
                  </a:lnTo>
                  <a:lnTo>
                    <a:pt x="302" y="68"/>
                  </a:lnTo>
                  <a:lnTo>
                    <a:pt x="292" y="48"/>
                  </a:lnTo>
                  <a:lnTo>
                    <a:pt x="253" y="48"/>
                  </a:lnTo>
                  <a:close/>
                </a:path>
              </a:pathLst>
            </a:custGeom>
            <a:solidFill>
              <a:srgbClr val="96969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8749" name="Freeform 87"/>
            <p:cNvSpPr>
              <a:spLocks noChangeAspect="1"/>
            </p:cNvSpPr>
            <p:nvPr/>
          </p:nvSpPr>
          <p:spPr bwMode="auto">
            <a:xfrm>
              <a:off x="7550" y="1220"/>
              <a:ext cx="839" cy="1044"/>
            </a:xfrm>
            <a:custGeom>
              <a:avLst/>
              <a:gdLst>
                <a:gd name="T0" fmla="*/ 214 w 839"/>
                <a:gd name="T1" fmla="*/ 126 h 1044"/>
                <a:gd name="T2" fmla="*/ 156 w 839"/>
                <a:gd name="T3" fmla="*/ 175 h 1044"/>
                <a:gd name="T4" fmla="*/ 156 w 839"/>
                <a:gd name="T5" fmla="*/ 224 h 1044"/>
                <a:gd name="T6" fmla="*/ 175 w 839"/>
                <a:gd name="T7" fmla="*/ 283 h 1044"/>
                <a:gd name="T8" fmla="*/ 166 w 839"/>
                <a:gd name="T9" fmla="*/ 361 h 1044"/>
                <a:gd name="T10" fmla="*/ 214 w 839"/>
                <a:gd name="T11" fmla="*/ 429 h 1044"/>
                <a:gd name="T12" fmla="*/ 166 w 839"/>
                <a:gd name="T13" fmla="*/ 497 h 1044"/>
                <a:gd name="T14" fmla="*/ 107 w 839"/>
                <a:gd name="T15" fmla="*/ 497 h 1044"/>
                <a:gd name="T16" fmla="*/ 58 w 839"/>
                <a:gd name="T17" fmla="*/ 536 h 1044"/>
                <a:gd name="T18" fmla="*/ 88 w 839"/>
                <a:gd name="T19" fmla="*/ 585 h 1044"/>
                <a:gd name="T20" fmla="*/ 49 w 839"/>
                <a:gd name="T21" fmla="*/ 595 h 1044"/>
                <a:gd name="T22" fmla="*/ 10 w 839"/>
                <a:gd name="T23" fmla="*/ 653 h 1044"/>
                <a:gd name="T24" fmla="*/ 39 w 839"/>
                <a:gd name="T25" fmla="*/ 751 h 1044"/>
                <a:gd name="T26" fmla="*/ 78 w 839"/>
                <a:gd name="T27" fmla="*/ 829 h 1044"/>
                <a:gd name="T28" fmla="*/ 205 w 839"/>
                <a:gd name="T29" fmla="*/ 848 h 1044"/>
                <a:gd name="T30" fmla="*/ 263 w 839"/>
                <a:gd name="T31" fmla="*/ 946 h 1044"/>
                <a:gd name="T32" fmla="*/ 263 w 839"/>
                <a:gd name="T33" fmla="*/ 1014 h 1044"/>
                <a:gd name="T34" fmla="*/ 312 w 839"/>
                <a:gd name="T35" fmla="*/ 985 h 1044"/>
                <a:gd name="T36" fmla="*/ 370 w 839"/>
                <a:gd name="T37" fmla="*/ 1005 h 1044"/>
                <a:gd name="T38" fmla="*/ 409 w 839"/>
                <a:gd name="T39" fmla="*/ 1034 h 1044"/>
                <a:gd name="T40" fmla="*/ 439 w 839"/>
                <a:gd name="T41" fmla="*/ 1005 h 1044"/>
                <a:gd name="T42" fmla="*/ 488 w 839"/>
                <a:gd name="T43" fmla="*/ 985 h 1044"/>
                <a:gd name="T44" fmla="*/ 488 w 839"/>
                <a:gd name="T45" fmla="*/ 966 h 1044"/>
                <a:gd name="T46" fmla="*/ 488 w 839"/>
                <a:gd name="T47" fmla="*/ 907 h 1044"/>
                <a:gd name="T48" fmla="*/ 566 w 839"/>
                <a:gd name="T49" fmla="*/ 897 h 1044"/>
                <a:gd name="T50" fmla="*/ 595 w 839"/>
                <a:gd name="T51" fmla="*/ 858 h 1044"/>
                <a:gd name="T52" fmla="*/ 644 w 839"/>
                <a:gd name="T53" fmla="*/ 848 h 1044"/>
                <a:gd name="T54" fmla="*/ 614 w 839"/>
                <a:gd name="T55" fmla="*/ 907 h 1044"/>
                <a:gd name="T56" fmla="*/ 663 w 839"/>
                <a:gd name="T57" fmla="*/ 858 h 1044"/>
                <a:gd name="T58" fmla="*/ 692 w 839"/>
                <a:gd name="T59" fmla="*/ 829 h 1044"/>
                <a:gd name="T60" fmla="*/ 731 w 839"/>
                <a:gd name="T61" fmla="*/ 790 h 1044"/>
                <a:gd name="T62" fmla="*/ 751 w 839"/>
                <a:gd name="T63" fmla="*/ 751 h 1044"/>
                <a:gd name="T64" fmla="*/ 731 w 839"/>
                <a:gd name="T65" fmla="*/ 722 h 1044"/>
                <a:gd name="T66" fmla="*/ 692 w 839"/>
                <a:gd name="T67" fmla="*/ 751 h 1044"/>
                <a:gd name="T68" fmla="*/ 663 w 839"/>
                <a:gd name="T69" fmla="*/ 692 h 1044"/>
                <a:gd name="T70" fmla="*/ 653 w 839"/>
                <a:gd name="T71" fmla="*/ 634 h 1044"/>
                <a:gd name="T72" fmla="*/ 653 w 839"/>
                <a:gd name="T73" fmla="*/ 575 h 1044"/>
                <a:gd name="T74" fmla="*/ 624 w 839"/>
                <a:gd name="T75" fmla="*/ 487 h 1044"/>
                <a:gd name="T76" fmla="*/ 644 w 839"/>
                <a:gd name="T77" fmla="*/ 419 h 1044"/>
                <a:gd name="T78" fmla="*/ 673 w 839"/>
                <a:gd name="T79" fmla="*/ 361 h 1044"/>
                <a:gd name="T80" fmla="*/ 722 w 839"/>
                <a:gd name="T81" fmla="*/ 351 h 1044"/>
                <a:gd name="T82" fmla="*/ 751 w 839"/>
                <a:gd name="T83" fmla="*/ 341 h 1044"/>
                <a:gd name="T84" fmla="*/ 780 w 839"/>
                <a:gd name="T85" fmla="*/ 400 h 1044"/>
                <a:gd name="T86" fmla="*/ 809 w 839"/>
                <a:gd name="T87" fmla="*/ 390 h 1044"/>
                <a:gd name="T88" fmla="*/ 839 w 839"/>
                <a:gd name="T89" fmla="*/ 370 h 1044"/>
                <a:gd name="T90" fmla="*/ 829 w 839"/>
                <a:gd name="T91" fmla="*/ 302 h 1044"/>
                <a:gd name="T92" fmla="*/ 819 w 839"/>
                <a:gd name="T93" fmla="*/ 244 h 1044"/>
                <a:gd name="T94" fmla="*/ 770 w 839"/>
                <a:gd name="T95" fmla="*/ 204 h 1044"/>
                <a:gd name="T96" fmla="*/ 692 w 839"/>
                <a:gd name="T97" fmla="*/ 146 h 1044"/>
                <a:gd name="T98" fmla="*/ 663 w 839"/>
                <a:gd name="T99" fmla="*/ 87 h 1044"/>
                <a:gd name="T100" fmla="*/ 614 w 839"/>
                <a:gd name="T101" fmla="*/ 68 h 1044"/>
                <a:gd name="T102" fmla="*/ 585 w 839"/>
                <a:gd name="T103" fmla="*/ 19 h 1044"/>
                <a:gd name="T104" fmla="*/ 488 w 839"/>
                <a:gd name="T105" fmla="*/ 29 h 1044"/>
                <a:gd name="T106" fmla="*/ 409 w 839"/>
                <a:gd name="T107" fmla="*/ 68 h 1044"/>
                <a:gd name="T108" fmla="*/ 341 w 839"/>
                <a:gd name="T109" fmla="*/ 78 h 104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39"/>
                <a:gd name="T166" fmla="*/ 0 h 1044"/>
                <a:gd name="T167" fmla="*/ 839 w 839"/>
                <a:gd name="T168" fmla="*/ 1044 h 104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39" h="1044">
                  <a:moveTo>
                    <a:pt x="253" y="48"/>
                  </a:moveTo>
                  <a:lnTo>
                    <a:pt x="263" y="68"/>
                  </a:lnTo>
                  <a:lnTo>
                    <a:pt x="253" y="87"/>
                  </a:lnTo>
                  <a:lnTo>
                    <a:pt x="253" y="126"/>
                  </a:lnTo>
                  <a:lnTo>
                    <a:pt x="214" y="126"/>
                  </a:lnTo>
                  <a:lnTo>
                    <a:pt x="205" y="136"/>
                  </a:lnTo>
                  <a:lnTo>
                    <a:pt x="205" y="146"/>
                  </a:lnTo>
                  <a:lnTo>
                    <a:pt x="195" y="156"/>
                  </a:lnTo>
                  <a:lnTo>
                    <a:pt x="175" y="175"/>
                  </a:lnTo>
                  <a:lnTo>
                    <a:pt x="156" y="175"/>
                  </a:lnTo>
                  <a:lnTo>
                    <a:pt x="156" y="195"/>
                  </a:lnTo>
                  <a:lnTo>
                    <a:pt x="136" y="195"/>
                  </a:lnTo>
                  <a:lnTo>
                    <a:pt x="136" y="204"/>
                  </a:lnTo>
                  <a:lnTo>
                    <a:pt x="146" y="214"/>
                  </a:lnTo>
                  <a:lnTo>
                    <a:pt x="156" y="224"/>
                  </a:lnTo>
                  <a:lnTo>
                    <a:pt x="156" y="244"/>
                  </a:lnTo>
                  <a:lnTo>
                    <a:pt x="146" y="244"/>
                  </a:lnTo>
                  <a:lnTo>
                    <a:pt x="136" y="263"/>
                  </a:lnTo>
                  <a:lnTo>
                    <a:pt x="166" y="283"/>
                  </a:lnTo>
                  <a:lnTo>
                    <a:pt x="175" y="283"/>
                  </a:lnTo>
                  <a:lnTo>
                    <a:pt x="175" y="302"/>
                  </a:lnTo>
                  <a:lnTo>
                    <a:pt x="166" y="312"/>
                  </a:lnTo>
                  <a:lnTo>
                    <a:pt x="156" y="322"/>
                  </a:lnTo>
                  <a:lnTo>
                    <a:pt x="156" y="341"/>
                  </a:lnTo>
                  <a:lnTo>
                    <a:pt x="166" y="361"/>
                  </a:lnTo>
                  <a:lnTo>
                    <a:pt x="195" y="370"/>
                  </a:lnTo>
                  <a:lnTo>
                    <a:pt x="205" y="380"/>
                  </a:lnTo>
                  <a:lnTo>
                    <a:pt x="205" y="409"/>
                  </a:lnTo>
                  <a:lnTo>
                    <a:pt x="214" y="419"/>
                  </a:lnTo>
                  <a:lnTo>
                    <a:pt x="214" y="429"/>
                  </a:lnTo>
                  <a:lnTo>
                    <a:pt x="195" y="429"/>
                  </a:lnTo>
                  <a:lnTo>
                    <a:pt x="185" y="478"/>
                  </a:lnTo>
                  <a:lnTo>
                    <a:pt x="175" y="478"/>
                  </a:lnTo>
                  <a:lnTo>
                    <a:pt x="166" y="487"/>
                  </a:lnTo>
                  <a:lnTo>
                    <a:pt x="166" y="497"/>
                  </a:lnTo>
                  <a:lnTo>
                    <a:pt x="156" y="517"/>
                  </a:lnTo>
                  <a:lnTo>
                    <a:pt x="136" y="507"/>
                  </a:lnTo>
                  <a:lnTo>
                    <a:pt x="136" y="497"/>
                  </a:lnTo>
                  <a:lnTo>
                    <a:pt x="117" y="497"/>
                  </a:lnTo>
                  <a:lnTo>
                    <a:pt x="107" y="497"/>
                  </a:lnTo>
                  <a:lnTo>
                    <a:pt x="107" y="517"/>
                  </a:lnTo>
                  <a:lnTo>
                    <a:pt x="97" y="526"/>
                  </a:lnTo>
                  <a:lnTo>
                    <a:pt x="88" y="526"/>
                  </a:lnTo>
                  <a:lnTo>
                    <a:pt x="78" y="536"/>
                  </a:lnTo>
                  <a:lnTo>
                    <a:pt x="58" y="536"/>
                  </a:lnTo>
                  <a:lnTo>
                    <a:pt x="49" y="536"/>
                  </a:lnTo>
                  <a:lnTo>
                    <a:pt x="49" y="546"/>
                  </a:lnTo>
                  <a:lnTo>
                    <a:pt x="58" y="556"/>
                  </a:lnTo>
                  <a:lnTo>
                    <a:pt x="78" y="556"/>
                  </a:lnTo>
                  <a:lnTo>
                    <a:pt x="88" y="585"/>
                  </a:lnTo>
                  <a:lnTo>
                    <a:pt x="88" y="595"/>
                  </a:lnTo>
                  <a:lnTo>
                    <a:pt x="78" y="605"/>
                  </a:lnTo>
                  <a:lnTo>
                    <a:pt x="68" y="605"/>
                  </a:lnTo>
                  <a:lnTo>
                    <a:pt x="58" y="595"/>
                  </a:lnTo>
                  <a:lnTo>
                    <a:pt x="49" y="595"/>
                  </a:lnTo>
                  <a:lnTo>
                    <a:pt x="49" y="614"/>
                  </a:lnTo>
                  <a:lnTo>
                    <a:pt x="29" y="614"/>
                  </a:lnTo>
                  <a:lnTo>
                    <a:pt x="10" y="624"/>
                  </a:lnTo>
                  <a:lnTo>
                    <a:pt x="0" y="634"/>
                  </a:lnTo>
                  <a:lnTo>
                    <a:pt x="10" y="653"/>
                  </a:lnTo>
                  <a:lnTo>
                    <a:pt x="19" y="663"/>
                  </a:lnTo>
                  <a:lnTo>
                    <a:pt x="10" y="683"/>
                  </a:lnTo>
                  <a:lnTo>
                    <a:pt x="0" y="692"/>
                  </a:lnTo>
                  <a:lnTo>
                    <a:pt x="19" y="712"/>
                  </a:lnTo>
                  <a:lnTo>
                    <a:pt x="39" y="751"/>
                  </a:lnTo>
                  <a:lnTo>
                    <a:pt x="49" y="770"/>
                  </a:lnTo>
                  <a:lnTo>
                    <a:pt x="58" y="780"/>
                  </a:lnTo>
                  <a:lnTo>
                    <a:pt x="58" y="790"/>
                  </a:lnTo>
                  <a:lnTo>
                    <a:pt x="88" y="809"/>
                  </a:lnTo>
                  <a:lnTo>
                    <a:pt x="78" y="829"/>
                  </a:lnTo>
                  <a:lnTo>
                    <a:pt x="97" y="839"/>
                  </a:lnTo>
                  <a:lnTo>
                    <a:pt x="97" y="868"/>
                  </a:lnTo>
                  <a:lnTo>
                    <a:pt x="136" y="848"/>
                  </a:lnTo>
                  <a:lnTo>
                    <a:pt x="146" y="839"/>
                  </a:lnTo>
                  <a:lnTo>
                    <a:pt x="205" y="848"/>
                  </a:lnTo>
                  <a:lnTo>
                    <a:pt x="234" y="878"/>
                  </a:lnTo>
                  <a:lnTo>
                    <a:pt x="263" y="897"/>
                  </a:lnTo>
                  <a:lnTo>
                    <a:pt x="253" y="917"/>
                  </a:lnTo>
                  <a:lnTo>
                    <a:pt x="263" y="926"/>
                  </a:lnTo>
                  <a:lnTo>
                    <a:pt x="263" y="946"/>
                  </a:lnTo>
                  <a:lnTo>
                    <a:pt x="244" y="956"/>
                  </a:lnTo>
                  <a:lnTo>
                    <a:pt x="244" y="985"/>
                  </a:lnTo>
                  <a:lnTo>
                    <a:pt x="253" y="995"/>
                  </a:lnTo>
                  <a:lnTo>
                    <a:pt x="263" y="995"/>
                  </a:lnTo>
                  <a:lnTo>
                    <a:pt x="263" y="1014"/>
                  </a:lnTo>
                  <a:lnTo>
                    <a:pt x="273" y="1014"/>
                  </a:lnTo>
                  <a:lnTo>
                    <a:pt x="292" y="1005"/>
                  </a:lnTo>
                  <a:lnTo>
                    <a:pt x="302" y="1005"/>
                  </a:lnTo>
                  <a:lnTo>
                    <a:pt x="302" y="985"/>
                  </a:lnTo>
                  <a:lnTo>
                    <a:pt x="312" y="985"/>
                  </a:lnTo>
                  <a:lnTo>
                    <a:pt x="322" y="995"/>
                  </a:lnTo>
                  <a:lnTo>
                    <a:pt x="331" y="995"/>
                  </a:lnTo>
                  <a:lnTo>
                    <a:pt x="351" y="995"/>
                  </a:lnTo>
                  <a:lnTo>
                    <a:pt x="361" y="985"/>
                  </a:lnTo>
                  <a:lnTo>
                    <a:pt x="370" y="1005"/>
                  </a:lnTo>
                  <a:lnTo>
                    <a:pt x="380" y="1014"/>
                  </a:lnTo>
                  <a:lnTo>
                    <a:pt x="390" y="1024"/>
                  </a:lnTo>
                  <a:lnTo>
                    <a:pt x="390" y="1044"/>
                  </a:lnTo>
                  <a:lnTo>
                    <a:pt x="409" y="1034"/>
                  </a:lnTo>
                  <a:lnTo>
                    <a:pt x="419" y="1034"/>
                  </a:lnTo>
                  <a:lnTo>
                    <a:pt x="439" y="1034"/>
                  </a:lnTo>
                  <a:lnTo>
                    <a:pt x="439" y="1024"/>
                  </a:lnTo>
                  <a:lnTo>
                    <a:pt x="439" y="1014"/>
                  </a:lnTo>
                  <a:lnTo>
                    <a:pt x="439" y="1005"/>
                  </a:lnTo>
                  <a:lnTo>
                    <a:pt x="448" y="995"/>
                  </a:lnTo>
                  <a:lnTo>
                    <a:pt x="458" y="985"/>
                  </a:lnTo>
                  <a:lnTo>
                    <a:pt x="468" y="995"/>
                  </a:lnTo>
                  <a:lnTo>
                    <a:pt x="488" y="985"/>
                  </a:lnTo>
                  <a:lnTo>
                    <a:pt x="497" y="975"/>
                  </a:lnTo>
                  <a:lnTo>
                    <a:pt x="488" y="966"/>
                  </a:lnTo>
                  <a:lnTo>
                    <a:pt x="478" y="966"/>
                  </a:lnTo>
                  <a:lnTo>
                    <a:pt x="478" y="956"/>
                  </a:lnTo>
                  <a:lnTo>
                    <a:pt x="488" y="966"/>
                  </a:lnTo>
                  <a:lnTo>
                    <a:pt x="488" y="946"/>
                  </a:lnTo>
                  <a:lnTo>
                    <a:pt x="478" y="946"/>
                  </a:lnTo>
                  <a:lnTo>
                    <a:pt x="478" y="917"/>
                  </a:lnTo>
                  <a:lnTo>
                    <a:pt x="488" y="907"/>
                  </a:lnTo>
                  <a:lnTo>
                    <a:pt x="497" y="907"/>
                  </a:lnTo>
                  <a:lnTo>
                    <a:pt x="517" y="897"/>
                  </a:lnTo>
                  <a:lnTo>
                    <a:pt x="527" y="887"/>
                  </a:lnTo>
                  <a:lnTo>
                    <a:pt x="536" y="887"/>
                  </a:lnTo>
                  <a:lnTo>
                    <a:pt x="566" y="897"/>
                  </a:lnTo>
                  <a:lnTo>
                    <a:pt x="575" y="878"/>
                  </a:lnTo>
                  <a:lnTo>
                    <a:pt x="566" y="878"/>
                  </a:lnTo>
                  <a:lnTo>
                    <a:pt x="566" y="868"/>
                  </a:lnTo>
                  <a:lnTo>
                    <a:pt x="585" y="848"/>
                  </a:lnTo>
                  <a:lnTo>
                    <a:pt x="595" y="858"/>
                  </a:lnTo>
                  <a:lnTo>
                    <a:pt x="614" y="868"/>
                  </a:lnTo>
                  <a:lnTo>
                    <a:pt x="624" y="858"/>
                  </a:lnTo>
                  <a:lnTo>
                    <a:pt x="644" y="848"/>
                  </a:lnTo>
                  <a:lnTo>
                    <a:pt x="653" y="848"/>
                  </a:lnTo>
                  <a:lnTo>
                    <a:pt x="644" y="848"/>
                  </a:lnTo>
                  <a:lnTo>
                    <a:pt x="644" y="868"/>
                  </a:lnTo>
                  <a:lnTo>
                    <a:pt x="614" y="878"/>
                  </a:lnTo>
                  <a:lnTo>
                    <a:pt x="614" y="887"/>
                  </a:lnTo>
                  <a:lnTo>
                    <a:pt x="605" y="907"/>
                  </a:lnTo>
                  <a:lnTo>
                    <a:pt x="614" y="907"/>
                  </a:lnTo>
                  <a:lnTo>
                    <a:pt x="634" y="917"/>
                  </a:lnTo>
                  <a:lnTo>
                    <a:pt x="653" y="907"/>
                  </a:lnTo>
                  <a:lnTo>
                    <a:pt x="663" y="897"/>
                  </a:lnTo>
                  <a:lnTo>
                    <a:pt x="663" y="887"/>
                  </a:lnTo>
                  <a:lnTo>
                    <a:pt x="663" y="858"/>
                  </a:lnTo>
                  <a:lnTo>
                    <a:pt x="673" y="858"/>
                  </a:lnTo>
                  <a:lnTo>
                    <a:pt x="683" y="858"/>
                  </a:lnTo>
                  <a:lnTo>
                    <a:pt x="702" y="848"/>
                  </a:lnTo>
                  <a:lnTo>
                    <a:pt x="692" y="829"/>
                  </a:lnTo>
                  <a:lnTo>
                    <a:pt x="702" y="819"/>
                  </a:lnTo>
                  <a:lnTo>
                    <a:pt x="692" y="809"/>
                  </a:lnTo>
                  <a:lnTo>
                    <a:pt x="702" y="790"/>
                  </a:lnTo>
                  <a:lnTo>
                    <a:pt x="722" y="790"/>
                  </a:lnTo>
                  <a:lnTo>
                    <a:pt x="731" y="790"/>
                  </a:lnTo>
                  <a:lnTo>
                    <a:pt x="731" y="780"/>
                  </a:lnTo>
                  <a:lnTo>
                    <a:pt x="741" y="770"/>
                  </a:lnTo>
                  <a:lnTo>
                    <a:pt x="741" y="761"/>
                  </a:lnTo>
                  <a:lnTo>
                    <a:pt x="751" y="761"/>
                  </a:lnTo>
                  <a:lnTo>
                    <a:pt x="751" y="751"/>
                  </a:lnTo>
                  <a:lnTo>
                    <a:pt x="770" y="741"/>
                  </a:lnTo>
                  <a:lnTo>
                    <a:pt x="770" y="731"/>
                  </a:lnTo>
                  <a:lnTo>
                    <a:pt x="751" y="712"/>
                  </a:lnTo>
                  <a:lnTo>
                    <a:pt x="731" y="712"/>
                  </a:lnTo>
                  <a:lnTo>
                    <a:pt x="731" y="722"/>
                  </a:lnTo>
                  <a:lnTo>
                    <a:pt x="722" y="722"/>
                  </a:lnTo>
                  <a:lnTo>
                    <a:pt x="712" y="731"/>
                  </a:lnTo>
                  <a:lnTo>
                    <a:pt x="712" y="741"/>
                  </a:lnTo>
                  <a:lnTo>
                    <a:pt x="702" y="751"/>
                  </a:lnTo>
                  <a:lnTo>
                    <a:pt x="692" y="751"/>
                  </a:lnTo>
                  <a:lnTo>
                    <a:pt x="692" y="731"/>
                  </a:lnTo>
                  <a:lnTo>
                    <a:pt x="683" y="731"/>
                  </a:lnTo>
                  <a:lnTo>
                    <a:pt x="673" y="712"/>
                  </a:lnTo>
                  <a:lnTo>
                    <a:pt x="663" y="692"/>
                  </a:lnTo>
                  <a:lnTo>
                    <a:pt x="673" y="692"/>
                  </a:lnTo>
                  <a:lnTo>
                    <a:pt x="663" y="683"/>
                  </a:lnTo>
                  <a:lnTo>
                    <a:pt x="663" y="663"/>
                  </a:lnTo>
                  <a:lnTo>
                    <a:pt x="663" y="644"/>
                  </a:lnTo>
                  <a:lnTo>
                    <a:pt x="653" y="634"/>
                  </a:lnTo>
                  <a:lnTo>
                    <a:pt x="663" y="614"/>
                  </a:lnTo>
                  <a:lnTo>
                    <a:pt x="663" y="595"/>
                  </a:lnTo>
                  <a:lnTo>
                    <a:pt x="663" y="575"/>
                  </a:lnTo>
                  <a:lnTo>
                    <a:pt x="653" y="575"/>
                  </a:lnTo>
                  <a:lnTo>
                    <a:pt x="644" y="556"/>
                  </a:lnTo>
                  <a:lnTo>
                    <a:pt x="644" y="536"/>
                  </a:lnTo>
                  <a:lnTo>
                    <a:pt x="644" y="517"/>
                  </a:lnTo>
                  <a:lnTo>
                    <a:pt x="634" y="497"/>
                  </a:lnTo>
                  <a:lnTo>
                    <a:pt x="624" y="487"/>
                  </a:lnTo>
                  <a:lnTo>
                    <a:pt x="634" y="478"/>
                  </a:lnTo>
                  <a:lnTo>
                    <a:pt x="634" y="458"/>
                  </a:lnTo>
                  <a:lnTo>
                    <a:pt x="634" y="439"/>
                  </a:lnTo>
                  <a:lnTo>
                    <a:pt x="634" y="429"/>
                  </a:lnTo>
                  <a:lnTo>
                    <a:pt x="644" y="419"/>
                  </a:lnTo>
                  <a:lnTo>
                    <a:pt x="663" y="419"/>
                  </a:lnTo>
                  <a:lnTo>
                    <a:pt x="663" y="400"/>
                  </a:lnTo>
                  <a:lnTo>
                    <a:pt x="663" y="390"/>
                  </a:lnTo>
                  <a:lnTo>
                    <a:pt x="673" y="370"/>
                  </a:lnTo>
                  <a:lnTo>
                    <a:pt x="673" y="361"/>
                  </a:lnTo>
                  <a:lnTo>
                    <a:pt x="683" y="351"/>
                  </a:lnTo>
                  <a:lnTo>
                    <a:pt x="692" y="361"/>
                  </a:lnTo>
                  <a:lnTo>
                    <a:pt x="702" y="351"/>
                  </a:lnTo>
                  <a:lnTo>
                    <a:pt x="712" y="361"/>
                  </a:lnTo>
                  <a:lnTo>
                    <a:pt x="722" y="351"/>
                  </a:lnTo>
                  <a:lnTo>
                    <a:pt x="722" y="331"/>
                  </a:lnTo>
                  <a:lnTo>
                    <a:pt x="722" y="312"/>
                  </a:lnTo>
                  <a:lnTo>
                    <a:pt x="731" y="312"/>
                  </a:lnTo>
                  <a:lnTo>
                    <a:pt x="731" y="322"/>
                  </a:lnTo>
                  <a:lnTo>
                    <a:pt x="751" y="341"/>
                  </a:lnTo>
                  <a:lnTo>
                    <a:pt x="761" y="361"/>
                  </a:lnTo>
                  <a:lnTo>
                    <a:pt x="761" y="380"/>
                  </a:lnTo>
                  <a:lnTo>
                    <a:pt x="770" y="380"/>
                  </a:lnTo>
                  <a:lnTo>
                    <a:pt x="780" y="380"/>
                  </a:lnTo>
                  <a:lnTo>
                    <a:pt x="780" y="400"/>
                  </a:lnTo>
                  <a:lnTo>
                    <a:pt x="790" y="400"/>
                  </a:lnTo>
                  <a:lnTo>
                    <a:pt x="790" y="380"/>
                  </a:lnTo>
                  <a:lnTo>
                    <a:pt x="800" y="370"/>
                  </a:lnTo>
                  <a:lnTo>
                    <a:pt x="809" y="380"/>
                  </a:lnTo>
                  <a:lnTo>
                    <a:pt x="809" y="390"/>
                  </a:lnTo>
                  <a:lnTo>
                    <a:pt x="829" y="409"/>
                  </a:lnTo>
                  <a:lnTo>
                    <a:pt x="839" y="400"/>
                  </a:lnTo>
                  <a:lnTo>
                    <a:pt x="829" y="390"/>
                  </a:lnTo>
                  <a:lnTo>
                    <a:pt x="839" y="380"/>
                  </a:lnTo>
                  <a:lnTo>
                    <a:pt x="839" y="370"/>
                  </a:lnTo>
                  <a:lnTo>
                    <a:pt x="839" y="361"/>
                  </a:lnTo>
                  <a:lnTo>
                    <a:pt x="829" y="341"/>
                  </a:lnTo>
                  <a:lnTo>
                    <a:pt x="829" y="322"/>
                  </a:lnTo>
                  <a:lnTo>
                    <a:pt x="829" y="302"/>
                  </a:lnTo>
                  <a:lnTo>
                    <a:pt x="829" y="283"/>
                  </a:lnTo>
                  <a:lnTo>
                    <a:pt x="819" y="273"/>
                  </a:lnTo>
                  <a:lnTo>
                    <a:pt x="819" y="263"/>
                  </a:lnTo>
                  <a:lnTo>
                    <a:pt x="819" y="244"/>
                  </a:lnTo>
                  <a:lnTo>
                    <a:pt x="790" y="224"/>
                  </a:lnTo>
                  <a:lnTo>
                    <a:pt x="790" y="204"/>
                  </a:lnTo>
                  <a:lnTo>
                    <a:pt x="780" y="204"/>
                  </a:lnTo>
                  <a:lnTo>
                    <a:pt x="770" y="204"/>
                  </a:lnTo>
                  <a:lnTo>
                    <a:pt x="770" y="195"/>
                  </a:lnTo>
                  <a:lnTo>
                    <a:pt x="761" y="185"/>
                  </a:lnTo>
                  <a:lnTo>
                    <a:pt x="741" y="165"/>
                  </a:lnTo>
                  <a:lnTo>
                    <a:pt x="731" y="146"/>
                  </a:lnTo>
                  <a:lnTo>
                    <a:pt x="692" y="146"/>
                  </a:lnTo>
                  <a:lnTo>
                    <a:pt x="683" y="146"/>
                  </a:lnTo>
                  <a:lnTo>
                    <a:pt x="683" y="117"/>
                  </a:lnTo>
                  <a:lnTo>
                    <a:pt x="663" y="117"/>
                  </a:lnTo>
                  <a:lnTo>
                    <a:pt x="663" y="107"/>
                  </a:lnTo>
                  <a:lnTo>
                    <a:pt x="663" y="87"/>
                  </a:lnTo>
                  <a:lnTo>
                    <a:pt x="653" y="78"/>
                  </a:lnTo>
                  <a:lnTo>
                    <a:pt x="644" y="68"/>
                  </a:lnTo>
                  <a:lnTo>
                    <a:pt x="634" y="78"/>
                  </a:lnTo>
                  <a:lnTo>
                    <a:pt x="614" y="78"/>
                  </a:lnTo>
                  <a:lnTo>
                    <a:pt x="614" y="68"/>
                  </a:lnTo>
                  <a:lnTo>
                    <a:pt x="614" y="58"/>
                  </a:lnTo>
                  <a:lnTo>
                    <a:pt x="595" y="48"/>
                  </a:lnTo>
                  <a:lnTo>
                    <a:pt x="585" y="48"/>
                  </a:lnTo>
                  <a:lnTo>
                    <a:pt x="585" y="29"/>
                  </a:lnTo>
                  <a:lnTo>
                    <a:pt x="585" y="19"/>
                  </a:lnTo>
                  <a:lnTo>
                    <a:pt x="566" y="19"/>
                  </a:lnTo>
                  <a:lnTo>
                    <a:pt x="556" y="0"/>
                  </a:lnTo>
                  <a:lnTo>
                    <a:pt x="527" y="0"/>
                  </a:lnTo>
                  <a:lnTo>
                    <a:pt x="507" y="9"/>
                  </a:lnTo>
                  <a:lnTo>
                    <a:pt x="488" y="29"/>
                  </a:lnTo>
                  <a:lnTo>
                    <a:pt x="468" y="29"/>
                  </a:lnTo>
                  <a:lnTo>
                    <a:pt x="439" y="39"/>
                  </a:lnTo>
                  <a:lnTo>
                    <a:pt x="439" y="48"/>
                  </a:lnTo>
                  <a:lnTo>
                    <a:pt x="429" y="68"/>
                  </a:lnTo>
                  <a:lnTo>
                    <a:pt x="409" y="68"/>
                  </a:lnTo>
                  <a:lnTo>
                    <a:pt x="400" y="68"/>
                  </a:lnTo>
                  <a:lnTo>
                    <a:pt x="390" y="68"/>
                  </a:lnTo>
                  <a:lnTo>
                    <a:pt x="370" y="68"/>
                  </a:lnTo>
                  <a:lnTo>
                    <a:pt x="351" y="68"/>
                  </a:lnTo>
                  <a:lnTo>
                    <a:pt x="341" y="78"/>
                  </a:lnTo>
                  <a:lnTo>
                    <a:pt x="322" y="78"/>
                  </a:lnTo>
                  <a:lnTo>
                    <a:pt x="302" y="68"/>
                  </a:lnTo>
                  <a:lnTo>
                    <a:pt x="292" y="48"/>
                  </a:lnTo>
                </a:path>
              </a:pathLst>
            </a:custGeom>
            <a:solidFill>
              <a:srgbClr val="969696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18631" name="Freeform 81"/>
          <p:cNvSpPr>
            <a:spLocks noChangeAspect="1"/>
          </p:cNvSpPr>
          <p:nvPr>
            <p:custDataLst>
              <p:tags r:id="rId197"/>
            </p:custDataLst>
          </p:nvPr>
        </p:nvSpPr>
        <p:spPr bwMode="auto">
          <a:xfrm>
            <a:off x="6950075" y="3930650"/>
            <a:ext cx="325438" cy="477838"/>
          </a:xfrm>
          <a:custGeom>
            <a:avLst/>
            <a:gdLst>
              <a:gd name="T0" fmla="*/ 19379 w 487"/>
              <a:gd name="T1" fmla="*/ 278635 h 770"/>
              <a:gd name="T2" fmla="*/ 38759 w 487"/>
              <a:gd name="T3" fmla="*/ 253812 h 770"/>
              <a:gd name="T4" fmla="*/ 58138 w 487"/>
              <a:gd name="T5" fmla="*/ 229610 h 770"/>
              <a:gd name="T6" fmla="*/ 58138 w 487"/>
              <a:gd name="T7" fmla="*/ 181206 h 770"/>
              <a:gd name="T8" fmla="*/ 32076 w 487"/>
              <a:gd name="T9" fmla="*/ 193617 h 770"/>
              <a:gd name="T10" fmla="*/ 26062 w 487"/>
              <a:gd name="T11" fmla="*/ 157004 h 770"/>
              <a:gd name="T12" fmla="*/ 52124 w 487"/>
              <a:gd name="T13" fmla="*/ 151418 h 770"/>
              <a:gd name="T14" fmla="*/ 58138 w 487"/>
              <a:gd name="T15" fmla="*/ 96809 h 770"/>
              <a:gd name="T16" fmla="*/ 38759 w 487"/>
              <a:gd name="T17" fmla="*/ 66401 h 770"/>
              <a:gd name="T18" fmla="*/ 52124 w 487"/>
              <a:gd name="T19" fmla="*/ 42199 h 770"/>
              <a:gd name="T20" fmla="*/ 84200 w 487"/>
              <a:gd name="T21" fmla="*/ 24202 h 770"/>
              <a:gd name="T22" fmla="*/ 116944 w 487"/>
              <a:gd name="T23" fmla="*/ 5585 h 770"/>
              <a:gd name="T24" fmla="*/ 136323 w 487"/>
              <a:gd name="T25" fmla="*/ 17996 h 770"/>
              <a:gd name="T26" fmla="*/ 156371 w 487"/>
              <a:gd name="T27" fmla="*/ 11791 h 770"/>
              <a:gd name="T28" fmla="*/ 169067 w 487"/>
              <a:gd name="T29" fmla="*/ 17996 h 770"/>
              <a:gd name="T30" fmla="*/ 195129 w 487"/>
              <a:gd name="T31" fmla="*/ 24202 h 770"/>
              <a:gd name="T32" fmla="*/ 195129 w 487"/>
              <a:gd name="T33" fmla="*/ 48404 h 770"/>
              <a:gd name="T34" fmla="*/ 169067 w 487"/>
              <a:gd name="T35" fmla="*/ 42199 h 770"/>
              <a:gd name="T36" fmla="*/ 162385 w 487"/>
              <a:gd name="T37" fmla="*/ 24202 h 770"/>
              <a:gd name="T38" fmla="*/ 162385 w 487"/>
              <a:gd name="T39" fmla="*/ 48404 h 770"/>
              <a:gd name="T40" fmla="*/ 169067 w 487"/>
              <a:gd name="T41" fmla="*/ 72606 h 770"/>
              <a:gd name="T42" fmla="*/ 188447 w 487"/>
              <a:gd name="T43" fmla="*/ 103014 h 770"/>
              <a:gd name="T44" fmla="*/ 214508 w 487"/>
              <a:gd name="T45" fmla="*/ 121011 h 770"/>
              <a:gd name="T46" fmla="*/ 253935 w 487"/>
              <a:gd name="T47" fmla="*/ 132801 h 770"/>
              <a:gd name="T48" fmla="*/ 253935 w 487"/>
              <a:gd name="T49" fmla="*/ 157004 h 770"/>
              <a:gd name="T50" fmla="*/ 234556 w 487"/>
              <a:gd name="T51" fmla="*/ 169415 h 770"/>
              <a:gd name="T52" fmla="*/ 227873 w 487"/>
              <a:gd name="T53" fmla="*/ 193617 h 770"/>
              <a:gd name="T54" fmla="*/ 234556 w 487"/>
              <a:gd name="T55" fmla="*/ 211614 h 770"/>
              <a:gd name="T56" fmla="*/ 240570 w 487"/>
              <a:gd name="T57" fmla="*/ 235816 h 770"/>
              <a:gd name="T58" fmla="*/ 247253 w 487"/>
              <a:gd name="T59" fmla="*/ 248227 h 770"/>
              <a:gd name="T60" fmla="*/ 260618 w 487"/>
              <a:gd name="T61" fmla="*/ 248227 h 770"/>
              <a:gd name="T62" fmla="*/ 292694 w 487"/>
              <a:gd name="T63" fmla="*/ 266223 h 770"/>
              <a:gd name="T64" fmla="*/ 286679 w 487"/>
              <a:gd name="T65" fmla="*/ 272429 h 770"/>
              <a:gd name="T66" fmla="*/ 273314 w 487"/>
              <a:gd name="T67" fmla="*/ 290426 h 770"/>
              <a:gd name="T68" fmla="*/ 273314 w 487"/>
              <a:gd name="T69" fmla="*/ 308422 h 770"/>
              <a:gd name="T70" fmla="*/ 253935 w 487"/>
              <a:gd name="T71" fmla="*/ 320833 h 770"/>
              <a:gd name="T72" fmla="*/ 260618 w 487"/>
              <a:gd name="T73" fmla="*/ 327039 h 770"/>
              <a:gd name="T74" fmla="*/ 279997 w 487"/>
              <a:gd name="T75" fmla="*/ 338830 h 770"/>
              <a:gd name="T76" fmla="*/ 286679 w 487"/>
              <a:gd name="T77" fmla="*/ 345036 h 770"/>
              <a:gd name="T78" fmla="*/ 299376 w 487"/>
              <a:gd name="T79" fmla="*/ 356826 h 770"/>
              <a:gd name="T80" fmla="*/ 306059 w 487"/>
              <a:gd name="T81" fmla="*/ 369238 h 770"/>
              <a:gd name="T82" fmla="*/ 312741 w 487"/>
              <a:gd name="T83" fmla="*/ 381028 h 770"/>
              <a:gd name="T84" fmla="*/ 318755 w 487"/>
              <a:gd name="T85" fmla="*/ 399646 h 770"/>
              <a:gd name="T86" fmla="*/ 318755 w 487"/>
              <a:gd name="T87" fmla="*/ 417642 h 770"/>
              <a:gd name="T88" fmla="*/ 325438 w 487"/>
              <a:gd name="T89" fmla="*/ 435638 h 770"/>
              <a:gd name="T90" fmla="*/ 325438 w 487"/>
              <a:gd name="T91" fmla="*/ 466046 h 770"/>
              <a:gd name="T92" fmla="*/ 325438 w 487"/>
              <a:gd name="T93" fmla="*/ 477837 h 770"/>
              <a:gd name="T94" fmla="*/ 306059 w 487"/>
              <a:gd name="T95" fmla="*/ 466046 h 770"/>
              <a:gd name="T96" fmla="*/ 279997 w 487"/>
              <a:gd name="T97" fmla="*/ 459841 h 770"/>
              <a:gd name="T98" fmla="*/ 253935 w 487"/>
              <a:gd name="T99" fmla="*/ 435638 h 770"/>
              <a:gd name="T100" fmla="*/ 221191 w 487"/>
              <a:gd name="T101" fmla="*/ 411436 h 770"/>
              <a:gd name="T102" fmla="*/ 175750 w 487"/>
              <a:gd name="T103" fmla="*/ 393440 h 770"/>
              <a:gd name="T104" fmla="*/ 84200 w 487"/>
              <a:gd name="T105" fmla="*/ 345036 h 770"/>
              <a:gd name="T106" fmla="*/ 38759 w 487"/>
              <a:gd name="T107" fmla="*/ 314628 h 770"/>
              <a:gd name="T108" fmla="*/ 0 w 487"/>
              <a:gd name="T109" fmla="*/ 284220 h 77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487"/>
              <a:gd name="T166" fmla="*/ 0 h 770"/>
              <a:gd name="T167" fmla="*/ 487 w 487"/>
              <a:gd name="T168" fmla="*/ 770 h 770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487" h="770">
                <a:moveTo>
                  <a:pt x="0" y="458"/>
                </a:moveTo>
                <a:lnTo>
                  <a:pt x="9" y="449"/>
                </a:lnTo>
                <a:lnTo>
                  <a:pt x="29" y="449"/>
                </a:lnTo>
                <a:lnTo>
                  <a:pt x="39" y="439"/>
                </a:lnTo>
                <a:lnTo>
                  <a:pt x="48" y="429"/>
                </a:lnTo>
                <a:lnTo>
                  <a:pt x="58" y="409"/>
                </a:lnTo>
                <a:lnTo>
                  <a:pt x="58" y="390"/>
                </a:lnTo>
                <a:lnTo>
                  <a:pt x="78" y="390"/>
                </a:lnTo>
                <a:lnTo>
                  <a:pt x="87" y="370"/>
                </a:lnTo>
                <a:lnTo>
                  <a:pt x="97" y="361"/>
                </a:lnTo>
                <a:lnTo>
                  <a:pt x="97" y="292"/>
                </a:lnTo>
                <a:lnTo>
                  <a:pt x="87" y="292"/>
                </a:lnTo>
                <a:lnTo>
                  <a:pt x="68" y="302"/>
                </a:lnTo>
                <a:lnTo>
                  <a:pt x="58" y="312"/>
                </a:lnTo>
                <a:lnTo>
                  <a:pt x="48" y="312"/>
                </a:lnTo>
                <a:lnTo>
                  <a:pt x="39" y="302"/>
                </a:lnTo>
                <a:lnTo>
                  <a:pt x="29" y="292"/>
                </a:lnTo>
                <a:lnTo>
                  <a:pt x="39" y="253"/>
                </a:lnTo>
                <a:lnTo>
                  <a:pt x="68" y="244"/>
                </a:lnTo>
                <a:lnTo>
                  <a:pt x="78" y="244"/>
                </a:lnTo>
                <a:lnTo>
                  <a:pt x="97" y="185"/>
                </a:lnTo>
                <a:lnTo>
                  <a:pt x="97" y="175"/>
                </a:lnTo>
                <a:lnTo>
                  <a:pt x="87" y="156"/>
                </a:lnTo>
                <a:lnTo>
                  <a:pt x="78" y="146"/>
                </a:lnTo>
                <a:lnTo>
                  <a:pt x="78" y="127"/>
                </a:lnTo>
                <a:lnTo>
                  <a:pt x="58" y="107"/>
                </a:lnTo>
                <a:lnTo>
                  <a:pt x="58" y="97"/>
                </a:lnTo>
                <a:lnTo>
                  <a:pt x="58" y="88"/>
                </a:lnTo>
                <a:lnTo>
                  <a:pt x="78" y="68"/>
                </a:lnTo>
                <a:lnTo>
                  <a:pt x="107" y="58"/>
                </a:lnTo>
                <a:lnTo>
                  <a:pt x="117" y="58"/>
                </a:lnTo>
                <a:lnTo>
                  <a:pt x="126" y="39"/>
                </a:lnTo>
                <a:lnTo>
                  <a:pt x="146" y="19"/>
                </a:lnTo>
                <a:lnTo>
                  <a:pt x="156" y="0"/>
                </a:lnTo>
                <a:lnTo>
                  <a:pt x="175" y="9"/>
                </a:lnTo>
                <a:lnTo>
                  <a:pt x="185" y="19"/>
                </a:lnTo>
                <a:lnTo>
                  <a:pt x="195" y="19"/>
                </a:lnTo>
                <a:lnTo>
                  <a:pt x="204" y="29"/>
                </a:lnTo>
                <a:lnTo>
                  <a:pt x="214" y="39"/>
                </a:lnTo>
                <a:lnTo>
                  <a:pt x="224" y="39"/>
                </a:lnTo>
                <a:lnTo>
                  <a:pt x="234" y="19"/>
                </a:lnTo>
                <a:lnTo>
                  <a:pt x="243" y="19"/>
                </a:lnTo>
                <a:lnTo>
                  <a:pt x="253" y="29"/>
                </a:lnTo>
                <a:lnTo>
                  <a:pt x="263" y="39"/>
                </a:lnTo>
                <a:lnTo>
                  <a:pt x="273" y="39"/>
                </a:lnTo>
                <a:lnTo>
                  <a:pt x="292" y="39"/>
                </a:lnTo>
                <a:lnTo>
                  <a:pt x="292" y="58"/>
                </a:lnTo>
                <a:lnTo>
                  <a:pt x="292" y="78"/>
                </a:lnTo>
                <a:lnTo>
                  <a:pt x="273" y="78"/>
                </a:lnTo>
                <a:lnTo>
                  <a:pt x="263" y="78"/>
                </a:lnTo>
                <a:lnTo>
                  <a:pt x="253" y="68"/>
                </a:lnTo>
                <a:lnTo>
                  <a:pt x="253" y="58"/>
                </a:lnTo>
                <a:lnTo>
                  <a:pt x="253" y="39"/>
                </a:lnTo>
                <a:lnTo>
                  <a:pt x="243" y="39"/>
                </a:lnTo>
                <a:lnTo>
                  <a:pt x="243" y="58"/>
                </a:lnTo>
                <a:lnTo>
                  <a:pt x="243" y="68"/>
                </a:lnTo>
                <a:lnTo>
                  <a:pt x="243" y="78"/>
                </a:lnTo>
                <a:lnTo>
                  <a:pt x="253" y="88"/>
                </a:lnTo>
                <a:lnTo>
                  <a:pt x="253" y="97"/>
                </a:lnTo>
                <a:lnTo>
                  <a:pt x="253" y="117"/>
                </a:lnTo>
                <a:lnTo>
                  <a:pt x="253" y="127"/>
                </a:lnTo>
                <a:lnTo>
                  <a:pt x="263" y="136"/>
                </a:lnTo>
                <a:lnTo>
                  <a:pt x="282" y="166"/>
                </a:lnTo>
                <a:lnTo>
                  <a:pt x="292" y="175"/>
                </a:lnTo>
                <a:lnTo>
                  <a:pt x="302" y="185"/>
                </a:lnTo>
                <a:lnTo>
                  <a:pt x="321" y="195"/>
                </a:lnTo>
                <a:lnTo>
                  <a:pt x="341" y="195"/>
                </a:lnTo>
                <a:lnTo>
                  <a:pt x="360" y="205"/>
                </a:lnTo>
                <a:lnTo>
                  <a:pt x="380" y="214"/>
                </a:lnTo>
                <a:lnTo>
                  <a:pt x="380" y="224"/>
                </a:lnTo>
                <a:lnTo>
                  <a:pt x="380" y="234"/>
                </a:lnTo>
                <a:lnTo>
                  <a:pt x="380" y="253"/>
                </a:lnTo>
                <a:lnTo>
                  <a:pt x="380" y="263"/>
                </a:lnTo>
                <a:lnTo>
                  <a:pt x="370" y="273"/>
                </a:lnTo>
                <a:lnTo>
                  <a:pt x="351" y="273"/>
                </a:lnTo>
                <a:lnTo>
                  <a:pt x="351" y="283"/>
                </a:lnTo>
                <a:lnTo>
                  <a:pt x="351" y="302"/>
                </a:lnTo>
                <a:lnTo>
                  <a:pt x="341" y="312"/>
                </a:lnTo>
                <a:lnTo>
                  <a:pt x="341" y="322"/>
                </a:lnTo>
                <a:lnTo>
                  <a:pt x="351" y="341"/>
                </a:lnTo>
                <a:lnTo>
                  <a:pt x="351" y="351"/>
                </a:lnTo>
                <a:lnTo>
                  <a:pt x="351" y="361"/>
                </a:lnTo>
                <a:lnTo>
                  <a:pt x="360" y="380"/>
                </a:lnTo>
                <a:lnTo>
                  <a:pt x="370" y="390"/>
                </a:lnTo>
                <a:lnTo>
                  <a:pt x="370" y="400"/>
                </a:lnTo>
                <a:lnTo>
                  <a:pt x="380" y="400"/>
                </a:lnTo>
                <a:lnTo>
                  <a:pt x="380" y="409"/>
                </a:lnTo>
                <a:lnTo>
                  <a:pt x="390" y="400"/>
                </a:lnTo>
                <a:lnTo>
                  <a:pt x="399" y="409"/>
                </a:lnTo>
                <a:lnTo>
                  <a:pt x="419" y="429"/>
                </a:lnTo>
                <a:lnTo>
                  <a:pt x="438" y="429"/>
                </a:lnTo>
                <a:lnTo>
                  <a:pt x="448" y="429"/>
                </a:lnTo>
                <a:lnTo>
                  <a:pt x="438" y="439"/>
                </a:lnTo>
                <a:lnTo>
                  <a:pt x="429" y="439"/>
                </a:lnTo>
                <a:lnTo>
                  <a:pt x="419" y="439"/>
                </a:lnTo>
                <a:lnTo>
                  <a:pt x="409" y="449"/>
                </a:lnTo>
                <a:lnTo>
                  <a:pt x="409" y="468"/>
                </a:lnTo>
                <a:lnTo>
                  <a:pt x="399" y="468"/>
                </a:lnTo>
                <a:lnTo>
                  <a:pt x="399" y="488"/>
                </a:lnTo>
                <a:lnTo>
                  <a:pt x="409" y="497"/>
                </a:lnTo>
                <a:lnTo>
                  <a:pt x="399" y="507"/>
                </a:lnTo>
                <a:lnTo>
                  <a:pt x="399" y="517"/>
                </a:lnTo>
                <a:lnTo>
                  <a:pt x="380" y="517"/>
                </a:lnTo>
                <a:lnTo>
                  <a:pt x="380" y="527"/>
                </a:lnTo>
                <a:lnTo>
                  <a:pt x="390" y="527"/>
                </a:lnTo>
                <a:lnTo>
                  <a:pt x="399" y="527"/>
                </a:lnTo>
                <a:lnTo>
                  <a:pt x="409" y="536"/>
                </a:lnTo>
                <a:lnTo>
                  <a:pt x="419" y="546"/>
                </a:lnTo>
                <a:lnTo>
                  <a:pt x="419" y="556"/>
                </a:lnTo>
                <a:lnTo>
                  <a:pt x="429" y="556"/>
                </a:lnTo>
                <a:lnTo>
                  <a:pt x="438" y="566"/>
                </a:lnTo>
                <a:lnTo>
                  <a:pt x="448" y="566"/>
                </a:lnTo>
                <a:lnTo>
                  <a:pt x="448" y="575"/>
                </a:lnTo>
                <a:lnTo>
                  <a:pt x="448" y="585"/>
                </a:lnTo>
                <a:lnTo>
                  <a:pt x="448" y="595"/>
                </a:lnTo>
                <a:lnTo>
                  <a:pt x="458" y="595"/>
                </a:lnTo>
                <a:lnTo>
                  <a:pt x="458" y="605"/>
                </a:lnTo>
                <a:lnTo>
                  <a:pt x="468" y="614"/>
                </a:lnTo>
                <a:lnTo>
                  <a:pt x="468" y="624"/>
                </a:lnTo>
                <a:lnTo>
                  <a:pt x="477" y="634"/>
                </a:lnTo>
                <a:lnTo>
                  <a:pt x="477" y="644"/>
                </a:lnTo>
                <a:lnTo>
                  <a:pt x="487" y="653"/>
                </a:lnTo>
                <a:lnTo>
                  <a:pt x="487" y="663"/>
                </a:lnTo>
                <a:lnTo>
                  <a:pt x="477" y="673"/>
                </a:lnTo>
                <a:lnTo>
                  <a:pt x="477" y="692"/>
                </a:lnTo>
                <a:lnTo>
                  <a:pt x="487" y="692"/>
                </a:lnTo>
                <a:lnTo>
                  <a:pt x="487" y="702"/>
                </a:lnTo>
                <a:lnTo>
                  <a:pt x="487" y="722"/>
                </a:lnTo>
                <a:lnTo>
                  <a:pt x="487" y="741"/>
                </a:lnTo>
                <a:lnTo>
                  <a:pt x="487" y="751"/>
                </a:lnTo>
                <a:lnTo>
                  <a:pt x="487" y="761"/>
                </a:lnTo>
                <a:lnTo>
                  <a:pt x="487" y="770"/>
                </a:lnTo>
                <a:lnTo>
                  <a:pt x="477" y="761"/>
                </a:lnTo>
                <a:lnTo>
                  <a:pt x="468" y="761"/>
                </a:lnTo>
                <a:lnTo>
                  <a:pt x="458" y="751"/>
                </a:lnTo>
                <a:lnTo>
                  <a:pt x="448" y="751"/>
                </a:lnTo>
                <a:lnTo>
                  <a:pt x="429" y="751"/>
                </a:lnTo>
                <a:lnTo>
                  <a:pt x="419" y="741"/>
                </a:lnTo>
                <a:lnTo>
                  <a:pt x="399" y="731"/>
                </a:lnTo>
                <a:lnTo>
                  <a:pt x="390" y="712"/>
                </a:lnTo>
                <a:lnTo>
                  <a:pt x="380" y="702"/>
                </a:lnTo>
                <a:lnTo>
                  <a:pt x="351" y="683"/>
                </a:lnTo>
                <a:lnTo>
                  <a:pt x="331" y="673"/>
                </a:lnTo>
                <a:lnTo>
                  <a:pt x="331" y="663"/>
                </a:lnTo>
                <a:lnTo>
                  <a:pt x="312" y="673"/>
                </a:lnTo>
                <a:lnTo>
                  <a:pt x="292" y="663"/>
                </a:lnTo>
                <a:lnTo>
                  <a:pt x="263" y="634"/>
                </a:lnTo>
                <a:lnTo>
                  <a:pt x="234" y="614"/>
                </a:lnTo>
                <a:lnTo>
                  <a:pt x="195" y="585"/>
                </a:lnTo>
                <a:lnTo>
                  <a:pt x="126" y="556"/>
                </a:lnTo>
                <a:lnTo>
                  <a:pt x="107" y="536"/>
                </a:lnTo>
                <a:lnTo>
                  <a:pt x="78" y="527"/>
                </a:lnTo>
                <a:lnTo>
                  <a:pt x="58" y="507"/>
                </a:lnTo>
                <a:lnTo>
                  <a:pt x="39" y="488"/>
                </a:lnTo>
                <a:lnTo>
                  <a:pt x="19" y="468"/>
                </a:lnTo>
                <a:lnTo>
                  <a:pt x="0" y="458"/>
                </a:lnTo>
                <a:close/>
              </a:path>
            </a:pathLst>
          </a:custGeom>
          <a:solidFill>
            <a:srgbClr val="969696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grpSp>
        <p:nvGrpSpPr>
          <p:cNvPr id="18632" name="Group 78"/>
          <p:cNvGrpSpPr>
            <a:grpSpLocks noChangeAspect="1"/>
          </p:cNvGrpSpPr>
          <p:nvPr>
            <p:custDataLst>
              <p:tags r:id="rId198"/>
            </p:custDataLst>
          </p:nvPr>
        </p:nvGrpSpPr>
        <p:grpSpPr bwMode="auto">
          <a:xfrm>
            <a:off x="6950075" y="3930650"/>
            <a:ext cx="325438" cy="477838"/>
            <a:chOff x="8633" y="1737"/>
            <a:chExt cx="487" cy="770"/>
          </a:xfrm>
        </p:grpSpPr>
        <p:sp>
          <p:nvSpPr>
            <p:cNvPr id="18746" name="Freeform 80"/>
            <p:cNvSpPr>
              <a:spLocks noChangeAspect="1"/>
            </p:cNvSpPr>
            <p:nvPr/>
          </p:nvSpPr>
          <p:spPr bwMode="auto">
            <a:xfrm>
              <a:off x="8633" y="1737"/>
              <a:ext cx="487" cy="770"/>
            </a:xfrm>
            <a:custGeom>
              <a:avLst/>
              <a:gdLst>
                <a:gd name="T0" fmla="*/ 29 w 487"/>
                <a:gd name="T1" fmla="*/ 449 h 770"/>
                <a:gd name="T2" fmla="*/ 48 w 487"/>
                <a:gd name="T3" fmla="*/ 409 h 770"/>
                <a:gd name="T4" fmla="*/ 87 w 487"/>
                <a:gd name="T5" fmla="*/ 370 h 770"/>
                <a:gd name="T6" fmla="*/ 87 w 487"/>
                <a:gd name="T7" fmla="*/ 292 h 770"/>
                <a:gd name="T8" fmla="*/ 48 w 487"/>
                <a:gd name="T9" fmla="*/ 312 h 770"/>
                <a:gd name="T10" fmla="*/ 39 w 487"/>
                <a:gd name="T11" fmla="*/ 253 h 770"/>
                <a:gd name="T12" fmla="*/ 78 w 487"/>
                <a:gd name="T13" fmla="*/ 244 h 770"/>
                <a:gd name="T14" fmla="*/ 87 w 487"/>
                <a:gd name="T15" fmla="*/ 156 h 770"/>
                <a:gd name="T16" fmla="*/ 58 w 487"/>
                <a:gd name="T17" fmla="*/ 107 h 770"/>
                <a:gd name="T18" fmla="*/ 78 w 487"/>
                <a:gd name="T19" fmla="*/ 68 h 770"/>
                <a:gd name="T20" fmla="*/ 126 w 487"/>
                <a:gd name="T21" fmla="*/ 39 h 770"/>
                <a:gd name="T22" fmla="*/ 175 w 487"/>
                <a:gd name="T23" fmla="*/ 9 h 770"/>
                <a:gd name="T24" fmla="*/ 204 w 487"/>
                <a:gd name="T25" fmla="*/ 29 h 770"/>
                <a:gd name="T26" fmla="*/ 234 w 487"/>
                <a:gd name="T27" fmla="*/ 19 h 770"/>
                <a:gd name="T28" fmla="*/ 253 w 487"/>
                <a:gd name="T29" fmla="*/ 29 h 770"/>
                <a:gd name="T30" fmla="*/ 292 w 487"/>
                <a:gd name="T31" fmla="*/ 39 h 770"/>
                <a:gd name="T32" fmla="*/ 292 w 487"/>
                <a:gd name="T33" fmla="*/ 78 h 770"/>
                <a:gd name="T34" fmla="*/ 253 w 487"/>
                <a:gd name="T35" fmla="*/ 68 h 770"/>
                <a:gd name="T36" fmla="*/ 243 w 487"/>
                <a:gd name="T37" fmla="*/ 39 h 770"/>
                <a:gd name="T38" fmla="*/ 243 w 487"/>
                <a:gd name="T39" fmla="*/ 78 h 770"/>
                <a:gd name="T40" fmla="*/ 253 w 487"/>
                <a:gd name="T41" fmla="*/ 117 h 770"/>
                <a:gd name="T42" fmla="*/ 282 w 487"/>
                <a:gd name="T43" fmla="*/ 166 h 770"/>
                <a:gd name="T44" fmla="*/ 321 w 487"/>
                <a:gd name="T45" fmla="*/ 195 h 770"/>
                <a:gd name="T46" fmla="*/ 380 w 487"/>
                <a:gd name="T47" fmla="*/ 214 h 770"/>
                <a:gd name="T48" fmla="*/ 380 w 487"/>
                <a:gd name="T49" fmla="*/ 253 h 770"/>
                <a:gd name="T50" fmla="*/ 351 w 487"/>
                <a:gd name="T51" fmla="*/ 273 h 770"/>
                <a:gd name="T52" fmla="*/ 341 w 487"/>
                <a:gd name="T53" fmla="*/ 312 h 770"/>
                <a:gd name="T54" fmla="*/ 351 w 487"/>
                <a:gd name="T55" fmla="*/ 341 h 770"/>
                <a:gd name="T56" fmla="*/ 360 w 487"/>
                <a:gd name="T57" fmla="*/ 380 h 770"/>
                <a:gd name="T58" fmla="*/ 370 w 487"/>
                <a:gd name="T59" fmla="*/ 400 h 770"/>
                <a:gd name="T60" fmla="*/ 390 w 487"/>
                <a:gd name="T61" fmla="*/ 400 h 770"/>
                <a:gd name="T62" fmla="*/ 438 w 487"/>
                <a:gd name="T63" fmla="*/ 429 h 770"/>
                <a:gd name="T64" fmla="*/ 429 w 487"/>
                <a:gd name="T65" fmla="*/ 439 h 770"/>
                <a:gd name="T66" fmla="*/ 409 w 487"/>
                <a:gd name="T67" fmla="*/ 468 h 770"/>
                <a:gd name="T68" fmla="*/ 409 w 487"/>
                <a:gd name="T69" fmla="*/ 497 h 770"/>
                <a:gd name="T70" fmla="*/ 390 w 487"/>
                <a:gd name="T71" fmla="*/ 517 h 770"/>
                <a:gd name="T72" fmla="*/ 390 w 487"/>
                <a:gd name="T73" fmla="*/ 527 h 770"/>
                <a:gd name="T74" fmla="*/ 419 w 487"/>
                <a:gd name="T75" fmla="*/ 546 h 770"/>
                <a:gd name="T76" fmla="*/ 429 w 487"/>
                <a:gd name="T77" fmla="*/ 556 h 770"/>
                <a:gd name="T78" fmla="*/ 448 w 487"/>
                <a:gd name="T79" fmla="*/ 575 h 770"/>
                <a:gd name="T80" fmla="*/ 458 w 487"/>
                <a:gd name="T81" fmla="*/ 595 h 770"/>
                <a:gd name="T82" fmla="*/ 468 w 487"/>
                <a:gd name="T83" fmla="*/ 614 h 770"/>
                <a:gd name="T84" fmla="*/ 477 w 487"/>
                <a:gd name="T85" fmla="*/ 644 h 770"/>
                <a:gd name="T86" fmla="*/ 477 w 487"/>
                <a:gd name="T87" fmla="*/ 673 h 770"/>
                <a:gd name="T88" fmla="*/ 487 w 487"/>
                <a:gd name="T89" fmla="*/ 702 h 770"/>
                <a:gd name="T90" fmla="*/ 487 w 487"/>
                <a:gd name="T91" fmla="*/ 751 h 770"/>
                <a:gd name="T92" fmla="*/ 487 w 487"/>
                <a:gd name="T93" fmla="*/ 770 h 770"/>
                <a:gd name="T94" fmla="*/ 458 w 487"/>
                <a:gd name="T95" fmla="*/ 761 h 770"/>
                <a:gd name="T96" fmla="*/ 419 w 487"/>
                <a:gd name="T97" fmla="*/ 741 h 770"/>
                <a:gd name="T98" fmla="*/ 380 w 487"/>
                <a:gd name="T99" fmla="*/ 702 h 770"/>
                <a:gd name="T100" fmla="*/ 331 w 487"/>
                <a:gd name="T101" fmla="*/ 663 h 770"/>
                <a:gd name="T102" fmla="*/ 263 w 487"/>
                <a:gd name="T103" fmla="*/ 644 h 770"/>
                <a:gd name="T104" fmla="*/ 126 w 487"/>
                <a:gd name="T105" fmla="*/ 556 h 770"/>
                <a:gd name="T106" fmla="*/ 58 w 487"/>
                <a:gd name="T107" fmla="*/ 507 h 770"/>
                <a:gd name="T108" fmla="*/ 0 w 487"/>
                <a:gd name="T109" fmla="*/ 458 h 77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487"/>
                <a:gd name="T166" fmla="*/ 0 h 770"/>
                <a:gd name="T167" fmla="*/ 487 w 487"/>
                <a:gd name="T168" fmla="*/ 770 h 77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487" h="770">
                  <a:moveTo>
                    <a:pt x="0" y="458"/>
                  </a:moveTo>
                  <a:lnTo>
                    <a:pt x="9" y="449"/>
                  </a:lnTo>
                  <a:lnTo>
                    <a:pt x="29" y="449"/>
                  </a:lnTo>
                  <a:lnTo>
                    <a:pt x="39" y="439"/>
                  </a:lnTo>
                  <a:lnTo>
                    <a:pt x="48" y="429"/>
                  </a:lnTo>
                  <a:lnTo>
                    <a:pt x="48" y="409"/>
                  </a:lnTo>
                  <a:lnTo>
                    <a:pt x="58" y="390"/>
                  </a:lnTo>
                  <a:lnTo>
                    <a:pt x="78" y="390"/>
                  </a:lnTo>
                  <a:lnTo>
                    <a:pt x="87" y="370"/>
                  </a:lnTo>
                  <a:lnTo>
                    <a:pt x="97" y="370"/>
                  </a:lnTo>
                  <a:lnTo>
                    <a:pt x="97" y="292"/>
                  </a:lnTo>
                  <a:lnTo>
                    <a:pt x="87" y="292"/>
                  </a:lnTo>
                  <a:lnTo>
                    <a:pt x="68" y="302"/>
                  </a:lnTo>
                  <a:lnTo>
                    <a:pt x="48" y="312"/>
                  </a:lnTo>
                  <a:lnTo>
                    <a:pt x="39" y="302"/>
                  </a:lnTo>
                  <a:lnTo>
                    <a:pt x="29" y="292"/>
                  </a:lnTo>
                  <a:lnTo>
                    <a:pt x="39" y="253"/>
                  </a:lnTo>
                  <a:lnTo>
                    <a:pt x="68" y="244"/>
                  </a:lnTo>
                  <a:lnTo>
                    <a:pt x="78" y="244"/>
                  </a:lnTo>
                  <a:lnTo>
                    <a:pt x="97" y="185"/>
                  </a:lnTo>
                  <a:lnTo>
                    <a:pt x="97" y="175"/>
                  </a:lnTo>
                  <a:lnTo>
                    <a:pt x="87" y="156"/>
                  </a:lnTo>
                  <a:lnTo>
                    <a:pt x="78" y="146"/>
                  </a:lnTo>
                  <a:lnTo>
                    <a:pt x="78" y="127"/>
                  </a:lnTo>
                  <a:lnTo>
                    <a:pt x="58" y="107"/>
                  </a:lnTo>
                  <a:lnTo>
                    <a:pt x="58" y="97"/>
                  </a:lnTo>
                  <a:lnTo>
                    <a:pt x="58" y="88"/>
                  </a:lnTo>
                  <a:lnTo>
                    <a:pt x="78" y="68"/>
                  </a:lnTo>
                  <a:lnTo>
                    <a:pt x="107" y="58"/>
                  </a:lnTo>
                  <a:lnTo>
                    <a:pt x="117" y="58"/>
                  </a:lnTo>
                  <a:lnTo>
                    <a:pt x="126" y="39"/>
                  </a:lnTo>
                  <a:lnTo>
                    <a:pt x="146" y="19"/>
                  </a:lnTo>
                  <a:lnTo>
                    <a:pt x="156" y="0"/>
                  </a:lnTo>
                  <a:lnTo>
                    <a:pt x="175" y="9"/>
                  </a:lnTo>
                  <a:lnTo>
                    <a:pt x="185" y="19"/>
                  </a:lnTo>
                  <a:lnTo>
                    <a:pt x="195" y="19"/>
                  </a:lnTo>
                  <a:lnTo>
                    <a:pt x="204" y="29"/>
                  </a:lnTo>
                  <a:lnTo>
                    <a:pt x="214" y="39"/>
                  </a:lnTo>
                  <a:lnTo>
                    <a:pt x="224" y="39"/>
                  </a:lnTo>
                  <a:lnTo>
                    <a:pt x="234" y="19"/>
                  </a:lnTo>
                  <a:lnTo>
                    <a:pt x="243" y="19"/>
                  </a:lnTo>
                  <a:lnTo>
                    <a:pt x="253" y="29"/>
                  </a:lnTo>
                  <a:lnTo>
                    <a:pt x="263" y="39"/>
                  </a:lnTo>
                  <a:lnTo>
                    <a:pt x="273" y="39"/>
                  </a:lnTo>
                  <a:lnTo>
                    <a:pt x="292" y="39"/>
                  </a:lnTo>
                  <a:lnTo>
                    <a:pt x="292" y="58"/>
                  </a:lnTo>
                  <a:lnTo>
                    <a:pt x="292" y="78"/>
                  </a:lnTo>
                  <a:lnTo>
                    <a:pt x="273" y="78"/>
                  </a:lnTo>
                  <a:lnTo>
                    <a:pt x="263" y="78"/>
                  </a:lnTo>
                  <a:lnTo>
                    <a:pt x="253" y="68"/>
                  </a:lnTo>
                  <a:lnTo>
                    <a:pt x="253" y="58"/>
                  </a:lnTo>
                  <a:lnTo>
                    <a:pt x="253" y="39"/>
                  </a:lnTo>
                  <a:lnTo>
                    <a:pt x="243" y="39"/>
                  </a:lnTo>
                  <a:lnTo>
                    <a:pt x="243" y="58"/>
                  </a:lnTo>
                  <a:lnTo>
                    <a:pt x="243" y="68"/>
                  </a:lnTo>
                  <a:lnTo>
                    <a:pt x="243" y="78"/>
                  </a:lnTo>
                  <a:lnTo>
                    <a:pt x="253" y="88"/>
                  </a:lnTo>
                  <a:lnTo>
                    <a:pt x="253" y="97"/>
                  </a:lnTo>
                  <a:lnTo>
                    <a:pt x="253" y="117"/>
                  </a:lnTo>
                  <a:lnTo>
                    <a:pt x="253" y="127"/>
                  </a:lnTo>
                  <a:lnTo>
                    <a:pt x="263" y="136"/>
                  </a:lnTo>
                  <a:lnTo>
                    <a:pt x="282" y="166"/>
                  </a:lnTo>
                  <a:lnTo>
                    <a:pt x="292" y="175"/>
                  </a:lnTo>
                  <a:lnTo>
                    <a:pt x="302" y="185"/>
                  </a:lnTo>
                  <a:lnTo>
                    <a:pt x="321" y="195"/>
                  </a:lnTo>
                  <a:lnTo>
                    <a:pt x="341" y="195"/>
                  </a:lnTo>
                  <a:lnTo>
                    <a:pt x="360" y="205"/>
                  </a:lnTo>
                  <a:lnTo>
                    <a:pt x="380" y="214"/>
                  </a:lnTo>
                  <a:lnTo>
                    <a:pt x="380" y="224"/>
                  </a:lnTo>
                  <a:lnTo>
                    <a:pt x="380" y="234"/>
                  </a:lnTo>
                  <a:lnTo>
                    <a:pt x="380" y="253"/>
                  </a:lnTo>
                  <a:lnTo>
                    <a:pt x="380" y="263"/>
                  </a:lnTo>
                  <a:lnTo>
                    <a:pt x="370" y="273"/>
                  </a:lnTo>
                  <a:lnTo>
                    <a:pt x="351" y="273"/>
                  </a:lnTo>
                  <a:lnTo>
                    <a:pt x="341" y="283"/>
                  </a:lnTo>
                  <a:lnTo>
                    <a:pt x="341" y="302"/>
                  </a:lnTo>
                  <a:lnTo>
                    <a:pt x="341" y="312"/>
                  </a:lnTo>
                  <a:lnTo>
                    <a:pt x="341" y="322"/>
                  </a:lnTo>
                  <a:lnTo>
                    <a:pt x="341" y="341"/>
                  </a:lnTo>
                  <a:lnTo>
                    <a:pt x="351" y="341"/>
                  </a:lnTo>
                  <a:lnTo>
                    <a:pt x="351" y="351"/>
                  </a:lnTo>
                  <a:lnTo>
                    <a:pt x="351" y="361"/>
                  </a:lnTo>
                  <a:lnTo>
                    <a:pt x="360" y="380"/>
                  </a:lnTo>
                  <a:lnTo>
                    <a:pt x="370" y="390"/>
                  </a:lnTo>
                  <a:lnTo>
                    <a:pt x="370" y="400"/>
                  </a:lnTo>
                  <a:lnTo>
                    <a:pt x="380" y="400"/>
                  </a:lnTo>
                  <a:lnTo>
                    <a:pt x="380" y="409"/>
                  </a:lnTo>
                  <a:lnTo>
                    <a:pt x="390" y="400"/>
                  </a:lnTo>
                  <a:lnTo>
                    <a:pt x="399" y="409"/>
                  </a:lnTo>
                  <a:lnTo>
                    <a:pt x="419" y="429"/>
                  </a:lnTo>
                  <a:lnTo>
                    <a:pt x="438" y="429"/>
                  </a:lnTo>
                  <a:lnTo>
                    <a:pt x="448" y="429"/>
                  </a:lnTo>
                  <a:lnTo>
                    <a:pt x="438" y="439"/>
                  </a:lnTo>
                  <a:lnTo>
                    <a:pt x="429" y="439"/>
                  </a:lnTo>
                  <a:lnTo>
                    <a:pt x="419" y="439"/>
                  </a:lnTo>
                  <a:lnTo>
                    <a:pt x="409" y="449"/>
                  </a:lnTo>
                  <a:lnTo>
                    <a:pt x="409" y="468"/>
                  </a:lnTo>
                  <a:lnTo>
                    <a:pt x="399" y="468"/>
                  </a:lnTo>
                  <a:lnTo>
                    <a:pt x="399" y="488"/>
                  </a:lnTo>
                  <a:lnTo>
                    <a:pt x="409" y="497"/>
                  </a:lnTo>
                  <a:lnTo>
                    <a:pt x="399" y="507"/>
                  </a:lnTo>
                  <a:lnTo>
                    <a:pt x="399" y="517"/>
                  </a:lnTo>
                  <a:lnTo>
                    <a:pt x="390" y="517"/>
                  </a:lnTo>
                  <a:lnTo>
                    <a:pt x="380" y="527"/>
                  </a:lnTo>
                  <a:lnTo>
                    <a:pt x="390" y="527"/>
                  </a:lnTo>
                  <a:lnTo>
                    <a:pt x="399" y="527"/>
                  </a:lnTo>
                  <a:lnTo>
                    <a:pt x="409" y="536"/>
                  </a:lnTo>
                  <a:lnTo>
                    <a:pt x="419" y="546"/>
                  </a:lnTo>
                  <a:lnTo>
                    <a:pt x="419" y="556"/>
                  </a:lnTo>
                  <a:lnTo>
                    <a:pt x="429" y="556"/>
                  </a:lnTo>
                  <a:lnTo>
                    <a:pt x="438" y="566"/>
                  </a:lnTo>
                  <a:lnTo>
                    <a:pt x="448" y="566"/>
                  </a:lnTo>
                  <a:lnTo>
                    <a:pt x="448" y="575"/>
                  </a:lnTo>
                  <a:lnTo>
                    <a:pt x="448" y="585"/>
                  </a:lnTo>
                  <a:lnTo>
                    <a:pt x="448" y="595"/>
                  </a:lnTo>
                  <a:lnTo>
                    <a:pt x="458" y="595"/>
                  </a:lnTo>
                  <a:lnTo>
                    <a:pt x="458" y="605"/>
                  </a:lnTo>
                  <a:lnTo>
                    <a:pt x="468" y="614"/>
                  </a:lnTo>
                  <a:lnTo>
                    <a:pt x="468" y="624"/>
                  </a:lnTo>
                  <a:lnTo>
                    <a:pt x="477" y="634"/>
                  </a:lnTo>
                  <a:lnTo>
                    <a:pt x="477" y="644"/>
                  </a:lnTo>
                  <a:lnTo>
                    <a:pt x="487" y="653"/>
                  </a:lnTo>
                  <a:lnTo>
                    <a:pt x="487" y="663"/>
                  </a:lnTo>
                  <a:lnTo>
                    <a:pt x="477" y="673"/>
                  </a:lnTo>
                  <a:lnTo>
                    <a:pt x="477" y="692"/>
                  </a:lnTo>
                  <a:lnTo>
                    <a:pt x="487" y="702"/>
                  </a:lnTo>
                  <a:lnTo>
                    <a:pt x="487" y="722"/>
                  </a:lnTo>
                  <a:lnTo>
                    <a:pt x="487" y="741"/>
                  </a:lnTo>
                  <a:lnTo>
                    <a:pt x="487" y="751"/>
                  </a:lnTo>
                  <a:lnTo>
                    <a:pt x="487" y="761"/>
                  </a:lnTo>
                  <a:lnTo>
                    <a:pt x="487" y="770"/>
                  </a:lnTo>
                  <a:lnTo>
                    <a:pt x="477" y="761"/>
                  </a:lnTo>
                  <a:lnTo>
                    <a:pt x="468" y="761"/>
                  </a:lnTo>
                  <a:lnTo>
                    <a:pt x="458" y="761"/>
                  </a:lnTo>
                  <a:lnTo>
                    <a:pt x="448" y="761"/>
                  </a:lnTo>
                  <a:lnTo>
                    <a:pt x="429" y="751"/>
                  </a:lnTo>
                  <a:lnTo>
                    <a:pt x="419" y="741"/>
                  </a:lnTo>
                  <a:lnTo>
                    <a:pt x="399" y="731"/>
                  </a:lnTo>
                  <a:lnTo>
                    <a:pt x="390" y="712"/>
                  </a:lnTo>
                  <a:lnTo>
                    <a:pt x="380" y="702"/>
                  </a:lnTo>
                  <a:lnTo>
                    <a:pt x="351" y="683"/>
                  </a:lnTo>
                  <a:lnTo>
                    <a:pt x="331" y="673"/>
                  </a:lnTo>
                  <a:lnTo>
                    <a:pt x="331" y="663"/>
                  </a:lnTo>
                  <a:lnTo>
                    <a:pt x="312" y="673"/>
                  </a:lnTo>
                  <a:lnTo>
                    <a:pt x="292" y="663"/>
                  </a:lnTo>
                  <a:lnTo>
                    <a:pt x="263" y="644"/>
                  </a:lnTo>
                  <a:lnTo>
                    <a:pt x="234" y="614"/>
                  </a:lnTo>
                  <a:lnTo>
                    <a:pt x="195" y="585"/>
                  </a:lnTo>
                  <a:lnTo>
                    <a:pt x="126" y="556"/>
                  </a:lnTo>
                  <a:lnTo>
                    <a:pt x="107" y="536"/>
                  </a:lnTo>
                  <a:lnTo>
                    <a:pt x="78" y="527"/>
                  </a:lnTo>
                  <a:lnTo>
                    <a:pt x="58" y="507"/>
                  </a:lnTo>
                  <a:lnTo>
                    <a:pt x="39" y="488"/>
                  </a:lnTo>
                  <a:lnTo>
                    <a:pt x="19" y="468"/>
                  </a:lnTo>
                  <a:lnTo>
                    <a:pt x="0" y="458"/>
                  </a:lnTo>
                  <a:close/>
                </a:path>
              </a:pathLst>
            </a:custGeom>
            <a:solidFill>
              <a:srgbClr val="96969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8747" name="Freeform 79"/>
            <p:cNvSpPr>
              <a:spLocks noChangeAspect="1"/>
            </p:cNvSpPr>
            <p:nvPr/>
          </p:nvSpPr>
          <p:spPr bwMode="auto">
            <a:xfrm>
              <a:off x="8633" y="1737"/>
              <a:ext cx="487" cy="770"/>
            </a:xfrm>
            <a:custGeom>
              <a:avLst/>
              <a:gdLst>
                <a:gd name="T0" fmla="*/ 29 w 487"/>
                <a:gd name="T1" fmla="*/ 449 h 770"/>
                <a:gd name="T2" fmla="*/ 48 w 487"/>
                <a:gd name="T3" fmla="*/ 409 h 770"/>
                <a:gd name="T4" fmla="*/ 87 w 487"/>
                <a:gd name="T5" fmla="*/ 370 h 770"/>
                <a:gd name="T6" fmla="*/ 87 w 487"/>
                <a:gd name="T7" fmla="*/ 292 h 770"/>
                <a:gd name="T8" fmla="*/ 48 w 487"/>
                <a:gd name="T9" fmla="*/ 312 h 770"/>
                <a:gd name="T10" fmla="*/ 39 w 487"/>
                <a:gd name="T11" fmla="*/ 253 h 770"/>
                <a:gd name="T12" fmla="*/ 78 w 487"/>
                <a:gd name="T13" fmla="*/ 244 h 770"/>
                <a:gd name="T14" fmla="*/ 87 w 487"/>
                <a:gd name="T15" fmla="*/ 156 h 770"/>
                <a:gd name="T16" fmla="*/ 58 w 487"/>
                <a:gd name="T17" fmla="*/ 107 h 770"/>
                <a:gd name="T18" fmla="*/ 78 w 487"/>
                <a:gd name="T19" fmla="*/ 68 h 770"/>
                <a:gd name="T20" fmla="*/ 126 w 487"/>
                <a:gd name="T21" fmla="*/ 39 h 770"/>
                <a:gd name="T22" fmla="*/ 175 w 487"/>
                <a:gd name="T23" fmla="*/ 9 h 770"/>
                <a:gd name="T24" fmla="*/ 204 w 487"/>
                <a:gd name="T25" fmla="*/ 29 h 770"/>
                <a:gd name="T26" fmla="*/ 234 w 487"/>
                <a:gd name="T27" fmla="*/ 19 h 770"/>
                <a:gd name="T28" fmla="*/ 253 w 487"/>
                <a:gd name="T29" fmla="*/ 29 h 770"/>
                <a:gd name="T30" fmla="*/ 292 w 487"/>
                <a:gd name="T31" fmla="*/ 39 h 770"/>
                <a:gd name="T32" fmla="*/ 292 w 487"/>
                <a:gd name="T33" fmla="*/ 78 h 770"/>
                <a:gd name="T34" fmla="*/ 253 w 487"/>
                <a:gd name="T35" fmla="*/ 68 h 770"/>
                <a:gd name="T36" fmla="*/ 243 w 487"/>
                <a:gd name="T37" fmla="*/ 39 h 770"/>
                <a:gd name="T38" fmla="*/ 243 w 487"/>
                <a:gd name="T39" fmla="*/ 78 h 770"/>
                <a:gd name="T40" fmla="*/ 253 w 487"/>
                <a:gd name="T41" fmla="*/ 117 h 770"/>
                <a:gd name="T42" fmla="*/ 282 w 487"/>
                <a:gd name="T43" fmla="*/ 166 h 770"/>
                <a:gd name="T44" fmla="*/ 321 w 487"/>
                <a:gd name="T45" fmla="*/ 195 h 770"/>
                <a:gd name="T46" fmla="*/ 380 w 487"/>
                <a:gd name="T47" fmla="*/ 214 h 770"/>
                <a:gd name="T48" fmla="*/ 380 w 487"/>
                <a:gd name="T49" fmla="*/ 253 h 770"/>
                <a:gd name="T50" fmla="*/ 351 w 487"/>
                <a:gd name="T51" fmla="*/ 273 h 770"/>
                <a:gd name="T52" fmla="*/ 341 w 487"/>
                <a:gd name="T53" fmla="*/ 312 h 770"/>
                <a:gd name="T54" fmla="*/ 351 w 487"/>
                <a:gd name="T55" fmla="*/ 341 h 770"/>
                <a:gd name="T56" fmla="*/ 360 w 487"/>
                <a:gd name="T57" fmla="*/ 380 h 770"/>
                <a:gd name="T58" fmla="*/ 370 w 487"/>
                <a:gd name="T59" fmla="*/ 400 h 770"/>
                <a:gd name="T60" fmla="*/ 390 w 487"/>
                <a:gd name="T61" fmla="*/ 400 h 770"/>
                <a:gd name="T62" fmla="*/ 438 w 487"/>
                <a:gd name="T63" fmla="*/ 429 h 770"/>
                <a:gd name="T64" fmla="*/ 429 w 487"/>
                <a:gd name="T65" fmla="*/ 439 h 770"/>
                <a:gd name="T66" fmla="*/ 409 w 487"/>
                <a:gd name="T67" fmla="*/ 468 h 770"/>
                <a:gd name="T68" fmla="*/ 409 w 487"/>
                <a:gd name="T69" fmla="*/ 497 h 770"/>
                <a:gd name="T70" fmla="*/ 390 w 487"/>
                <a:gd name="T71" fmla="*/ 517 h 770"/>
                <a:gd name="T72" fmla="*/ 390 w 487"/>
                <a:gd name="T73" fmla="*/ 527 h 770"/>
                <a:gd name="T74" fmla="*/ 419 w 487"/>
                <a:gd name="T75" fmla="*/ 546 h 770"/>
                <a:gd name="T76" fmla="*/ 429 w 487"/>
                <a:gd name="T77" fmla="*/ 556 h 770"/>
                <a:gd name="T78" fmla="*/ 448 w 487"/>
                <a:gd name="T79" fmla="*/ 575 h 770"/>
                <a:gd name="T80" fmla="*/ 458 w 487"/>
                <a:gd name="T81" fmla="*/ 595 h 770"/>
                <a:gd name="T82" fmla="*/ 468 w 487"/>
                <a:gd name="T83" fmla="*/ 614 h 770"/>
                <a:gd name="T84" fmla="*/ 477 w 487"/>
                <a:gd name="T85" fmla="*/ 644 h 770"/>
                <a:gd name="T86" fmla="*/ 477 w 487"/>
                <a:gd name="T87" fmla="*/ 673 h 770"/>
                <a:gd name="T88" fmla="*/ 487 w 487"/>
                <a:gd name="T89" fmla="*/ 702 h 770"/>
                <a:gd name="T90" fmla="*/ 487 w 487"/>
                <a:gd name="T91" fmla="*/ 751 h 770"/>
                <a:gd name="T92" fmla="*/ 487 w 487"/>
                <a:gd name="T93" fmla="*/ 770 h 770"/>
                <a:gd name="T94" fmla="*/ 458 w 487"/>
                <a:gd name="T95" fmla="*/ 761 h 770"/>
                <a:gd name="T96" fmla="*/ 419 w 487"/>
                <a:gd name="T97" fmla="*/ 741 h 770"/>
                <a:gd name="T98" fmla="*/ 380 w 487"/>
                <a:gd name="T99" fmla="*/ 702 h 770"/>
                <a:gd name="T100" fmla="*/ 331 w 487"/>
                <a:gd name="T101" fmla="*/ 663 h 770"/>
                <a:gd name="T102" fmla="*/ 263 w 487"/>
                <a:gd name="T103" fmla="*/ 644 h 770"/>
                <a:gd name="T104" fmla="*/ 126 w 487"/>
                <a:gd name="T105" fmla="*/ 556 h 770"/>
                <a:gd name="T106" fmla="*/ 58 w 487"/>
                <a:gd name="T107" fmla="*/ 507 h 770"/>
                <a:gd name="T108" fmla="*/ 0 w 487"/>
                <a:gd name="T109" fmla="*/ 458 h 77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487"/>
                <a:gd name="T166" fmla="*/ 0 h 770"/>
                <a:gd name="T167" fmla="*/ 487 w 487"/>
                <a:gd name="T168" fmla="*/ 770 h 77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487" h="770">
                  <a:moveTo>
                    <a:pt x="0" y="458"/>
                  </a:moveTo>
                  <a:lnTo>
                    <a:pt x="9" y="449"/>
                  </a:lnTo>
                  <a:lnTo>
                    <a:pt x="29" y="449"/>
                  </a:lnTo>
                  <a:lnTo>
                    <a:pt x="39" y="439"/>
                  </a:lnTo>
                  <a:lnTo>
                    <a:pt x="48" y="429"/>
                  </a:lnTo>
                  <a:lnTo>
                    <a:pt x="48" y="409"/>
                  </a:lnTo>
                  <a:lnTo>
                    <a:pt x="58" y="390"/>
                  </a:lnTo>
                  <a:lnTo>
                    <a:pt x="78" y="390"/>
                  </a:lnTo>
                  <a:lnTo>
                    <a:pt x="87" y="370"/>
                  </a:lnTo>
                  <a:lnTo>
                    <a:pt x="97" y="370"/>
                  </a:lnTo>
                  <a:lnTo>
                    <a:pt x="97" y="292"/>
                  </a:lnTo>
                  <a:lnTo>
                    <a:pt x="87" y="292"/>
                  </a:lnTo>
                  <a:lnTo>
                    <a:pt x="68" y="302"/>
                  </a:lnTo>
                  <a:lnTo>
                    <a:pt x="48" y="312"/>
                  </a:lnTo>
                  <a:lnTo>
                    <a:pt x="39" y="302"/>
                  </a:lnTo>
                  <a:lnTo>
                    <a:pt x="29" y="292"/>
                  </a:lnTo>
                  <a:lnTo>
                    <a:pt x="39" y="253"/>
                  </a:lnTo>
                  <a:lnTo>
                    <a:pt x="68" y="244"/>
                  </a:lnTo>
                  <a:lnTo>
                    <a:pt x="78" y="244"/>
                  </a:lnTo>
                  <a:lnTo>
                    <a:pt x="97" y="185"/>
                  </a:lnTo>
                  <a:lnTo>
                    <a:pt x="97" y="175"/>
                  </a:lnTo>
                  <a:lnTo>
                    <a:pt x="87" y="156"/>
                  </a:lnTo>
                  <a:lnTo>
                    <a:pt x="78" y="146"/>
                  </a:lnTo>
                  <a:lnTo>
                    <a:pt x="78" y="127"/>
                  </a:lnTo>
                  <a:lnTo>
                    <a:pt x="58" y="107"/>
                  </a:lnTo>
                  <a:lnTo>
                    <a:pt x="58" y="97"/>
                  </a:lnTo>
                  <a:lnTo>
                    <a:pt x="58" y="88"/>
                  </a:lnTo>
                  <a:lnTo>
                    <a:pt x="78" y="68"/>
                  </a:lnTo>
                  <a:lnTo>
                    <a:pt x="107" y="58"/>
                  </a:lnTo>
                  <a:lnTo>
                    <a:pt x="117" y="58"/>
                  </a:lnTo>
                  <a:lnTo>
                    <a:pt x="126" y="39"/>
                  </a:lnTo>
                  <a:lnTo>
                    <a:pt x="146" y="19"/>
                  </a:lnTo>
                  <a:lnTo>
                    <a:pt x="156" y="0"/>
                  </a:lnTo>
                  <a:lnTo>
                    <a:pt x="175" y="9"/>
                  </a:lnTo>
                  <a:lnTo>
                    <a:pt x="185" y="19"/>
                  </a:lnTo>
                  <a:lnTo>
                    <a:pt x="195" y="19"/>
                  </a:lnTo>
                  <a:lnTo>
                    <a:pt x="204" y="29"/>
                  </a:lnTo>
                  <a:lnTo>
                    <a:pt x="214" y="39"/>
                  </a:lnTo>
                  <a:lnTo>
                    <a:pt x="224" y="39"/>
                  </a:lnTo>
                  <a:lnTo>
                    <a:pt x="234" y="19"/>
                  </a:lnTo>
                  <a:lnTo>
                    <a:pt x="243" y="19"/>
                  </a:lnTo>
                  <a:lnTo>
                    <a:pt x="253" y="29"/>
                  </a:lnTo>
                  <a:lnTo>
                    <a:pt x="263" y="39"/>
                  </a:lnTo>
                  <a:lnTo>
                    <a:pt x="273" y="39"/>
                  </a:lnTo>
                  <a:lnTo>
                    <a:pt x="292" y="39"/>
                  </a:lnTo>
                  <a:lnTo>
                    <a:pt x="292" y="58"/>
                  </a:lnTo>
                  <a:lnTo>
                    <a:pt x="292" y="78"/>
                  </a:lnTo>
                  <a:lnTo>
                    <a:pt x="273" y="78"/>
                  </a:lnTo>
                  <a:lnTo>
                    <a:pt x="263" y="78"/>
                  </a:lnTo>
                  <a:lnTo>
                    <a:pt x="253" y="68"/>
                  </a:lnTo>
                  <a:lnTo>
                    <a:pt x="253" y="58"/>
                  </a:lnTo>
                  <a:lnTo>
                    <a:pt x="253" y="39"/>
                  </a:lnTo>
                  <a:lnTo>
                    <a:pt x="243" y="39"/>
                  </a:lnTo>
                  <a:lnTo>
                    <a:pt x="243" y="58"/>
                  </a:lnTo>
                  <a:lnTo>
                    <a:pt x="243" y="68"/>
                  </a:lnTo>
                  <a:lnTo>
                    <a:pt x="243" y="78"/>
                  </a:lnTo>
                  <a:lnTo>
                    <a:pt x="253" y="88"/>
                  </a:lnTo>
                  <a:lnTo>
                    <a:pt x="253" y="97"/>
                  </a:lnTo>
                  <a:lnTo>
                    <a:pt x="253" y="117"/>
                  </a:lnTo>
                  <a:lnTo>
                    <a:pt x="253" y="127"/>
                  </a:lnTo>
                  <a:lnTo>
                    <a:pt x="263" y="136"/>
                  </a:lnTo>
                  <a:lnTo>
                    <a:pt x="282" y="166"/>
                  </a:lnTo>
                  <a:lnTo>
                    <a:pt x="292" y="175"/>
                  </a:lnTo>
                  <a:lnTo>
                    <a:pt x="302" y="185"/>
                  </a:lnTo>
                  <a:lnTo>
                    <a:pt x="321" y="195"/>
                  </a:lnTo>
                  <a:lnTo>
                    <a:pt x="341" y="195"/>
                  </a:lnTo>
                  <a:lnTo>
                    <a:pt x="360" y="205"/>
                  </a:lnTo>
                  <a:lnTo>
                    <a:pt x="380" y="214"/>
                  </a:lnTo>
                  <a:lnTo>
                    <a:pt x="380" y="224"/>
                  </a:lnTo>
                  <a:lnTo>
                    <a:pt x="380" y="234"/>
                  </a:lnTo>
                  <a:lnTo>
                    <a:pt x="380" y="253"/>
                  </a:lnTo>
                  <a:lnTo>
                    <a:pt x="380" y="263"/>
                  </a:lnTo>
                  <a:lnTo>
                    <a:pt x="370" y="273"/>
                  </a:lnTo>
                  <a:lnTo>
                    <a:pt x="351" y="273"/>
                  </a:lnTo>
                  <a:lnTo>
                    <a:pt x="341" y="283"/>
                  </a:lnTo>
                  <a:lnTo>
                    <a:pt x="341" y="302"/>
                  </a:lnTo>
                  <a:lnTo>
                    <a:pt x="341" y="312"/>
                  </a:lnTo>
                  <a:lnTo>
                    <a:pt x="341" y="322"/>
                  </a:lnTo>
                  <a:lnTo>
                    <a:pt x="341" y="341"/>
                  </a:lnTo>
                  <a:lnTo>
                    <a:pt x="351" y="341"/>
                  </a:lnTo>
                  <a:lnTo>
                    <a:pt x="351" y="351"/>
                  </a:lnTo>
                  <a:lnTo>
                    <a:pt x="351" y="361"/>
                  </a:lnTo>
                  <a:lnTo>
                    <a:pt x="360" y="380"/>
                  </a:lnTo>
                  <a:lnTo>
                    <a:pt x="370" y="390"/>
                  </a:lnTo>
                  <a:lnTo>
                    <a:pt x="370" y="400"/>
                  </a:lnTo>
                  <a:lnTo>
                    <a:pt x="380" y="400"/>
                  </a:lnTo>
                  <a:lnTo>
                    <a:pt x="380" y="409"/>
                  </a:lnTo>
                  <a:lnTo>
                    <a:pt x="390" y="400"/>
                  </a:lnTo>
                  <a:lnTo>
                    <a:pt x="399" y="409"/>
                  </a:lnTo>
                  <a:lnTo>
                    <a:pt x="419" y="429"/>
                  </a:lnTo>
                  <a:lnTo>
                    <a:pt x="438" y="429"/>
                  </a:lnTo>
                  <a:lnTo>
                    <a:pt x="448" y="429"/>
                  </a:lnTo>
                  <a:lnTo>
                    <a:pt x="438" y="439"/>
                  </a:lnTo>
                  <a:lnTo>
                    <a:pt x="429" y="439"/>
                  </a:lnTo>
                  <a:lnTo>
                    <a:pt x="419" y="439"/>
                  </a:lnTo>
                  <a:lnTo>
                    <a:pt x="409" y="449"/>
                  </a:lnTo>
                  <a:lnTo>
                    <a:pt x="409" y="468"/>
                  </a:lnTo>
                  <a:lnTo>
                    <a:pt x="399" y="468"/>
                  </a:lnTo>
                  <a:lnTo>
                    <a:pt x="399" y="488"/>
                  </a:lnTo>
                  <a:lnTo>
                    <a:pt x="409" y="497"/>
                  </a:lnTo>
                  <a:lnTo>
                    <a:pt x="399" y="507"/>
                  </a:lnTo>
                  <a:lnTo>
                    <a:pt x="399" y="517"/>
                  </a:lnTo>
                  <a:lnTo>
                    <a:pt x="390" y="517"/>
                  </a:lnTo>
                  <a:lnTo>
                    <a:pt x="380" y="527"/>
                  </a:lnTo>
                  <a:lnTo>
                    <a:pt x="390" y="527"/>
                  </a:lnTo>
                  <a:lnTo>
                    <a:pt x="399" y="527"/>
                  </a:lnTo>
                  <a:lnTo>
                    <a:pt x="409" y="536"/>
                  </a:lnTo>
                  <a:lnTo>
                    <a:pt x="419" y="546"/>
                  </a:lnTo>
                  <a:lnTo>
                    <a:pt x="419" y="556"/>
                  </a:lnTo>
                  <a:lnTo>
                    <a:pt x="429" y="556"/>
                  </a:lnTo>
                  <a:lnTo>
                    <a:pt x="438" y="566"/>
                  </a:lnTo>
                  <a:lnTo>
                    <a:pt x="448" y="566"/>
                  </a:lnTo>
                  <a:lnTo>
                    <a:pt x="448" y="575"/>
                  </a:lnTo>
                  <a:lnTo>
                    <a:pt x="448" y="585"/>
                  </a:lnTo>
                  <a:lnTo>
                    <a:pt x="448" y="595"/>
                  </a:lnTo>
                  <a:lnTo>
                    <a:pt x="458" y="595"/>
                  </a:lnTo>
                  <a:lnTo>
                    <a:pt x="458" y="605"/>
                  </a:lnTo>
                  <a:lnTo>
                    <a:pt x="468" y="614"/>
                  </a:lnTo>
                  <a:lnTo>
                    <a:pt x="468" y="624"/>
                  </a:lnTo>
                  <a:lnTo>
                    <a:pt x="477" y="634"/>
                  </a:lnTo>
                  <a:lnTo>
                    <a:pt x="477" y="644"/>
                  </a:lnTo>
                  <a:lnTo>
                    <a:pt x="487" y="653"/>
                  </a:lnTo>
                  <a:lnTo>
                    <a:pt x="487" y="663"/>
                  </a:lnTo>
                  <a:lnTo>
                    <a:pt x="477" y="673"/>
                  </a:lnTo>
                  <a:lnTo>
                    <a:pt x="477" y="692"/>
                  </a:lnTo>
                  <a:lnTo>
                    <a:pt x="487" y="702"/>
                  </a:lnTo>
                  <a:lnTo>
                    <a:pt x="487" y="722"/>
                  </a:lnTo>
                  <a:lnTo>
                    <a:pt x="487" y="741"/>
                  </a:lnTo>
                  <a:lnTo>
                    <a:pt x="487" y="751"/>
                  </a:lnTo>
                  <a:lnTo>
                    <a:pt x="487" y="761"/>
                  </a:lnTo>
                  <a:lnTo>
                    <a:pt x="487" y="770"/>
                  </a:lnTo>
                  <a:lnTo>
                    <a:pt x="477" y="761"/>
                  </a:lnTo>
                  <a:lnTo>
                    <a:pt x="468" y="761"/>
                  </a:lnTo>
                  <a:lnTo>
                    <a:pt x="458" y="761"/>
                  </a:lnTo>
                  <a:lnTo>
                    <a:pt x="448" y="761"/>
                  </a:lnTo>
                  <a:lnTo>
                    <a:pt x="429" y="751"/>
                  </a:lnTo>
                  <a:lnTo>
                    <a:pt x="419" y="741"/>
                  </a:lnTo>
                  <a:lnTo>
                    <a:pt x="399" y="731"/>
                  </a:lnTo>
                  <a:lnTo>
                    <a:pt x="390" y="712"/>
                  </a:lnTo>
                  <a:lnTo>
                    <a:pt x="380" y="702"/>
                  </a:lnTo>
                  <a:lnTo>
                    <a:pt x="351" y="683"/>
                  </a:lnTo>
                  <a:lnTo>
                    <a:pt x="331" y="673"/>
                  </a:lnTo>
                  <a:lnTo>
                    <a:pt x="331" y="663"/>
                  </a:lnTo>
                  <a:lnTo>
                    <a:pt x="312" y="673"/>
                  </a:lnTo>
                  <a:lnTo>
                    <a:pt x="292" y="663"/>
                  </a:lnTo>
                  <a:lnTo>
                    <a:pt x="263" y="644"/>
                  </a:lnTo>
                  <a:lnTo>
                    <a:pt x="234" y="614"/>
                  </a:lnTo>
                  <a:lnTo>
                    <a:pt x="195" y="585"/>
                  </a:lnTo>
                  <a:lnTo>
                    <a:pt x="126" y="556"/>
                  </a:lnTo>
                  <a:lnTo>
                    <a:pt x="107" y="536"/>
                  </a:lnTo>
                  <a:lnTo>
                    <a:pt x="78" y="527"/>
                  </a:lnTo>
                  <a:lnTo>
                    <a:pt x="58" y="507"/>
                  </a:lnTo>
                  <a:lnTo>
                    <a:pt x="39" y="488"/>
                  </a:lnTo>
                  <a:lnTo>
                    <a:pt x="19" y="468"/>
                  </a:lnTo>
                  <a:lnTo>
                    <a:pt x="0" y="458"/>
                  </a:lnTo>
                </a:path>
              </a:pathLst>
            </a:custGeom>
            <a:solidFill>
              <a:srgbClr val="969696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271" name="Freeform 77"/>
          <p:cNvSpPr>
            <a:spLocks/>
          </p:cNvSpPr>
          <p:nvPr>
            <p:custDataLst>
              <p:tags r:id="rId199"/>
            </p:custDataLst>
          </p:nvPr>
        </p:nvSpPr>
        <p:spPr bwMode="auto">
          <a:xfrm>
            <a:off x="3654425" y="3576638"/>
            <a:ext cx="631825" cy="393700"/>
          </a:xfrm>
          <a:custGeom>
            <a:avLst/>
            <a:gdLst/>
            <a:ahLst/>
            <a:cxnLst>
              <a:cxn ang="0">
                <a:pos x="282" y="390"/>
              </a:cxn>
              <a:cxn ang="0">
                <a:pos x="370" y="429"/>
              </a:cxn>
              <a:cxn ang="0">
                <a:pos x="497" y="527"/>
              </a:cxn>
              <a:cxn ang="0">
                <a:pos x="663" y="634"/>
              </a:cxn>
              <a:cxn ang="0">
                <a:pos x="741" y="614"/>
              </a:cxn>
              <a:cxn ang="0">
                <a:pos x="790" y="595"/>
              </a:cxn>
              <a:cxn ang="0">
                <a:pos x="838" y="585"/>
              </a:cxn>
              <a:cxn ang="0">
                <a:pos x="897" y="585"/>
              </a:cxn>
              <a:cxn ang="0">
                <a:pos x="907" y="517"/>
              </a:cxn>
              <a:cxn ang="0">
                <a:pos x="946" y="517"/>
              </a:cxn>
              <a:cxn ang="0">
                <a:pos x="946" y="497"/>
              </a:cxn>
              <a:cxn ang="0">
                <a:pos x="916" y="439"/>
              </a:cxn>
              <a:cxn ang="0">
                <a:pos x="829" y="361"/>
              </a:cxn>
              <a:cxn ang="0">
                <a:pos x="780" y="371"/>
              </a:cxn>
              <a:cxn ang="0">
                <a:pos x="770" y="419"/>
              </a:cxn>
              <a:cxn ang="0">
                <a:pos x="731" y="458"/>
              </a:cxn>
              <a:cxn ang="0">
                <a:pos x="702" y="458"/>
              </a:cxn>
              <a:cxn ang="0">
                <a:pos x="673" y="458"/>
              </a:cxn>
              <a:cxn ang="0">
                <a:pos x="702" y="429"/>
              </a:cxn>
              <a:cxn ang="0">
                <a:pos x="712" y="400"/>
              </a:cxn>
              <a:cxn ang="0">
                <a:pos x="673" y="400"/>
              </a:cxn>
              <a:cxn ang="0">
                <a:pos x="653" y="390"/>
              </a:cxn>
              <a:cxn ang="0">
                <a:pos x="624" y="400"/>
              </a:cxn>
              <a:cxn ang="0">
                <a:pos x="585" y="361"/>
              </a:cxn>
              <a:cxn ang="0">
                <a:pos x="526" y="341"/>
              </a:cxn>
              <a:cxn ang="0">
                <a:pos x="497" y="341"/>
              </a:cxn>
              <a:cxn ang="0">
                <a:pos x="458" y="312"/>
              </a:cxn>
              <a:cxn ang="0">
                <a:pos x="497" y="312"/>
              </a:cxn>
              <a:cxn ang="0">
                <a:pos x="517" y="273"/>
              </a:cxn>
              <a:cxn ang="0">
                <a:pos x="507" y="253"/>
              </a:cxn>
              <a:cxn ang="0">
                <a:pos x="448" y="263"/>
              </a:cxn>
              <a:cxn ang="0">
                <a:pos x="419" y="283"/>
              </a:cxn>
              <a:cxn ang="0">
                <a:pos x="409" y="244"/>
              </a:cxn>
              <a:cxn ang="0">
                <a:pos x="321" y="234"/>
              </a:cxn>
              <a:cxn ang="0">
                <a:pos x="263" y="224"/>
              </a:cxn>
              <a:cxn ang="0">
                <a:pos x="214" y="214"/>
              </a:cxn>
              <a:cxn ang="0">
                <a:pos x="156" y="253"/>
              </a:cxn>
              <a:cxn ang="0">
                <a:pos x="87" y="205"/>
              </a:cxn>
              <a:cxn ang="0">
                <a:pos x="107" y="156"/>
              </a:cxn>
              <a:cxn ang="0">
                <a:pos x="136" y="136"/>
              </a:cxn>
              <a:cxn ang="0">
                <a:pos x="185" y="146"/>
              </a:cxn>
              <a:cxn ang="0">
                <a:pos x="224" y="117"/>
              </a:cxn>
              <a:cxn ang="0">
                <a:pos x="224" y="58"/>
              </a:cxn>
              <a:cxn ang="0">
                <a:pos x="185" y="0"/>
              </a:cxn>
              <a:cxn ang="0">
                <a:pos x="165" y="29"/>
              </a:cxn>
              <a:cxn ang="0">
                <a:pos x="126" y="68"/>
              </a:cxn>
              <a:cxn ang="0">
                <a:pos x="97" y="88"/>
              </a:cxn>
              <a:cxn ang="0">
                <a:pos x="58" y="117"/>
              </a:cxn>
              <a:cxn ang="0">
                <a:pos x="48" y="166"/>
              </a:cxn>
              <a:cxn ang="0">
                <a:pos x="0" y="185"/>
              </a:cxn>
              <a:cxn ang="0">
                <a:pos x="29" y="302"/>
              </a:cxn>
              <a:cxn ang="0">
                <a:pos x="97" y="332"/>
              </a:cxn>
            </a:cxnLst>
            <a:rect l="0" t="0" r="r" b="b"/>
            <a:pathLst>
              <a:path w="946" h="634">
                <a:moveTo>
                  <a:pt x="136" y="361"/>
                </a:moveTo>
                <a:lnTo>
                  <a:pt x="185" y="371"/>
                </a:lnTo>
                <a:lnTo>
                  <a:pt x="253" y="380"/>
                </a:lnTo>
                <a:lnTo>
                  <a:pt x="282" y="390"/>
                </a:lnTo>
                <a:lnTo>
                  <a:pt x="302" y="380"/>
                </a:lnTo>
                <a:lnTo>
                  <a:pt x="331" y="390"/>
                </a:lnTo>
                <a:lnTo>
                  <a:pt x="351" y="410"/>
                </a:lnTo>
                <a:lnTo>
                  <a:pt x="370" y="429"/>
                </a:lnTo>
                <a:lnTo>
                  <a:pt x="409" y="458"/>
                </a:lnTo>
                <a:lnTo>
                  <a:pt x="419" y="478"/>
                </a:lnTo>
                <a:lnTo>
                  <a:pt x="438" y="488"/>
                </a:lnTo>
                <a:lnTo>
                  <a:pt x="497" y="527"/>
                </a:lnTo>
                <a:lnTo>
                  <a:pt x="546" y="556"/>
                </a:lnTo>
                <a:lnTo>
                  <a:pt x="595" y="595"/>
                </a:lnTo>
                <a:lnTo>
                  <a:pt x="643" y="634"/>
                </a:lnTo>
                <a:lnTo>
                  <a:pt x="663" y="634"/>
                </a:lnTo>
                <a:lnTo>
                  <a:pt x="682" y="634"/>
                </a:lnTo>
                <a:lnTo>
                  <a:pt x="702" y="634"/>
                </a:lnTo>
                <a:lnTo>
                  <a:pt x="721" y="624"/>
                </a:lnTo>
                <a:lnTo>
                  <a:pt x="741" y="614"/>
                </a:lnTo>
                <a:lnTo>
                  <a:pt x="751" y="614"/>
                </a:lnTo>
                <a:lnTo>
                  <a:pt x="760" y="595"/>
                </a:lnTo>
                <a:lnTo>
                  <a:pt x="770" y="595"/>
                </a:lnTo>
                <a:lnTo>
                  <a:pt x="790" y="595"/>
                </a:lnTo>
                <a:lnTo>
                  <a:pt x="799" y="605"/>
                </a:lnTo>
                <a:lnTo>
                  <a:pt x="819" y="605"/>
                </a:lnTo>
                <a:lnTo>
                  <a:pt x="819" y="595"/>
                </a:lnTo>
                <a:lnTo>
                  <a:pt x="838" y="585"/>
                </a:lnTo>
                <a:lnTo>
                  <a:pt x="848" y="575"/>
                </a:lnTo>
                <a:lnTo>
                  <a:pt x="858" y="575"/>
                </a:lnTo>
                <a:lnTo>
                  <a:pt x="887" y="575"/>
                </a:lnTo>
                <a:lnTo>
                  <a:pt x="897" y="585"/>
                </a:lnTo>
                <a:lnTo>
                  <a:pt x="907" y="575"/>
                </a:lnTo>
                <a:lnTo>
                  <a:pt x="916" y="556"/>
                </a:lnTo>
                <a:lnTo>
                  <a:pt x="916" y="536"/>
                </a:lnTo>
                <a:lnTo>
                  <a:pt x="907" y="517"/>
                </a:lnTo>
                <a:lnTo>
                  <a:pt x="916" y="507"/>
                </a:lnTo>
                <a:lnTo>
                  <a:pt x="936" y="517"/>
                </a:lnTo>
                <a:lnTo>
                  <a:pt x="946" y="517"/>
                </a:lnTo>
                <a:lnTo>
                  <a:pt x="946" y="507"/>
                </a:lnTo>
                <a:lnTo>
                  <a:pt x="926" y="497"/>
                </a:lnTo>
                <a:lnTo>
                  <a:pt x="946" y="497"/>
                </a:lnTo>
                <a:lnTo>
                  <a:pt x="926" y="478"/>
                </a:lnTo>
                <a:lnTo>
                  <a:pt x="926" y="458"/>
                </a:lnTo>
                <a:lnTo>
                  <a:pt x="916" y="458"/>
                </a:lnTo>
                <a:lnTo>
                  <a:pt x="916" y="439"/>
                </a:lnTo>
                <a:lnTo>
                  <a:pt x="877" y="410"/>
                </a:lnTo>
                <a:lnTo>
                  <a:pt x="848" y="380"/>
                </a:lnTo>
                <a:lnTo>
                  <a:pt x="848" y="371"/>
                </a:lnTo>
                <a:lnTo>
                  <a:pt x="829" y="361"/>
                </a:lnTo>
                <a:lnTo>
                  <a:pt x="819" y="361"/>
                </a:lnTo>
                <a:lnTo>
                  <a:pt x="809" y="371"/>
                </a:lnTo>
                <a:lnTo>
                  <a:pt x="799" y="361"/>
                </a:lnTo>
                <a:lnTo>
                  <a:pt x="780" y="371"/>
                </a:lnTo>
                <a:lnTo>
                  <a:pt x="780" y="390"/>
                </a:lnTo>
                <a:lnTo>
                  <a:pt x="780" y="400"/>
                </a:lnTo>
                <a:lnTo>
                  <a:pt x="770" y="410"/>
                </a:lnTo>
                <a:lnTo>
                  <a:pt x="770" y="419"/>
                </a:lnTo>
                <a:lnTo>
                  <a:pt x="780" y="429"/>
                </a:lnTo>
                <a:lnTo>
                  <a:pt x="770" y="439"/>
                </a:lnTo>
                <a:lnTo>
                  <a:pt x="770" y="449"/>
                </a:lnTo>
                <a:lnTo>
                  <a:pt x="731" y="458"/>
                </a:lnTo>
                <a:lnTo>
                  <a:pt x="721" y="439"/>
                </a:lnTo>
                <a:lnTo>
                  <a:pt x="712" y="439"/>
                </a:lnTo>
                <a:lnTo>
                  <a:pt x="702" y="449"/>
                </a:lnTo>
                <a:lnTo>
                  <a:pt x="702" y="458"/>
                </a:lnTo>
                <a:lnTo>
                  <a:pt x="702" y="468"/>
                </a:lnTo>
                <a:lnTo>
                  <a:pt x="682" y="468"/>
                </a:lnTo>
                <a:lnTo>
                  <a:pt x="673" y="458"/>
                </a:lnTo>
                <a:lnTo>
                  <a:pt x="673" y="449"/>
                </a:lnTo>
                <a:lnTo>
                  <a:pt x="673" y="429"/>
                </a:lnTo>
                <a:lnTo>
                  <a:pt x="692" y="429"/>
                </a:lnTo>
                <a:lnTo>
                  <a:pt x="702" y="429"/>
                </a:lnTo>
                <a:lnTo>
                  <a:pt x="702" y="419"/>
                </a:lnTo>
                <a:lnTo>
                  <a:pt x="702" y="400"/>
                </a:lnTo>
                <a:lnTo>
                  <a:pt x="712" y="400"/>
                </a:lnTo>
                <a:lnTo>
                  <a:pt x="702" y="390"/>
                </a:lnTo>
                <a:lnTo>
                  <a:pt x="682" y="380"/>
                </a:lnTo>
                <a:lnTo>
                  <a:pt x="673" y="380"/>
                </a:lnTo>
                <a:lnTo>
                  <a:pt x="673" y="400"/>
                </a:lnTo>
                <a:lnTo>
                  <a:pt x="663" y="400"/>
                </a:lnTo>
                <a:lnTo>
                  <a:pt x="663" y="390"/>
                </a:lnTo>
                <a:lnTo>
                  <a:pt x="653" y="390"/>
                </a:lnTo>
                <a:lnTo>
                  <a:pt x="643" y="400"/>
                </a:lnTo>
                <a:lnTo>
                  <a:pt x="643" y="390"/>
                </a:lnTo>
                <a:lnTo>
                  <a:pt x="634" y="390"/>
                </a:lnTo>
                <a:lnTo>
                  <a:pt x="624" y="400"/>
                </a:lnTo>
                <a:lnTo>
                  <a:pt x="614" y="390"/>
                </a:lnTo>
                <a:lnTo>
                  <a:pt x="604" y="380"/>
                </a:lnTo>
                <a:lnTo>
                  <a:pt x="595" y="371"/>
                </a:lnTo>
                <a:lnTo>
                  <a:pt x="585" y="361"/>
                </a:lnTo>
                <a:lnTo>
                  <a:pt x="575" y="351"/>
                </a:lnTo>
                <a:lnTo>
                  <a:pt x="565" y="351"/>
                </a:lnTo>
                <a:lnTo>
                  <a:pt x="546" y="341"/>
                </a:lnTo>
                <a:lnTo>
                  <a:pt x="526" y="341"/>
                </a:lnTo>
                <a:lnTo>
                  <a:pt x="517" y="351"/>
                </a:lnTo>
                <a:lnTo>
                  <a:pt x="507" y="361"/>
                </a:lnTo>
                <a:lnTo>
                  <a:pt x="497" y="361"/>
                </a:lnTo>
                <a:lnTo>
                  <a:pt x="497" y="341"/>
                </a:lnTo>
                <a:lnTo>
                  <a:pt x="478" y="341"/>
                </a:lnTo>
                <a:lnTo>
                  <a:pt x="468" y="332"/>
                </a:lnTo>
                <a:lnTo>
                  <a:pt x="458" y="312"/>
                </a:lnTo>
                <a:lnTo>
                  <a:pt x="468" y="312"/>
                </a:lnTo>
                <a:lnTo>
                  <a:pt x="478" y="312"/>
                </a:lnTo>
                <a:lnTo>
                  <a:pt x="487" y="322"/>
                </a:lnTo>
                <a:lnTo>
                  <a:pt x="497" y="312"/>
                </a:lnTo>
                <a:lnTo>
                  <a:pt x="497" y="302"/>
                </a:lnTo>
                <a:lnTo>
                  <a:pt x="517" y="283"/>
                </a:lnTo>
                <a:lnTo>
                  <a:pt x="517" y="273"/>
                </a:lnTo>
                <a:lnTo>
                  <a:pt x="536" y="283"/>
                </a:lnTo>
                <a:lnTo>
                  <a:pt x="546" y="283"/>
                </a:lnTo>
                <a:lnTo>
                  <a:pt x="526" y="263"/>
                </a:lnTo>
                <a:lnTo>
                  <a:pt x="507" y="253"/>
                </a:lnTo>
                <a:lnTo>
                  <a:pt x="458" y="253"/>
                </a:lnTo>
                <a:lnTo>
                  <a:pt x="448" y="253"/>
                </a:lnTo>
                <a:lnTo>
                  <a:pt x="458" y="263"/>
                </a:lnTo>
                <a:lnTo>
                  <a:pt x="448" y="263"/>
                </a:lnTo>
                <a:lnTo>
                  <a:pt x="458" y="283"/>
                </a:lnTo>
                <a:lnTo>
                  <a:pt x="448" y="283"/>
                </a:lnTo>
                <a:lnTo>
                  <a:pt x="438" y="283"/>
                </a:lnTo>
                <a:lnTo>
                  <a:pt x="419" y="283"/>
                </a:lnTo>
                <a:lnTo>
                  <a:pt x="438" y="273"/>
                </a:lnTo>
                <a:lnTo>
                  <a:pt x="438" y="253"/>
                </a:lnTo>
                <a:lnTo>
                  <a:pt x="419" y="253"/>
                </a:lnTo>
                <a:lnTo>
                  <a:pt x="409" y="244"/>
                </a:lnTo>
                <a:lnTo>
                  <a:pt x="390" y="244"/>
                </a:lnTo>
                <a:lnTo>
                  <a:pt x="380" y="234"/>
                </a:lnTo>
                <a:lnTo>
                  <a:pt x="360" y="234"/>
                </a:lnTo>
                <a:lnTo>
                  <a:pt x="321" y="234"/>
                </a:lnTo>
                <a:lnTo>
                  <a:pt x="292" y="234"/>
                </a:lnTo>
                <a:lnTo>
                  <a:pt x="273" y="224"/>
                </a:lnTo>
                <a:lnTo>
                  <a:pt x="273" y="214"/>
                </a:lnTo>
                <a:lnTo>
                  <a:pt x="263" y="224"/>
                </a:lnTo>
                <a:lnTo>
                  <a:pt x="263" y="234"/>
                </a:lnTo>
                <a:lnTo>
                  <a:pt x="243" y="224"/>
                </a:lnTo>
                <a:lnTo>
                  <a:pt x="234" y="214"/>
                </a:lnTo>
                <a:lnTo>
                  <a:pt x="214" y="214"/>
                </a:lnTo>
                <a:lnTo>
                  <a:pt x="214" y="224"/>
                </a:lnTo>
                <a:lnTo>
                  <a:pt x="175" y="234"/>
                </a:lnTo>
                <a:lnTo>
                  <a:pt x="175" y="253"/>
                </a:lnTo>
                <a:lnTo>
                  <a:pt x="156" y="253"/>
                </a:lnTo>
                <a:lnTo>
                  <a:pt x="146" y="253"/>
                </a:lnTo>
                <a:lnTo>
                  <a:pt x="107" y="234"/>
                </a:lnTo>
                <a:lnTo>
                  <a:pt x="107" y="224"/>
                </a:lnTo>
                <a:lnTo>
                  <a:pt x="87" y="205"/>
                </a:lnTo>
                <a:lnTo>
                  <a:pt x="97" y="195"/>
                </a:lnTo>
                <a:lnTo>
                  <a:pt x="97" y="185"/>
                </a:lnTo>
                <a:lnTo>
                  <a:pt x="107" y="175"/>
                </a:lnTo>
                <a:lnTo>
                  <a:pt x="107" y="156"/>
                </a:lnTo>
                <a:lnTo>
                  <a:pt x="107" y="146"/>
                </a:lnTo>
                <a:lnTo>
                  <a:pt x="117" y="136"/>
                </a:lnTo>
                <a:lnTo>
                  <a:pt x="136" y="136"/>
                </a:lnTo>
                <a:lnTo>
                  <a:pt x="146" y="127"/>
                </a:lnTo>
                <a:lnTo>
                  <a:pt x="156" y="127"/>
                </a:lnTo>
                <a:lnTo>
                  <a:pt x="175" y="136"/>
                </a:lnTo>
                <a:lnTo>
                  <a:pt x="185" y="146"/>
                </a:lnTo>
                <a:lnTo>
                  <a:pt x="195" y="166"/>
                </a:lnTo>
                <a:lnTo>
                  <a:pt x="204" y="146"/>
                </a:lnTo>
                <a:lnTo>
                  <a:pt x="214" y="136"/>
                </a:lnTo>
                <a:lnTo>
                  <a:pt x="224" y="117"/>
                </a:lnTo>
                <a:lnTo>
                  <a:pt x="214" y="97"/>
                </a:lnTo>
                <a:lnTo>
                  <a:pt x="224" y="88"/>
                </a:lnTo>
                <a:lnTo>
                  <a:pt x="224" y="78"/>
                </a:lnTo>
                <a:lnTo>
                  <a:pt x="224" y="58"/>
                </a:lnTo>
                <a:lnTo>
                  <a:pt x="214" y="49"/>
                </a:lnTo>
                <a:lnTo>
                  <a:pt x="195" y="29"/>
                </a:lnTo>
                <a:lnTo>
                  <a:pt x="185" y="19"/>
                </a:lnTo>
                <a:lnTo>
                  <a:pt x="185" y="0"/>
                </a:lnTo>
                <a:lnTo>
                  <a:pt x="175" y="0"/>
                </a:lnTo>
                <a:lnTo>
                  <a:pt x="165" y="10"/>
                </a:lnTo>
                <a:lnTo>
                  <a:pt x="165" y="29"/>
                </a:lnTo>
                <a:lnTo>
                  <a:pt x="165" y="49"/>
                </a:lnTo>
                <a:lnTo>
                  <a:pt x="156" y="58"/>
                </a:lnTo>
                <a:lnTo>
                  <a:pt x="136" y="58"/>
                </a:lnTo>
                <a:lnTo>
                  <a:pt x="126" y="68"/>
                </a:lnTo>
                <a:lnTo>
                  <a:pt x="136" y="78"/>
                </a:lnTo>
                <a:lnTo>
                  <a:pt x="117" y="78"/>
                </a:lnTo>
                <a:lnTo>
                  <a:pt x="107" y="88"/>
                </a:lnTo>
                <a:lnTo>
                  <a:pt x="97" y="88"/>
                </a:lnTo>
                <a:lnTo>
                  <a:pt x="78" y="97"/>
                </a:lnTo>
                <a:lnTo>
                  <a:pt x="68" y="107"/>
                </a:lnTo>
                <a:lnTo>
                  <a:pt x="58" y="107"/>
                </a:lnTo>
                <a:lnTo>
                  <a:pt x="58" y="117"/>
                </a:lnTo>
                <a:lnTo>
                  <a:pt x="68" y="127"/>
                </a:lnTo>
                <a:lnTo>
                  <a:pt x="58" y="136"/>
                </a:lnTo>
                <a:lnTo>
                  <a:pt x="58" y="156"/>
                </a:lnTo>
                <a:lnTo>
                  <a:pt x="48" y="166"/>
                </a:lnTo>
                <a:lnTo>
                  <a:pt x="39" y="166"/>
                </a:lnTo>
                <a:lnTo>
                  <a:pt x="29" y="175"/>
                </a:lnTo>
                <a:lnTo>
                  <a:pt x="19" y="185"/>
                </a:lnTo>
                <a:lnTo>
                  <a:pt x="0" y="185"/>
                </a:lnTo>
                <a:lnTo>
                  <a:pt x="9" y="214"/>
                </a:lnTo>
                <a:lnTo>
                  <a:pt x="19" y="253"/>
                </a:lnTo>
                <a:lnTo>
                  <a:pt x="29" y="273"/>
                </a:lnTo>
                <a:lnTo>
                  <a:pt x="29" y="302"/>
                </a:lnTo>
                <a:lnTo>
                  <a:pt x="39" y="322"/>
                </a:lnTo>
                <a:lnTo>
                  <a:pt x="48" y="322"/>
                </a:lnTo>
                <a:lnTo>
                  <a:pt x="68" y="341"/>
                </a:lnTo>
                <a:lnTo>
                  <a:pt x="97" y="332"/>
                </a:lnTo>
                <a:lnTo>
                  <a:pt x="117" y="351"/>
                </a:lnTo>
                <a:lnTo>
                  <a:pt x="136" y="36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en-US" sz="1100">
              <a:latin typeface="Polo" pitchFamily="2" charset="0"/>
              <a:cs typeface="+mn-cs"/>
            </a:endParaRPr>
          </a:p>
        </p:txBody>
      </p:sp>
      <p:sp>
        <p:nvSpPr>
          <p:cNvPr id="272" name="Freeform 76"/>
          <p:cNvSpPr>
            <a:spLocks/>
          </p:cNvSpPr>
          <p:nvPr>
            <p:custDataLst>
              <p:tags r:id="rId200"/>
            </p:custDataLst>
          </p:nvPr>
        </p:nvSpPr>
        <p:spPr bwMode="auto">
          <a:xfrm>
            <a:off x="2168525" y="4632325"/>
            <a:ext cx="117475" cy="87313"/>
          </a:xfrm>
          <a:custGeom>
            <a:avLst/>
            <a:gdLst/>
            <a:ahLst/>
            <a:cxnLst>
              <a:cxn ang="0">
                <a:pos x="68" y="137"/>
              </a:cxn>
              <a:cxn ang="0">
                <a:pos x="97" y="127"/>
              </a:cxn>
              <a:cxn ang="0">
                <a:pos x="107" y="127"/>
              </a:cxn>
              <a:cxn ang="0">
                <a:pos x="146" y="127"/>
              </a:cxn>
              <a:cxn ang="0">
                <a:pos x="146" y="108"/>
              </a:cxn>
              <a:cxn ang="0">
                <a:pos x="146" y="98"/>
              </a:cxn>
              <a:cxn ang="0">
                <a:pos x="136" y="88"/>
              </a:cxn>
              <a:cxn ang="0">
                <a:pos x="136" y="79"/>
              </a:cxn>
              <a:cxn ang="0">
                <a:pos x="136" y="79"/>
              </a:cxn>
              <a:cxn ang="0">
                <a:pos x="156" y="79"/>
              </a:cxn>
              <a:cxn ang="0">
                <a:pos x="175" y="79"/>
              </a:cxn>
              <a:cxn ang="0">
                <a:pos x="175" y="59"/>
              </a:cxn>
              <a:cxn ang="0">
                <a:pos x="165" y="49"/>
              </a:cxn>
              <a:cxn ang="0">
                <a:pos x="156" y="49"/>
              </a:cxn>
              <a:cxn ang="0">
                <a:pos x="146" y="30"/>
              </a:cxn>
              <a:cxn ang="0">
                <a:pos x="146" y="10"/>
              </a:cxn>
              <a:cxn ang="0">
                <a:pos x="126" y="10"/>
              </a:cxn>
              <a:cxn ang="0">
                <a:pos x="126" y="30"/>
              </a:cxn>
              <a:cxn ang="0">
                <a:pos x="97" y="30"/>
              </a:cxn>
              <a:cxn ang="0">
                <a:pos x="87" y="40"/>
              </a:cxn>
              <a:cxn ang="0">
                <a:pos x="78" y="30"/>
              </a:cxn>
              <a:cxn ang="0">
                <a:pos x="87" y="10"/>
              </a:cxn>
              <a:cxn ang="0">
                <a:pos x="68" y="0"/>
              </a:cxn>
              <a:cxn ang="0">
                <a:pos x="48" y="0"/>
              </a:cxn>
              <a:cxn ang="0">
                <a:pos x="29" y="0"/>
              </a:cxn>
              <a:cxn ang="0">
                <a:pos x="0" y="20"/>
              </a:cxn>
              <a:cxn ang="0">
                <a:pos x="9" y="40"/>
              </a:cxn>
              <a:cxn ang="0">
                <a:pos x="19" y="59"/>
              </a:cxn>
              <a:cxn ang="0">
                <a:pos x="29" y="79"/>
              </a:cxn>
              <a:cxn ang="0">
                <a:pos x="29" y="98"/>
              </a:cxn>
              <a:cxn ang="0">
                <a:pos x="39" y="108"/>
              </a:cxn>
              <a:cxn ang="0">
                <a:pos x="48" y="108"/>
              </a:cxn>
              <a:cxn ang="0">
                <a:pos x="58" y="118"/>
              </a:cxn>
              <a:cxn ang="0">
                <a:pos x="68" y="137"/>
              </a:cxn>
            </a:cxnLst>
            <a:rect l="0" t="0" r="r" b="b"/>
            <a:pathLst>
              <a:path w="175" h="137">
                <a:moveTo>
                  <a:pt x="68" y="137"/>
                </a:moveTo>
                <a:lnTo>
                  <a:pt x="97" y="127"/>
                </a:lnTo>
                <a:lnTo>
                  <a:pt x="107" y="127"/>
                </a:lnTo>
                <a:lnTo>
                  <a:pt x="146" y="127"/>
                </a:lnTo>
                <a:lnTo>
                  <a:pt x="146" y="108"/>
                </a:lnTo>
                <a:lnTo>
                  <a:pt x="146" y="98"/>
                </a:lnTo>
                <a:lnTo>
                  <a:pt x="136" y="88"/>
                </a:lnTo>
                <a:lnTo>
                  <a:pt x="136" y="79"/>
                </a:lnTo>
                <a:lnTo>
                  <a:pt x="156" y="79"/>
                </a:lnTo>
                <a:lnTo>
                  <a:pt x="175" y="79"/>
                </a:lnTo>
                <a:lnTo>
                  <a:pt x="175" y="59"/>
                </a:lnTo>
                <a:lnTo>
                  <a:pt x="165" y="49"/>
                </a:lnTo>
                <a:lnTo>
                  <a:pt x="156" y="49"/>
                </a:lnTo>
                <a:lnTo>
                  <a:pt x="146" y="30"/>
                </a:lnTo>
                <a:lnTo>
                  <a:pt x="146" y="10"/>
                </a:lnTo>
                <a:lnTo>
                  <a:pt x="126" y="10"/>
                </a:lnTo>
                <a:lnTo>
                  <a:pt x="126" y="30"/>
                </a:lnTo>
                <a:lnTo>
                  <a:pt x="97" y="30"/>
                </a:lnTo>
                <a:lnTo>
                  <a:pt x="87" y="40"/>
                </a:lnTo>
                <a:lnTo>
                  <a:pt x="78" y="30"/>
                </a:lnTo>
                <a:lnTo>
                  <a:pt x="87" y="10"/>
                </a:lnTo>
                <a:lnTo>
                  <a:pt x="68" y="0"/>
                </a:lnTo>
                <a:lnTo>
                  <a:pt x="48" y="0"/>
                </a:lnTo>
                <a:lnTo>
                  <a:pt x="29" y="0"/>
                </a:lnTo>
                <a:lnTo>
                  <a:pt x="0" y="20"/>
                </a:lnTo>
                <a:lnTo>
                  <a:pt x="9" y="40"/>
                </a:lnTo>
                <a:lnTo>
                  <a:pt x="19" y="59"/>
                </a:lnTo>
                <a:lnTo>
                  <a:pt x="29" y="79"/>
                </a:lnTo>
                <a:lnTo>
                  <a:pt x="29" y="98"/>
                </a:lnTo>
                <a:lnTo>
                  <a:pt x="39" y="108"/>
                </a:lnTo>
                <a:lnTo>
                  <a:pt x="48" y="108"/>
                </a:lnTo>
                <a:lnTo>
                  <a:pt x="58" y="118"/>
                </a:lnTo>
                <a:lnTo>
                  <a:pt x="68" y="13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en-US" sz="1100">
              <a:latin typeface="Polo" pitchFamily="2" charset="0"/>
              <a:cs typeface="+mn-cs"/>
            </a:endParaRPr>
          </a:p>
        </p:txBody>
      </p:sp>
      <p:sp>
        <p:nvSpPr>
          <p:cNvPr id="18635" name="Freeform 75"/>
          <p:cNvSpPr>
            <a:spLocks noChangeAspect="1"/>
          </p:cNvSpPr>
          <p:nvPr>
            <p:custDataLst>
              <p:tags r:id="rId201"/>
            </p:custDataLst>
          </p:nvPr>
        </p:nvSpPr>
        <p:spPr bwMode="auto">
          <a:xfrm>
            <a:off x="3484563" y="4133850"/>
            <a:ext cx="144462" cy="201613"/>
          </a:xfrm>
          <a:custGeom>
            <a:avLst/>
            <a:gdLst>
              <a:gd name="T0" fmla="*/ 38971 w 215"/>
              <a:gd name="T1" fmla="*/ 98302 h 322"/>
              <a:gd name="T2" fmla="*/ 45690 w 215"/>
              <a:gd name="T3" fmla="*/ 98302 h 322"/>
              <a:gd name="T4" fmla="*/ 59129 w 215"/>
              <a:gd name="T5" fmla="*/ 85779 h 322"/>
              <a:gd name="T6" fmla="*/ 65176 w 215"/>
              <a:gd name="T7" fmla="*/ 79518 h 322"/>
              <a:gd name="T8" fmla="*/ 65176 w 215"/>
              <a:gd name="T9" fmla="*/ 67621 h 322"/>
              <a:gd name="T10" fmla="*/ 52409 w 215"/>
              <a:gd name="T11" fmla="*/ 67621 h 322"/>
              <a:gd name="T12" fmla="*/ 38971 w 215"/>
              <a:gd name="T13" fmla="*/ 48838 h 322"/>
              <a:gd name="T14" fmla="*/ 32924 w 215"/>
              <a:gd name="T15" fmla="*/ 43203 h 322"/>
              <a:gd name="T16" fmla="*/ 45690 w 215"/>
              <a:gd name="T17" fmla="*/ 36941 h 322"/>
              <a:gd name="T18" fmla="*/ 45690 w 215"/>
              <a:gd name="T19" fmla="*/ 12522 h 322"/>
              <a:gd name="T20" fmla="*/ 52409 w 215"/>
              <a:gd name="T21" fmla="*/ 0 h 322"/>
              <a:gd name="T22" fmla="*/ 65176 w 215"/>
              <a:gd name="T23" fmla="*/ 6261 h 322"/>
              <a:gd name="T24" fmla="*/ 71895 w 215"/>
              <a:gd name="T25" fmla="*/ 6261 h 322"/>
              <a:gd name="T26" fmla="*/ 78614 w 215"/>
              <a:gd name="T27" fmla="*/ 12522 h 322"/>
              <a:gd name="T28" fmla="*/ 91381 w 215"/>
              <a:gd name="T29" fmla="*/ 6261 h 322"/>
              <a:gd name="T30" fmla="*/ 111538 w 215"/>
              <a:gd name="T31" fmla="*/ 18784 h 322"/>
              <a:gd name="T32" fmla="*/ 104819 w 215"/>
              <a:gd name="T33" fmla="*/ 30680 h 322"/>
              <a:gd name="T34" fmla="*/ 111538 w 215"/>
              <a:gd name="T35" fmla="*/ 43203 h 322"/>
              <a:gd name="T36" fmla="*/ 124305 w 215"/>
              <a:gd name="T37" fmla="*/ 36941 h 322"/>
              <a:gd name="T38" fmla="*/ 144462 w 215"/>
              <a:gd name="T39" fmla="*/ 67621 h 322"/>
              <a:gd name="T40" fmla="*/ 144462 w 215"/>
              <a:gd name="T41" fmla="*/ 79518 h 322"/>
              <a:gd name="T42" fmla="*/ 137743 w 215"/>
              <a:gd name="T43" fmla="*/ 79518 h 322"/>
              <a:gd name="T44" fmla="*/ 131024 w 215"/>
              <a:gd name="T45" fmla="*/ 85779 h 322"/>
              <a:gd name="T46" fmla="*/ 124305 w 215"/>
              <a:gd name="T47" fmla="*/ 92040 h 322"/>
              <a:gd name="T48" fmla="*/ 131024 w 215"/>
              <a:gd name="T49" fmla="*/ 98302 h 322"/>
              <a:gd name="T50" fmla="*/ 124305 w 215"/>
              <a:gd name="T51" fmla="*/ 110824 h 322"/>
              <a:gd name="T52" fmla="*/ 124305 w 215"/>
              <a:gd name="T53" fmla="*/ 117085 h 322"/>
              <a:gd name="T54" fmla="*/ 124305 w 215"/>
              <a:gd name="T55" fmla="*/ 123346 h 322"/>
              <a:gd name="T56" fmla="*/ 118257 w 215"/>
              <a:gd name="T57" fmla="*/ 128982 h 322"/>
              <a:gd name="T58" fmla="*/ 111538 w 215"/>
              <a:gd name="T59" fmla="*/ 123346 h 322"/>
              <a:gd name="T60" fmla="*/ 111538 w 215"/>
              <a:gd name="T61" fmla="*/ 128982 h 322"/>
              <a:gd name="T62" fmla="*/ 104819 w 215"/>
              <a:gd name="T63" fmla="*/ 135243 h 322"/>
              <a:gd name="T64" fmla="*/ 104819 w 215"/>
              <a:gd name="T65" fmla="*/ 141504 h 322"/>
              <a:gd name="T66" fmla="*/ 98100 w 215"/>
              <a:gd name="T67" fmla="*/ 147765 h 322"/>
              <a:gd name="T68" fmla="*/ 91381 w 215"/>
              <a:gd name="T69" fmla="*/ 147765 h 322"/>
              <a:gd name="T70" fmla="*/ 91381 w 215"/>
              <a:gd name="T71" fmla="*/ 153400 h 322"/>
              <a:gd name="T72" fmla="*/ 91381 w 215"/>
              <a:gd name="T73" fmla="*/ 159662 h 322"/>
              <a:gd name="T74" fmla="*/ 85333 w 215"/>
              <a:gd name="T75" fmla="*/ 165923 h 322"/>
              <a:gd name="T76" fmla="*/ 85333 w 215"/>
              <a:gd name="T77" fmla="*/ 172184 h 322"/>
              <a:gd name="T78" fmla="*/ 98100 w 215"/>
              <a:gd name="T79" fmla="*/ 184081 h 322"/>
              <a:gd name="T80" fmla="*/ 98100 w 215"/>
              <a:gd name="T81" fmla="*/ 190342 h 322"/>
              <a:gd name="T82" fmla="*/ 98100 w 215"/>
              <a:gd name="T83" fmla="*/ 196603 h 322"/>
              <a:gd name="T84" fmla="*/ 91381 w 215"/>
              <a:gd name="T85" fmla="*/ 202238 h 322"/>
              <a:gd name="T86" fmla="*/ 85333 w 215"/>
              <a:gd name="T87" fmla="*/ 196603 h 322"/>
              <a:gd name="T88" fmla="*/ 71895 w 215"/>
              <a:gd name="T89" fmla="*/ 196603 h 322"/>
              <a:gd name="T90" fmla="*/ 52409 w 215"/>
              <a:gd name="T91" fmla="*/ 196603 h 322"/>
              <a:gd name="T92" fmla="*/ 38971 w 215"/>
              <a:gd name="T93" fmla="*/ 177819 h 322"/>
              <a:gd name="T94" fmla="*/ 32924 w 215"/>
              <a:gd name="T95" fmla="*/ 184081 h 322"/>
              <a:gd name="T96" fmla="*/ 32924 w 215"/>
              <a:gd name="T97" fmla="*/ 190342 h 322"/>
              <a:gd name="T98" fmla="*/ 12766 w 215"/>
              <a:gd name="T99" fmla="*/ 190342 h 322"/>
              <a:gd name="T100" fmla="*/ 6719 w 215"/>
              <a:gd name="T101" fmla="*/ 184081 h 322"/>
              <a:gd name="T102" fmla="*/ 0 w 215"/>
              <a:gd name="T103" fmla="*/ 165923 h 322"/>
              <a:gd name="T104" fmla="*/ 0 w 215"/>
              <a:gd name="T105" fmla="*/ 153400 h 322"/>
              <a:gd name="T106" fmla="*/ 6719 w 215"/>
              <a:gd name="T107" fmla="*/ 141504 h 322"/>
              <a:gd name="T108" fmla="*/ 12766 w 215"/>
              <a:gd name="T109" fmla="*/ 135243 h 322"/>
              <a:gd name="T110" fmla="*/ 6719 w 215"/>
              <a:gd name="T111" fmla="*/ 128982 h 322"/>
              <a:gd name="T112" fmla="*/ 6719 w 215"/>
              <a:gd name="T113" fmla="*/ 123346 h 322"/>
              <a:gd name="T114" fmla="*/ 12766 w 215"/>
              <a:gd name="T115" fmla="*/ 117085 h 322"/>
              <a:gd name="T116" fmla="*/ 38971 w 215"/>
              <a:gd name="T117" fmla="*/ 98302 h 322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215"/>
              <a:gd name="T178" fmla="*/ 0 h 322"/>
              <a:gd name="T179" fmla="*/ 215 w 215"/>
              <a:gd name="T180" fmla="*/ 322 h 322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215" h="322">
                <a:moveTo>
                  <a:pt x="58" y="157"/>
                </a:moveTo>
                <a:lnTo>
                  <a:pt x="68" y="157"/>
                </a:lnTo>
                <a:lnTo>
                  <a:pt x="88" y="137"/>
                </a:lnTo>
                <a:lnTo>
                  <a:pt x="97" y="127"/>
                </a:lnTo>
                <a:lnTo>
                  <a:pt x="97" y="108"/>
                </a:lnTo>
                <a:lnTo>
                  <a:pt x="78" y="108"/>
                </a:lnTo>
                <a:lnTo>
                  <a:pt x="58" y="78"/>
                </a:lnTo>
                <a:lnTo>
                  <a:pt x="49" y="69"/>
                </a:lnTo>
                <a:lnTo>
                  <a:pt x="68" y="59"/>
                </a:lnTo>
                <a:lnTo>
                  <a:pt x="68" y="20"/>
                </a:lnTo>
                <a:lnTo>
                  <a:pt x="78" y="0"/>
                </a:lnTo>
                <a:lnTo>
                  <a:pt x="97" y="10"/>
                </a:lnTo>
                <a:lnTo>
                  <a:pt x="107" y="10"/>
                </a:lnTo>
                <a:lnTo>
                  <a:pt x="117" y="20"/>
                </a:lnTo>
                <a:lnTo>
                  <a:pt x="136" y="10"/>
                </a:lnTo>
                <a:lnTo>
                  <a:pt x="166" y="30"/>
                </a:lnTo>
                <a:lnTo>
                  <a:pt x="156" y="49"/>
                </a:lnTo>
                <a:lnTo>
                  <a:pt x="166" y="69"/>
                </a:lnTo>
                <a:lnTo>
                  <a:pt x="185" y="59"/>
                </a:lnTo>
                <a:lnTo>
                  <a:pt x="215" y="108"/>
                </a:lnTo>
                <a:lnTo>
                  <a:pt x="215" y="127"/>
                </a:lnTo>
                <a:lnTo>
                  <a:pt x="205" y="127"/>
                </a:lnTo>
                <a:lnTo>
                  <a:pt x="195" y="137"/>
                </a:lnTo>
                <a:lnTo>
                  <a:pt x="185" y="147"/>
                </a:lnTo>
                <a:lnTo>
                  <a:pt x="195" y="157"/>
                </a:lnTo>
                <a:lnTo>
                  <a:pt x="185" y="176"/>
                </a:lnTo>
                <a:lnTo>
                  <a:pt x="185" y="186"/>
                </a:lnTo>
                <a:lnTo>
                  <a:pt x="185" y="196"/>
                </a:lnTo>
                <a:lnTo>
                  <a:pt x="176" y="205"/>
                </a:lnTo>
                <a:lnTo>
                  <a:pt x="166" y="196"/>
                </a:lnTo>
                <a:lnTo>
                  <a:pt x="166" y="205"/>
                </a:lnTo>
                <a:lnTo>
                  <a:pt x="156" y="215"/>
                </a:lnTo>
                <a:lnTo>
                  <a:pt x="156" y="225"/>
                </a:lnTo>
                <a:lnTo>
                  <a:pt x="146" y="235"/>
                </a:lnTo>
                <a:lnTo>
                  <a:pt x="136" y="235"/>
                </a:lnTo>
                <a:lnTo>
                  <a:pt x="136" y="244"/>
                </a:lnTo>
                <a:lnTo>
                  <a:pt x="136" y="254"/>
                </a:lnTo>
                <a:lnTo>
                  <a:pt x="127" y="264"/>
                </a:lnTo>
                <a:lnTo>
                  <a:pt x="127" y="274"/>
                </a:lnTo>
                <a:lnTo>
                  <a:pt x="146" y="293"/>
                </a:lnTo>
                <a:lnTo>
                  <a:pt x="146" y="303"/>
                </a:lnTo>
                <a:lnTo>
                  <a:pt x="146" y="313"/>
                </a:lnTo>
                <a:lnTo>
                  <a:pt x="136" y="322"/>
                </a:lnTo>
                <a:lnTo>
                  <a:pt x="127" y="313"/>
                </a:lnTo>
                <a:lnTo>
                  <a:pt x="107" y="313"/>
                </a:lnTo>
                <a:lnTo>
                  <a:pt x="78" y="313"/>
                </a:lnTo>
                <a:lnTo>
                  <a:pt x="58" y="283"/>
                </a:lnTo>
                <a:lnTo>
                  <a:pt x="49" y="293"/>
                </a:lnTo>
                <a:lnTo>
                  <a:pt x="49" y="303"/>
                </a:lnTo>
                <a:lnTo>
                  <a:pt x="19" y="303"/>
                </a:lnTo>
                <a:lnTo>
                  <a:pt x="10" y="293"/>
                </a:lnTo>
                <a:lnTo>
                  <a:pt x="0" y="264"/>
                </a:lnTo>
                <a:lnTo>
                  <a:pt x="0" y="244"/>
                </a:lnTo>
                <a:lnTo>
                  <a:pt x="10" y="225"/>
                </a:lnTo>
                <a:lnTo>
                  <a:pt x="19" y="215"/>
                </a:lnTo>
                <a:lnTo>
                  <a:pt x="10" y="205"/>
                </a:lnTo>
                <a:lnTo>
                  <a:pt x="10" y="196"/>
                </a:lnTo>
                <a:lnTo>
                  <a:pt x="19" y="186"/>
                </a:lnTo>
                <a:lnTo>
                  <a:pt x="58" y="157"/>
                </a:lnTo>
                <a:close/>
              </a:path>
            </a:pathLst>
          </a:custGeom>
          <a:solidFill>
            <a:srgbClr val="F21C0A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636" name="Freeform 74"/>
          <p:cNvSpPr>
            <a:spLocks noChangeAspect="1"/>
          </p:cNvSpPr>
          <p:nvPr>
            <p:custDataLst>
              <p:tags r:id="rId202"/>
            </p:custDataLst>
          </p:nvPr>
        </p:nvSpPr>
        <p:spPr bwMode="auto">
          <a:xfrm>
            <a:off x="4430713" y="5240338"/>
            <a:ext cx="285750" cy="242887"/>
          </a:xfrm>
          <a:custGeom>
            <a:avLst/>
            <a:gdLst>
              <a:gd name="T0" fmla="*/ 194497 w 429"/>
              <a:gd name="T1" fmla="*/ 18061 h 390"/>
              <a:gd name="T2" fmla="*/ 213813 w 429"/>
              <a:gd name="T3" fmla="*/ 12456 h 390"/>
              <a:gd name="T4" fmla="*/ 233129 w 429"/>
              <a:gd name="T5" fmla="*/ 30517 h 390"/>
              <a:gd name="T6" fmla="*/ 220474 w 429"/>
              <a:gd name="T7" fmla="*/ 42350 h 390"/>
              <a:gd name="T8" fmla="*/ 207152 w 429"/>
              <a:gd name="T9" fmla="*/ 48578 h 390"/>
              <a:gd name="T10" fmla="*/ 207152 w 429"/>
              <a:gd name="T11" fmla="*/ 61033 h 390"/>
              <a:gd name="T12" fmla="*/ 207152 w 429"/>
              <a:gd name="T13" fmla="*/ 72866 h 390"/>
              <a:gd name="T14" fmla="*/ 220474 w 429"/>
              <a:gd name="T15" fmla="*/ 91550 h 390"/>
              <a:gd name="T16" fmla="*/ 246451 w 429"/>
              <a:gd name="T17" fmla="*/ 91550 h 390"/>
              <a:gd name="T18" fmla="*/ 246451 w 429"/>
              <a:gd name="T19" fmla="*/ 103383 h 390"/>
              <a:gd name="T20" fmla="*/ 246451 w 429"/>
              <a:gd name="T21" fmla="*/ 127049 h 390"/>
              <a:gd name="T22" fmla="*/ 265767 w 429"/>
              <a:gd name="T23" fmla="*/ 145110 h 390"/>
              <a:gd name="T24" fmla="*/ 285084 w 429"/>
              <a:gd name="T25" fmla="*/ 175627 h 390"/>
              <a:gd name="T26" fmla="*/ 272428 w 429"/>
              <a:gd name="T27" fmla="*/ 169399 h 390"/>
              <a:gd name="T28" fmla="*/ 265767 w 429"/>
              <a:gd name="T29" fmla="*/ 175627 h 390"/>
              <a:gd name="T30" fmla="*/ 246451 w 429"/>
              <a:gd name="T31" fmla="*/ 181855 h 390"/>
              <a:gd name="T32" fmla="*/ 259107 w 429"/>
              <a:gd name="T33" fmla="*/ 188083 h 390"/>
              <a:gd name="T34" fmla="*/ 265767 w 429"/>
              <a:gd name="T35" fmla="*/ 199916 h 390"/>
              <a:gd name="T36" fmla="*/ 265767 w 429"/>
              <a:gd name="T37" fmla="*/ 206143 h 390"/>
              <a:gd name="T38" fmla="*/ 272428 w 429"/>
              <a:gd name="T39" fmla="*/ 212371 h 390"/>
              <a:gd name="T40" fmla="*/ 265767 w 429"/>
              <a:gd name="T41" fmla="*/ 224204 h 390"/>
              <a:gd name="T42" fmla="*/ 233129 w 429"/>
              <a:gd name="T43" fmla="*/ 230432 h 390"/>
              <a:gd name="T44" fmla="*/ 194497 w 429"/>
              <a:gd name="T45" fmla="*/ 230432 h 390"/>
              <a:gd name="T46" fmla="*/ 181175 w 429"/>
              <a:gd name="T47" fmla="*/ 242265 h 390"/>
              <a:gd name="T48" fmla="*/ 155198 w 429"/>
              <a:gd name="T49" fmla="*/ 242265 h 390"/>
              <a:gd name="T50" fmla="*/ 136547 w 429"/>
              <a:gd name="T51" fmla="*/ 242265 h 390"/>
              <a:gd name="T52" fmla="*/ 123892 w 429"/>
              <a:gd name="T53" fmla="*/ 230432 h 390"/>
              <a:gd name="T54" fmla="*/ 117231 w 429"/>
              <a:gd name="T55" fmla="*/ 206143 h 390"/>
              <a:gd name="T56" fmla="*/ 117231 w 429"/>
              <a:gd name="T57" fmla="*/ 199916 h 390"/>
              <a:gd name="T58" fmla="*/ 117231 w 429"/>
              <a:gd name="T59" fmla="*/ 193688 h 390"/>
              <a:gd name="T60" fmla="*/ 97914 w 429"/>
              <a:gd name="T61" fmla="*/ 199916 h 390"/>
              <a:gd name="T62" fmla="*/ 71937 w 429"/>
              <a:gd name="T63" fmla="*/ 199916 h 390"/>
              <a:gd name="T64" fmla="*/ 51955 w 429"/>
              <a:gd name="T65" fmla="*/ 193688 h 390"/>
              <a:gd name="T66" fmla="*/ 39299 w 429"/>
              <a:gd name="T67" fmla="*/ 188083 h 390"/>
              <a:gd name="T68" fmla="*/ 32638 w 429"/>
              <a:gd name="T69" fmla="*/ 169399 h 390"/>
              <a:gd name="T70" fmla="*/ 32638 w 429"/>
              <a:gd name="T71" fmla="*/ 157566 h 390"/>
              <a:gd name="T72" fmla="*/ 19983 w 429"/>
              <a:gd name="T73" fmla="*/ 139505 h 390"/>
              <a:gd name="T74" fmla="*/ 6661 w 429"/>
              <a:gd name="T75" fmla="*/ 133277 h 390"/>
              <a:gd name="T76" fmla="*/ 6661 w 429"/>
              <a:gd name="T77" fmla="*/ 109611 h 390"/>
              <a:gd name="T78" fmla="*/ 6661 w 429"/>
              <a:gd name="T79" fmla="*/ 103383 h 390"/>
              <a:gd name="T80" fmla="*/ 19983 w 429"/>
              <a:gd name="T81" fmla="*/ 97155 h 390"/>
              <a:gd name="T82" fmla="*/ 19983 w 429"/>
              <a:gd name="T83" fmla="*/ 85322 h 390"/>
              <a:gd name="T84" fmla="*/ 6661 w 429"/>
              <a:gd name="T85" fmla="*/ 66639 h 390"/>
              <a:gd name="T86" fmla="*/ 25977 w 429"/>
              <a:gd name="T87" fmla="*/ 66639 h 390"/>
              <a:gd name="T88" fmla="*/ 65276 w 429"/>
              <a:gd name="T89" fmla="*/ 54805 h 390"/>
              <a:gd name="T90" fmla="*/ 97914 w 429"/>
              <a:gd name="T91" fmla="*/ 48578 h 390"/>
              <a:gd name="T92" fmla="*/ 110570 w 429"/>
              <a:gd name="T93" fmla="*/ 30517 h 390"/>
              <a:gd name="T94" fmla="*/ 129886 w 429"/>
              <a:gd name="T95" fmla="*/ 24289 h 390"/>
              <a:gd name="T96" fmla="*/ 142542 w 429"/>
              <a:gd name="T97" fmla="*/ 18061 h 390"/>
              <a:gd name="T98" fmla="*/ 155198 w 429"/>
              <a:gd name="T99" fmla="*/ 12456 h 390"/>
              <a:gd name="T100" fmla="*/ 168519 w 429"/>
              <a:gd name="T101" fmla="*/ 0 h 390"/>
              <a:gd name="T102" fmla="*/ 181175 w 429"/>
              <a:gd name="T103" fmla="*/ 6228 h 390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429"/>
              <a:gd name="T157" fmla="*/ 0 h 390"/>
              <a:gd name="T158" fmla="*/ 429 w 429"/>
              <a:gd name="T159" fmla="*/ 390 h 390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429" h="390">
                <a:moveTo>
                  <a:pt x="273" y="10"/>
                </a:moveTo>
                <a:lnTo>
                  <a:pt x="293" y="29"/>
                </a:lnTo>
                <a:lnTo>
                  <a:pt x="312" y="20"/>
                </a:lnTo>
                <a:lnTo>
                  <a:pt x="322" y="20"/>
                </a:lnTo>
                <a:lnTo>
                  <a:pt x="342" y="39"/>
                </a:lnTo>
                <a:lnTo>
                  <a:pt x="351" y="49"/>
                </a:lnTo>
                <a:lnTo>
                  <a:pt x="342" y="68"/>
                </a:lnTo>
                <a:lnTo>
                  <a:pt x="332" y="68"/>
                </a:lnTo>
                <a:lnTo>
                  <a:pt x="322" y="68"/>
                </a:lnTo>
                <a:lnTo>
                  <a:pt x="312" y="78"/>
                </a:lnTo>
                <a:lnTo>
                  <a:pt x="303" y="88"/>
                </a:lnTo>
                <a:lnTo>
                  <a:pt x="312" y="98"/>
                </a:lnTo>
                <a:lnTo>
                  <a:pt x="322" y="107"/>
                </a:lnTo>
                <a:lnTo>
                  <a:pt x="312" y="117"/>
                </a:lnTo>
                <a:lnTo>
                  <a:pt x="312" y="127"/>
                </a:lnTo>
                <a:lnTo>
                  <a:pt x="332" y="147"/>
                </a:lnTo>
                <a:lnTo>
                  <a:pt x="351" y="137"/>
                </a:lnTo>
                <a:lnTo>
                  <a:pt x="371" y="147"/>
                </a:lnTo>
                <a:lnTo>
                  <a:pt x="371" y="156"/>
                </a:lnTo>
                <a:lnTo>
                  <a:pt x="371" y="166"/>
                </a:lnTo>
                <a:lnTo>
                  <a:pt x="361" y="186"/>
                </a:lnTo>
                <a:lnTo>
                  <a:pt x="371" y="205"/>
                </a:lnTo>
                <a:lnTo>
                  <a:pt x="381" y="215"/>
                </a:lnTo>
                <a:lnTo>
                  <a:pt x="400" y="234"/>
                </a:lnTo>
                <a:lnTo>
                  <a:pt x="420" y="264"/>
                </a:lnTo>
                <a:lnTo>
                  <a:pt x="429" y="283"/>
                </a:lnTo>
                <a:lnTo>
                  <a:pt x="420" y="283"/>
                </a:lnTo>
                <a:lnTo>
                  <a:pt x="410" y="273"/>
                </a:lnTo>
                <a:lnTo>
                  <a:pt x="400" y="273"/>
                </a:lnTo>
                <a:lnTo>
                  <a:pt x="400" y="283"/>
                </a:lnTo>
                <a:lnTo>
                  <a:pt x="390" y="283"/>
                </a:lnTo>
                <a:lnTo>
                  <a:pt x="371" y="293"/>
                </a:lnTo>
                <a:lnTo>
                  <a:pt x="371" y="303"/>
                </a:lnTo>
                <a:lnTo>
                  <a:pt x="390" y="303"/>
                </a:lnTo>
                <a:lnTo>
                  <a:pt x="400" y="312"/>
                </a:lnTo>
                <a:lnTo>
                  <a:pt x="400" y="322"/>
                </a:lnTo>
                <a:lnTo>
                  <a:pt x="400" y="332"/>
                </a:lnTo>
                <a:lnTo>
                  <a:pt x="410" y="342"/>
                </a:lnTo>
                <a:lnTo>
                  <a:pt x="410" y="351"/>
                </a:lnTo>
                <a:lnTo>
                  <a:pt x="400" y="361"/>
                </a:lnTo>
                <a:lnTo>
                  <a:pt x="381" y="361"/>
                </a:lnTo>
                <a:lnTo>
                  <a:pt x="351" y="371"/>
                </a:lnTo>
                <a:lnTo>
                  <a:pt x="312" y="371"/>
                </a:lnTo>
                <a:lnTo>
                  <a:pt x="293" y="371"/>
                </a:lnTo>
                <a:lnTo>
                  <a:pt x="283" y="371"/>
                </a:lnTo>
                <a:lnTo>
                  <a:pt x="273" y="390"/>
                </a:lnTo>
                <a:lnTo>
                  <a:pt x="254" y="390"/>
                </a:lnTo>
                <a:lnTo>
                  <a:pt x="234" y="390"/>
                </a:lnTo>
                <a:lnTo>
                  <a:pt x="205" y="390"/>
                </a:lnTo>
                <a:lnTo>
                  <a:pt x="195" y="371"/>
                </a:lnTo>
                <a:lnTo>
                  <a:pt x="186" y="371"/>
                </a:lnTo>
                <a:lnTo>
                  <a:pt x="186" y="351"/>
                </a:lnTo>
                <a:lnTo>
                  <a:pt x="176" y="332"/>
                </a:lnTo>
                <a:lnTo>
                  <a:pt x="166" y="332"/>
                </a:lnTo>
                <a:lnTo>
                  <a:pt x="176" y="322"/>
                </a:lnTo>
                <a:lnTo>
                  <a:pt x="186" y="312"/>
                </a:lnTo>
                <a:lnTo>
                  <a:pt x="176" y="312"/>
                </a:lnTo>
                <a:lnTo>
                  <a:pt x="156" y="322"/>
                </a:lnTo>
                <a:lnTo>
                  <a:pt x="147" y="322"/>
                </a:lnTo>
                <a:lnTo>
                  <a:pt x="127" y="332"/>
                </a:lnTo>
                <a:lnTo>
                  <a:pt x="108" y="322"/>
                </a:lnTo>
                <a:lnTo>
                  <a:pt x="98" y="312"/>
                </a:lnTo>
                <a:lnTo>
                  <a:pt x="78" y="312"/>
                </a:lnTo>
                <a:lnTo>
                  <a:pt x="69" y="312"/>
                </a:lnTo>
                <a:lnTo>
                  <a:pt x="59" y="303"/>
                </a:lnTo>
                <a:lnTo>
                  <a:pt x="59" y="283"/>
                </a:lnTo>
                <a:lnTo>
                  <a:pt x="49" y="273"/>
                </a:lnTo>
                <a:lnTo>
                  <a:pt x="49" y="264"/>
                </a:lnTo>
                <a:lnTo>
                  <a:pt x="49" y="254"/>
                </a:lnTo>
                <a:lnTo>
                  <a:pt x="39" y="244"/>
                </a:lnTo>
                <a:lnTo>
                  <a:pt x="30" y="225"/>
                </a:lnTo>
                <a:lnTo>
                  <a:pt x="10" y="225"/>
                </a:lnTo>
                <a:lnTo>
                  <a:pt x="10" y="215"/>
                </a:lnTo>
                <a:lnTo>
                  <a:pt x="10" y="195"/>
                </a:lnTo>
                <a:lnTo>
                  <a:pt x="10" y="176"/>
                </a:lnTo>
                <a:lnTo>
                  <a:pt x="0" y="166"/>
                </a:lnTo>
                <a:lnTo>
                  <a:pt x="10" y="166"/>
                </a:lnTo>
                <a:lnTo>
                  <a:pt x="20" y="156"/>
                </a:lnTo>
                <a:lnTo>
                  <a:pt x="30" y="156"/>
                </a:lnTo>
                <a:lnTo>
                  <a:pt x="30" y="137"/>
                </a:lnTo>
                <a:lnTo>
                  <a:pt x="10" y="127"/>
                </a:lnTo>
                <a:lnTo>
                  <a:pt x="10" y="107"/>
                </a:lnTo>
                <a:lnTo>
                  <a:pt x="39" y="107"/>
                </a:lnTo>
                <a:lnTo>
                  <a:pt x="69" y="98"/>
                </a:lnTo>
                <a:lnTo>
                  <a:pt x="98" y="88"/>
                </a:lnTo>
                <a:lnTo>
                  <a:pt x="117" y="78"/>
                </a:lnTo>
                <a:lnTo>
                  <a:pt x="147" y="78"/>
                </a:lnTo>
                <a:lnTo>
                  <a:pt x="166" y="59"/>
                </a:lnTo>
                <a:lnTo>
                  <a:pt x="166" y="49"/>
                </a:lnTo>
                <a:lnTo>
                  <a:pt x="176" y="39"/>
                </a:lnTo>
                <a:lnTo>
                  <a:pt x="195" y="39"/>
                </a:lnTo>
                <a:lnTo>
                  <a:pt x="205" y="39"/>
                </a:lnTo>
                <a:lnTo>
                  <a:pt x="215" y="29"/>
                </a:lnTo>
                <a:lnTo>
                  <a:pt x="234" y="29"/>
                </a:lnTo>
                <a:lnTo>
                  <a:pt x="234" y="20"/>
                </a:lnTo>
                <a:lnTo>
                  <a:pt x="234" y="0"/>
                </a:lnTo>
                <a:lnTo>
                  <a:pt x="254" y="0"/>
                </a:lnTo>
                <a:lnTo>
                  <a:pt x="273" y="10"/>
                </a:lnTo>
                <a:close/>
              </a:path>
            </a:pathLst>
          </a:custGeom>
          <a:solidFill>
            <a:srgbClr val="C0C0C0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637" name="Freeform 73"/>
          <p:cNvSpPr>
            <a:spLocks noChangeAspect="1"/>
          </p:cNvSpPr>
          <p:nvPr>
            <p:custDataLst>
              <p:tags r:id="rId203"/>
            </p:custDataLst>
          </p:nvPr>
        </p:nvSpPr>
        <p:spPr bwMode="auto">
          <a:xfrm>
            <a:off x="3817938" y="4057650"/>
            <a:ext cx="877887" cy="636588"/>
          </a:xfrm>
          <a:custGeom>
            <a:avLst/>
            <a:gdLst>
              <a:gd name="T0" fmla="*/ 448609 w 1317"/>
              <a:gd name="T1" fmla="*/ 612964 h 1024"/>
              <a:gd name="T2" fmla="*/ 487937 w 1317"/>
              <a:gd name="T3" fmla="*/ 588719 h 1024"/>
              <a:gd name="T4" fmla="*/ 513934 w 1317"/>
              <a:gd name="T5" fmla="*/ 564474 h 1024"/>
              <a:gd name="T6" fmla="*/ 539930 w 1317"/>
              <a:gd name="T7" fmla="*/ 534012 h 1024"/>
              <a:gd name="T8" fmla="*/ 565927 w 1317"/>
              <a:gd name="T9" fmla="*/ 522200 h 1024"/>
              <a:gd name="T10" fmla="*/ 591924 w 1317"/>
              <a:gd name="T11" fmla="*/ 534012 h 1024"/>
              <a:gd name="T12" fmla="*/ 650583 w 1317"/>
              <a:gd name="T13" fmla="*/ 564474 h 1024"/>
              <a:gd name="T14" fmla="*/ 683245 w 1317"/>
              <a:gd name="T15" fmla="*/ 558257 h 1024"/>
              <a:gd name="T16" fmla="*/ 709242 w 1317"/>
              <a:gd name="T17" fmla="*/ 582502 h 1024"/>
              <a:gd name="T18" fmla="*/ 735239 w 1317"/>
              <a:gd name="T19" fmla="*/ 582502 h 1024"/>
              <a:gd name="T20" fmla="*/ 787232 w 1317"/>
              <a:gd name="T21" fmla="*/ 576285 h 1024"/>
              <a:gd name="T22" fmla="*/ 832560 w 1317"/>
              <a:gd name="T23" fmla="*/ 582502 h 1024"/>
              <a:gd name="T24" fmla="*/ 877887 w 1317"/>
              <a:gd name="T25" fmla="*/ 546445 h 1024"/>
              <a:gd name="T26" fmla="*/ 839225 w 1317"/>
              <a:gd name="T27" fmla="*/ 515984 h 1024"/>
              <a:gd name="T28" fmla="*/ 832560 w 1317"/>
              <a:gd name="T29" fmla="*/ 467494 h 1024"/>
              <a:gd name="T30" fmla="*/ 793231 w 1317"/>
              <a:gd name="T31" fmla="*/ 449465 h 1024"/>
              <a:gd name="T32" fmla="*/ 761235 w 1317"/>
              <a:gd name="T33" fmla="*/ 443249 h 1024"/>
              <a:gd name="T34" fmla="*/ 735239 w 1317"/>
              <a:gd name="T35" fmla="*/ 406570 h 1024"/>
              <a:gd name="T36" fmla="*/ 702576 w 1317"/>
              <a:gd name="T37" fmla="*/ 419004 h 1024"/>
              <a:gd name="T38" fmla="*/ 669914 w 1317"/>
              <a:gd name="T39" fmla="*/ 425220 h 1024"/>
              <a:gd name="T40" fmla="*/ 617920 w 1317"/>
              <a:gd name="T41" fmla="*/ 412787 h 1024"/>
              <a:gd name="T42" fmla="*/ 598590 w 1317"/>
              <a:gd name="T43" fmla="*/ 370514 h 1024"/>
              <a:gd name="T44" fmla="*/ 546596 w 1317"/>
              <a:gd name="T45" fmla="*/ 346269 h 1024"/>
              <a:gd name="T46" fmla="*/ 494603 w 1317"/>
              <a:gd name="T47" fmla="*/ 322024 h 1024"/>
              <a:gd name="T48" fmla="*/ 468606 w 1317"/>
              <a:gd name="T49" fmla="*/ 302752 h 1024"/>
              <a:gd name="T50" fmla="*/ 435944 w 1317"/>
              <a:gd name="T51" fmla="*/ 290940 h 1024"/>
              <a:gd name="T52" fmla="*/ 435944 w 1317"/>
              <a:gd name="T53" fmla="*/ 266695 h 1024"/>
              <a:gd name="T54" fmla="*/ 442610 w 1317"/>
              <a:gd name="T55" fmla="*/ 218205 h 1024"/>
              <a:gd name="T56" fmla="*/ 422612 w 1317"/>
              <a:gd name="T57" fmla="*/ 205772 h 1024"/>
              <a:gd name="T58" fmla="*/ 390616 w 1317"/>
              <a:gd name="T59" fmla="*/ 181527 h 1024"/>
              <a:gd name="T60" fmla="*/ 364620 w 1317"/>
              <a:gd name="T61" fmla="*/ 181527 h 1024"/>
              <a:gd name="T62" fmla="*/ 318626 w 1317"/>
              <a:gd name="T63" fmla="*/ 163498 h 1024"/>
              <a:gd name="T64" fmla="*/ 318626 w 1317"/>
              <a:gd name="T65" fmla="*/ 139253 h 1024"/>
              <a:gd name="T66" fmla="*/ 266632 w 1317"/>
              <a:gd name="T67" fmla="*/ 115008 h 1024"/>
              <a:gd name="T68" fmla="*/ 227971 w 1317"/>
              <a:gd name="T69" fmla="*/ 102575 h 1024"/>
              <a:gd name="T70" fmla="*/ 201974 w 1317"/>
              <a:gd name="T71" fmla="*/ 78330 h 1024"/>
              <a:gd name="T72" fmla="*/ 240636 w 1317"/>
              <a:gd name="T73" fmla="*/ 36057 h 1024"/>
              <a:gd name="T74" fmla="*/ 247301 w 1317"/>
              <a:gd name="T75" fmla="*/ 0 h 1024"/>
              <a:gd name="T76" fmla="*/ 188642 w 1317"/>
              <a:gd name="T77" fmla="*/ 18028 h 1024"/>
              <a:gd name="T78" fmla="*/ 143315 w 1317"/>
              <a:gd name="T79" fmla="*/ 5595 h 1024"/>
              <a:gd name="T80" fmla="*/ 123984 w 1317"/>
              <a:gd name="T81" fmla="*/ 36057 h 1024"/>
              <a:gd name="T82" fmla="*/ 91322 w 1317"/>
              <a:gd name="T83" fmla="*/ 78330 h 1024"/>
              <a:gd name="T84" fmla="*/ 32662 w 1317"/>
              <a:gd name="T85" fmla="*/ 139253 h 1024"/>
              <a:gd name="T86" fmla="*/ 0 w 1317"/>
              <a:gd name="T87" fmla="*/ 181527 h 1024"/>
              <a:gd name="T88" fmla="*/ 6666 w 1317"/>
              <a:gd name="T89" fmla="*/ 205772 h 1024"/>
              <a:gd name="T90" fmla="*/ 71991 w 1317"/>
              <a:gd name="T91" fmla="*/ 284723 h 1024"/>
              <a:gd name="T92" fmla="*/ 51993 w 1317"/>
              <a:gd name="T93" fmla="*/ 346269 h 1024"/>
              <a:gd name="T94" fmla="*/ 51993 w 1317"/>
              <a:gd name="T95" fmla="*/ 425220 h 1024"/>
              <a:gd name="T96" fmla="*/ 71991 w 1317"/>
              <a:gd name="T97" fmla="*/ 491739 h 1024"/>
              <a:gd name="T98" fmla="*/ 123984 w 1317"/>
              <a:gd name="T99" fmla="*/ 491739 h 1024"/>
              <a:gd name="T100" fmla="*/ 169312 w 1317"/>
              <a:gd name="T101" fmla="*/ 497955 h 1024"/>
              <a:gd name="T102" fmla="*/ 208640 w 1317"/>
              <a:gd name="T103" fmla="*/ 491739 h 1024"/>
              <a:gd name="T104" fmla="*/ 240636 w 1317"/>
              <a:gd name="T105" fmla="*/ 467494 h 1024"/>
              <a:gd name="T106" fmla="*/ 273298 w 1317"/>
              <a:gd name="T107" fmla="*/ 485522 h 1024"/>
              <a:gd name="T108" fmla="*/ 331957 w 1317"/>
              <a:gd name="T109" fmla="*/ 540229 h 1024"/>
              <a:gd name="T110" fmla="*/ 344622 w 1317"/>
              <a:gd name="T111" fmla="*/ 576285 h 1024"/>
              <a:gd name="T112" fmla="*/ 357954 w 1317"/>
              <a:gd name="T113" fmla="*/ 606747 h 1024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317"/>
              <a:gd name="T172" fmla="*/ 0 h 1024"/>
              <a:gd name="T173" fmla="*/ 1317 w 1317"/>
              <a:gd name="T174" fmla="*/ 1024 h 1024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317" h="1024">
                <a:moveTo>
                  <a:pt x="625" y="1024"/>
                </a:moveTo>
                <a:lnTo>
                  <a:pt x="654" y="1014"/>
                </a:lnTo>
                <a:lnTo>
                  <a:pt x="673" y="1005"/>
                </a:lnTo>
                <a:lnTo>
                  <a:pt x="673" y="985"/>
                </a:lnTo>
                <a:lnTo>
                  <a:pt x="683" y="975"/>
                </a:lnTo>
                <a:lnTo>
                  <a:pt x="703" y="966"/>
                </a:lnTo>
                <a:lnTo>
                  <a:pt x="703" y="956"/>
                </a:lnTo>
                <a:lnTo>
                  <a:pt x="732" y="946"/>
                </a:lnTo>
                <a:lnTo>
                  <a:pt x="751" y="946"/>
                </a:lnTo>
                <a:lnTo>
                  <a:pt x="761" y="946"/>
                </a:lnTo>
                <a:lnTo>
                  <a:pt x="771" y="936"/>
                </a:lnTo>
                <a:lnTo>
                  <a:pt x="771" y="907"/>
                </a:lnTo>
                <a:lnTo>
                  <a:pt x="790" y="887"/>
                </a:lnTo>
                <a:lnTo>
                  <a:pt x="790" y="868"/>
                </a:lnTo>
                <a:lnTo>
                  <a:pt x="800" y="858"/>
                </a:lnTo>
                <a:lnTo>
                  <a:pt x="810" y="858"/>
                </a:lnTo>
                <a:lnTo>
                  <a:pt x="810" y="839"/>
                </a:lnTo>
                <a:lnTo>
                  <a:pt x="830" y="829"/>
                </a:lnTo>
                <a:lnTo>
                  <a:pt x="830" y="839"/>
                </a:lnTo>
                <a:lnTo>
                  <a:pt x="849" y="839"/>
                </a:lnTo>
                <a:lnTo>
                  <a:pt x="859" y="848"/>
                </a:lnTo>
                <a:lnTo>
                  <a:pt x="859" y="858"/>
                </a:lnTo>
                <a:lnTo>
                  <a:pt x="869" y="848"/>
                </a:lnTo>
                <a:lnTo>
                  <a:pt x="888" y="858"/>
                </a:lnTo>
                <a:lnTo>
                  <a:pt x="917" y="868"/>
                </a:lnTo>
                <a:lnTo>
                  <a:pt x="927" y="887"/>
                </a:lnTo>
                <a:lnTo>
                  <a:pt x="956" y="907"/>
                </a:lnTo>
                <a:lnTo>
                  <a:pt x="976" y="907"/>
                </a:lnTo>
                <a:lnTo>
                  <a:pt x="986" y="907"/>
                </a:lnTo>
                <a:lnTo>
                  <a:pt x="1005" y="897"/>
                </a:lnTo>
                <a:lnTo>
                  <a:pt x="1015" y="897"/>
                </a:lnTo>
                <a:lnTo>
                  <a:pt x="1025" y="897"/>
                </a:lnTo>
                <a:lnTo>
                  <a:pt x="1025" y="926"/>
                </a:lnTo>
                <a:lnTo>
                  <a:pt x="1034" y="926"/>
                </a:lnTo>
                <a:lnTo>
                  <a:pt x="1054" y="926"/>
                </a:lnTo>
                <a:lnTo>
                  <a:pt x="1064" y="936"/>
                </a:lnTo>
                <a:lnTo>
                  <a:pt x="1073" y="946"/>
                </a:lnTo>
                <a:lnTo>
                  <a:pt x="1093" y="946"/>
                </a:lnTo>
                <a:lnTo>
                  <a:pt x="1103" y="946"/>
                </a:lnTo>
                <a:lnTo>
                  <a:pt x="1103" y="936"/>
                </a:lnTo>
                <a:lnTo>
                  <a:pt x="1122" y="926"/>
                </a:lnTo>
                <a:lnTo>
                  <a:pt x="1142" y="926"/>
                </a:lnTo>
                <a:lnTo>
                  <a:pt x="1161" y="926"/>
                </a:lnTo>
                <a:lnTo>
                  <a:pt x="1181" y="926"/>
                </a:lnTo>
                <a:lnTo>
                  <a:pt x="1190" y="936"/>
                </a:lnTo>
                <a:lnTo>
                  <a:pt x="1210" y="946"/>
                </a:lnTo>
                <a:lnTo>
                  <a:pt x="1249" y="936"/>
                </a:lnTo>
                <a:lnTo>
                  <a:pt x="1307" y="926"/>
                </a:lnTo>
                <a:lnTo>
                  <a:pt x="1307" y="907"/>
                </a:lnTo>
                <a:lnTo>
                  <a:pt x="1317" y="897"/>
                </a:lnTo>
                <a:lnTo>
                  <a:pt x="1317" y="878"/>
                </a:lnTo>
                <a:lnTo>
                  <a:pt x="1307" y="878"/>
                </a:lnTo>
                <a:lnTo>
                  <a:pt x="1288" y="868"/>
                </a:lnTo>
                <a:lnTo>
                  <a:pt x="1268" y="848"/>
                </a:lnTo>
                <a:lnTo>
                  <a:pt x="1259" y="829"/>
                </a:lnTo>
                <a:lnTo>
                  <a:pt x="1288" y="790"/>
                </a:lnTo>
                <a:lnTo>
                  <a:pt x="1278" y="780"/>
                </a:lnTo>
                <a:lnTo>
                  <a:pt x="1259" y="761"/>
                </a:lnTo>
                <a:lnTo>
                  <a:pt x="1249" y="751"/>
                </a:lnTo>
                <a:lnTo>
                  <a:pt x="1239" y="761"/>
                </a:lnTo>
                <a:lnTo>
                  <a:pt x="1220" y="751"/>
                </a:lnTo>
                <a:lnTo>
                  <a:pt x="1200" y="731"/>
                </a:lnTo>
                <a:lnTo>
                  <a:pt x="1190" y="722"/>
                </a:lnTo>
                <a:lnTo>
                  <a:pt x="1181" y="722"/>
                </a:lnTo>
                <a:lnTo>
                  <a:pt x="1171" y="712"/>
                </a:lnTo>
                <a:lnTo>
                  <a:pt x="1161" y="712"/>
                </a:lnTo>
                <a:lnTo>
                  <a:pt x="1142" y="712"/>
                </a:lnTo>
                <a:lnTo>
                  <a:pt x="1132" y="702"/>
                </a:lnTo>
                <a:lnTo>
                  <a:pt x="1122" y="692"/>
                </a:lnTo>
                <a:lnTo>
                  <a:pt x="1112" y="673"/>
                </a:lnTo>
                <a:lnTo>
                  <a:pt x="1103" y="653"/>
                </a:lnTo>
                <a:lnTo>
                  <a:pt x="1083" y="663"/>
                </a:lnTo>
                <a:lnTo>
                  <a:pt x="1064" y="663"/>
                </a:lnTo>
                <a:lnTo>
                  <a:pt x="1054" y="673"/>
                </a:lnTo>
                <a:lnTo>
                  <a:pt x="1044" y="683"/>
                </a:lnTo>
                <a:lnTo>
                  <a:pt x="1034" y="692"/>
                </a:lnTo>
                <a:lnTo>
                  <a:pt x="1025" y="692"/>
                </a:lnTo>
                <a:lnTo>
                  <a:pt x="1005" y="683"/>
                </a:lnTo>
                <a:lnTo>
                  <a:pt x="995" y="673"/>
                </a:lnTo>
                <a:lnTo>
                  <a:pt x="976" y="673"/>
                </a:lnTo>
                <a:lnTo>
                  <a:pt x="947" y="673"/>
                </a:lnTo>
                <a:lnTo>
                  <a:pt x="927" y="663"/>
                </a:lnTo>
                <a:lnTo>
                  <a:pt x="908" y="644"/>
                </a:lnTo>
                <a:lnTo>
                  <a:pt x="908" y="634"/>
                </a:lnTo>
                <a:lnTo>
                  <a:pt x="898" y="605"/>
                </a:lnTo>
                <a:lnTo>
                  <a:pt x="898" y="595"/>
                </a:lnTo>
                <a:lnTo>
                  <a:pt x="869" y="585"/>
                </a:lnTo>
                <a:lnTo>
                  <a:pt x="859" y="565"/>
                </a:lnTo>
                <a:lnTo>
                  <a:pt x="849" y="556"/>
                </a:lnTo>
                <a:lnTo>
                  <a:pt x="820" y="556"/>
                </a:lnTo>
                <a:lnTo>
                  <a:pt x="800" y="546"/>
                </a:lnTo>
                <a:lnTo>
                  <a:pt x="781" y="536"/>
                </a:lnTo>
                <a:lnTo>
                  <a:pt x="771" y="517"/>
                </a:lnTo>
                <a:lnTo>
                  <a:pt x="742" y="517"/>
                </a:lnTo>
                <a:lnTo>
                  <a:pt x="732" y="507"/>
                </a:lnTo>
                <a:lnTo>
                  <a:pt x="732" y="487"/>
                </a:lnTo>
                <a:lnTo>
                  <a:pt x="722" y="478"/>
                </a:lnTo>
                <a:lnTo>
                  <a:pt x="703" y="487"/>
                </a:lnTo>
                <a:lnTo>
                  <a:pt x="693" y="487"/>
                </a:lnTo>
                <a:lnTo>
                  <a:pt x="673" y="478"/>
                </a:lnTo>
                <a:lnTo>
                  <a:pt x="654" y="478"/>
                </a:lnTo>
                <a:lnTo>
                  <a:pt x="654" y="468"/>
                </a:lnTo>
                <a:lnTo>
                  <a:pt x="654" y="458"/>
                </a:lnTo>
                <a:lnTo>
                  <a:pt x="664" y="448"/>
                </a:lnTo>
                <a:lnTo>
                  <a:pt x="664" y="439"/>
                </a:lnTo>
                <a:lnTo>
                  <a:pt x="654" y="429"/>
                </a:lnTo>
                <a:lnTo>
                  <a:pt x="654" y="400"/>
                </a:lnTo>
                <a:lnTo>
                  <a:pt x="654" y="370"/>
                </a:lnTo>
                <a:lnTo>
                  <a:pt x="654" y="361"/>
                </a:lnTo>
                <a:lnTo>
                  <a:pt x="664" y="351"/>
                </a:lnTo>
                <a:lnTo>
                  <a:pt x="664" y="341"/>
                </a:lnTo>
                <a:lnTo>
                  <a:pt x="654" y="341"/>
                </a:lnTo>
                <a:lnTo>
                  <a:pt x="644" y="322"/>
                </a:lnTo>
                <a:lnTo>
                  <a:pt x="634" y="331"/>
                </a:lnTo>
                <a:lnTo>
                  <a:pt x="625" y="322"/>
                </a:lnTo>
                <a:lnTo>
                  <a:pt x="605" y="292"/>
                </a:lnTo>
                <a:lnTo>
                  <a:pt x="595" y="292"/>
                </a:lnTo>
                <a:lnTo>
                  <a:pt x="586" y="292"/>
                </a:lnTo>
                <a:lnTo>
                  <a:pt x="566" y="302"/>
                </a:lnTo>
                <a:lnTo>
                  <a:pt x="556" y="292"/>
                </a:lnTo>
                <a:lnTo>
                  <a:pt x="547" y="292"/>
                </a:lnTo>
                <a:lnTo>
                  <a:pt x="517" y="292"/>
                </a:lnTo>
                <a:lnTo>
                  <a:pt x="498" y="292"/>
                </a:lnTo>
                <a:lnTo>
                  <a:pt x="478" y="283"/>
                </a:lnTo>
                <a:lnTo>
                  <a:pt x="478" y="263"/>
                </a:lnTo>
                <a:lnTo>
                  <a:pt x="488" y="244"/>
                </a:lnTo>
                <a:lnTo>
                  <a:pt x="498" y="234"/>
                </a:lnTo>
                <a:lnTo>
                  <a:pt x="498" y="224"/>
                </a:lnTo>
                <a:lnTo>
                  <a:pt x="478" y="224"/>
                </a:lnTo>
                <a:lnTo>
                  <a:pt x="459" y="204"/>
                </a:lnTo>
                <a:lnTo>
                  <a:pt x="439" y="204"/>
                </a:lnTo>
                <a:lnTo>
                  <a:pt x="430" y="195"/>
                </a:lnTo>
                <a:lnTo>
                  <a:pt x="400" y="185"/>
                </a:lnTo>
                <a:lnTo>
                  <a:pt x="361" y="185"/>
                </a:lnTo>
                <a:lnTo>
                  <a:pt x="352" y="185"/>
                </a:lnTo>
                <a:lnTo>
                  <a:pt x="342" y="185"/>
                </a:lnTo>
                <a:lnTo>
                  <a:pt x="342" y="165"/>
                </a:lnTo>
                <a:lnTo>
                  <a:pt x="332" y="146"/>
                </a:lnTo>
                <a:lnTo>
                  <a:pt x="322" y="146"/>
                </a:lnTo>
                <a:lnTo>
                  <a:pt x="303" y="136"/>
                </a:lnTo>
                <a:lnTo>
                  <a:pt x="303" y="126"/>
                </a:lnTo>
                <a:lnTo>
                  <a:pt x="322" y="117"/>
                </a:lnTo>
                <a:lnTo>
                  <a:pt x="342" y="97"/>
                </a:lnTo>
                <a:lnTo>
                  <a:pt x="352" y="78"/>
                </a:lnTo>
                <a:lnTo>
                  <a:pt x="361" y="58"/>
                </a:lnTo>
                <a:lnTo>
                  <a:pt x="352" y="48"/>
                </a:lnTo>
                <a:lnTo>
                  <a:pt x="361" y="29"/>
                </a:lnTo>
                <a:lnTo>
                  <a:pt x="361" y="19"/>
                </a:lnTo>
                <a:lnTo>
                  <a:pt x="371" y="0"/>
                </a:lnTo>
                <a:lnTo>
                  <a:pt x="342" y="0"/>
                </a:lnTo>
                <a:lnTo>
                  <a:pt x="313" y="9"/>
                </a:lnTo>
                <a:lnTo>
                  <a:pt x="293" y="29"/>
                </a:lnTo>
                <a:lnTo>
                  <a:pt x="283" y="29"/>
                </a:lnTo>
                <a:lnTo>
                  <a:pt x="254" y="29"/>
                </a:lnTo>
                <a:lnTo>
                  <a:pt x="244" y="19"/>
                </a:lnTo>
                <a:lnTo>
                  <a:pt x="235" y="9"/>
                </a:lnTo>
                <a:lnTo>
                  <a:pt x="215" y="9"/>
                </a:lnTo>
                <a:lnTo>
                  <a:pt x="195" y="19"/>
                </a:lnTo>
                <a:lnTo>
                  <a:pt x="195" y="39"/>
                </a:lnTo>
                <a:lnTo>
                  <a:pt x="195" y="48"/>
                </a:lnTo>
                <a:lnTo>
                  <a:pt x="186" y="58"/>
                </a:lnTo>
                <a:lnTo>
                  <a:pt x="166" y="78"/>
                </a:lnTo>
                <a:lnTo>
                  <a:pt x="166" y="97"/>
                </a:lnTo>
                <a:lnTo>
                  <a:pt x="147" y="107"/>
                </a:lnTo>
                <a:lnTo>
                  <a:pt x="137" y="126"/>
                </a:lnTo>
                <a:lnTo>
                  <a:pt x="88" y="156"/>
                </a:lnTo>
                <a:lnTo>
                  <a:pt x="69" y="175"/>
                </a:lnTo>
                <a:lnTo>
                  <a:pt x="69" y="204"/>
                </a:lnTo>
                <a:lnTo>
                  <a:pt x="49" y="224"/>
                </a:lnTo>
                <a:lnTo>
                  <a:pt x="59" y="234"/>
                </a:lnTo>
                <a:lnTo>
                  <a:pt x="39" y="244"/>
                </a:lnTo>
                <a:lnTo>
                  <a:pt x="20" y="263"/>
                </a:lnTo>
                <a:lnTo>
                  <a:pt x="0" y="292"/>
                </a:lnTo>
                <a:lnTo>
                  <a:pt x="10" y="292"/>
                </a:lnTo>
                <a:lnTo>
                  <a:pt x="10" y="312"/>
                </a:lnTo>
                <a:lnTo>
                  <a:pt x="10" y="331"/>
                </a:lnTo>
                <a:lnTo>
                  <a:pt x="39" y="341"/>
                </a:lnTo>
                <a:lnTo>
                  <a:pt x="78" y="380"/>
                </a:lnTo>
                <a:lnTo>
                  <a:pt x="98" y="429"/>
                </a:lnTo>
                <a:lnTo>
                  <a:pt x="108" y="458"/>
                </a:lnTo>
                <a:lnTo>
                  <a:pt x="108" y="478"/>
                </a:lnTo>
                <a:lnTo>
                  <a:pt x="88" y="507"/>
                </a:lnTo>
                <a:lnTo>
                  <a:pt x="88" y="517"/>
                </a:lnTo>
                <a:lnTo>
                  <a:pt x="78" y="556"/>
                </a:lnTo>
                <a:lnTo>
                  <a:pt x="88" y="585"/>
                </a:lnTo>
                <a:lnTo>
                  <a:pt x="69" y="624"/>
                </a:lnTo>
                <a:lnTo>
                  <a:pt x="59" y="653"/>
                </a:lnTo>
                <a:lnTo>
                  <a:pt x="78" y="683"/>
                </a:lnTo>
                <a:lnTo>
                  <a:pt x="108" y="702"/>
                </a:lnTo>
                <a:lnTo>
                  <a:pt x="108" y="712"/>
                </a:lnTo>
                <a:lnTo>
                  <a:pt x="108" y="751"/>
                </a:lnTo>
                <a:lnTo>
                  <a:pt x="108" y="790"/>
                </a:lnTo>
                <a:lnTo>
                  <a:pt x="147" y="819"/>
                </a:lnTo>
                <a:lnTo>
                  <a:pt x="166" y="819"/>
                </a:lnTo>
                <a:lnTo>
                  <a:pt x="166" y="800"/>
                </a:lnTo>
                <a:lnTo>
                  <a:pt x="186" y="790"/>
                </a:lnTo>
                <a:lnTo>
                  <a:pt x="195" y="790"/>
                </a:lnTo>
                <a:lnTo>
                  <a:pt x="215" y="800"/>
                </a:lnTo>
                <a:lnTo>
                  <a:pt x="235" y="800"/>
                </a:lnTo>
                <a:lnTo>
                  <a:pt x="254" y="800"/>
                </a:lnTo>
                <a:lnTo>
                  <a:pt x="264" y="809"/>
                </a:lnTo>
                <a:lnTo>
                  <a:pt x="293" y="809"/>
                </a:lnTo>
                <a:lnTo>
                  <a:pt x="293" y="790"/>
                </a:lnTo>
                <a:lnTo>
                  <a:pt x="313" y="790"/>
                </a:lnTo>
                <a:lnTo>
                  <a:pt x="342" y="770"/>
                </a:lnTo>
                <a:lnTo>
                  <a:pt x="352" y="761"/>
                </a:lnTo>
                <a:lnTo>
                  <a:pt x="352" y="751"/>
                </a:lnTo>
                <a:lnTo>
                  <a:pt x="361" y="751"/>
                </a:lnTo>
                <a:lnTo>
                  <a:pt x="381" y="751"/>
                </a:lnTo>
                <a:lnTo>
                  <a:pt x="381" y="770"/>
                </a:lnTo>
                <a:lnTo>
                  <a:pt x="400" y="770"/>
                </a:lnTo>
                <a:lnTo>
                  <a:pt x="410" y="780"/>
                </a:lnTo>
                <a:lnTo>
                  <a:pt x="430" y="790"/>
                </a:lnTo>
                <a:lnTo>
                  <a:pt x="449" y="809"/>
                </a:lnTo>
                <a:lnTo>
                  <a:pt x="469" y="819"/>
                </a:lnTo>
                <a:lnTo>
                  <a:pt x="498" y="868"/>
                </a:lnTo>
                <a:lnTo>
                  <a:pt x="498" y="887"/>
                </a:lnTo>
                <a:lnTo>
                  <a:pt x="498" y="907"/>
                </a:lnTo>
                <a:lnTo>
                  <a:pt x="498" y="926"/>
                </a:lnTo>
                <a:lnTo>
                  <a:pt x="517" y="926"/>
                </a:lnTo>
                <a:lnTo>
                  <a:pt x="508" y="936"/>
                </a:lnTo>
                <a:lnTo>
                  <a:pt x="517" y="956"/>
                </a:lnTo>
                <a:lnTo>
                  <a:pt x="537" y="975"/>
                </a:lnTo>
                <a:lnTo>
                  <a:pt x="556" y="985"/>
                </a:lnTo>
                <a:lnTo>
                  <a:pt x="586" y="1005"/>
                </a:lnTo>
                <a:lnTo>
                  <a:pt x="625" y="1024"/>
                </a:lnTo>
                <a:close/>
              </a:path>
            </a:pathLst>
          </a:custGeom>
          <a:solidFill>
            <a:srgbClr val="F21C0A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76" name="Freeform 72"/>
          <p:cNvSpPr>
            <a:spLocks/>
          </p:cNvSpPr>
          <p:nvPr>
            <p:custDataLst>
              <p:tags r:id="rId204"/>
            </p:custDataLst>
          </p:nvPr>
        </p:nvSpPr>
        <p:spPr bwMode="auto">
          <a:xfrm>
            <a:off x="2968625" y="3716338"/>
            <a:ext cx="436563" cy="369887"/>
          </a:xfrm>
          <a:custGeom>
            <a:avLst/>
            <a:gdLst/>
            <a:ahLst/>
            <a:cxnLst>
              <a:cxn ang="0">
                <a:pos x="400" y="527"/>
              </a:cxn>
              <a:cxn ang="0">
                <a:pos x="371" y="469"/>
              </a:cxn>
              <a:cxn ang="0">
                <a:pos x="332" y="439"/>
              </a:cxn>
              <a:cxn ang="0">
                <a:pos x="312" y="400"/>
              </a:cxn>
              <a:cxn ang="0">
                <a:pos x="283" y="420"/>
              </a:cxn>
              <a:cxn ang="0">
                <a:pos x="215" y="410"/>
              </a:cxn>
              <a:cxn ang="0">
                <a:pos x="186" y="390"/>
              </a:cxn>
              <a:cxn ang="0">
                <a:pos x="186" y="332"/>
              </a:cxn>
              <a:cxn ang="0">
                <a:pos x="156" y="312"/>
              </a:cxn>
              <a:cxn ang="0">
                <a:pos x="117" y="283"/>
              </a:cxn>
              <a:cxn ang="0">
                <a:pos x="78" y="273"/>
              </a:cxn>
              <a:cxn ang="0">
                <a:pos x="69" y="254"/>
              </a:cxn>
              <a:cxn ang="0">
                <a:pos x="59" y="205"/>
              </a:cxn>
              <a:cxn ang="0">
                <a:pos x="20" y="205"/>
              </a:cxn>
              <a:cxn ang="0">
                <a:pos x="20" y="137"/>
              </a:cxn>
              <a:cxn ang="0">
                <a:pos x="10" y="108"/>
              </a:cxn>
              <a:cxn ang="0">
                <a:pos x="30" y="88"/>
              </a:cxn>
              <a:cxn ang="0">
                <a:pos x="88" y="88"/>
              </a:cxn>
              <a:cxn ang="0">
                <a:pos x="127" y="39"/>
              </a:cxn>
              <a:cxn ang="0">
                <a:pos x="195" y="0"/>
              </a:cxn>
              <a:cxn ang="0">
                <a:pos x="244" y="10"/>
              </a:cxn>
              <a:cxn ang="0">
                <a:pos x="312" y="10"/>
              </a:cxn>
              <a:cxn ang="0">
                <a:pos x="342" y="29"/>
              </a:cxn>
              <a:cxn ang="0">
                <a:pos x="351" y="59"/>
              </a:cxn>
              <a:cxn ang="0">
                <a:pos x="342" y="108"/>
              </a:cxn>
              <a:cxn ang="0">
                <a:pos x="322" y="166"/>
              </a:cxn>
              <a:cxn ang="0">
                <a:pos x="351" y="225"/>
              </a:cxn>
              <a:cxn ang="0">
                <a:pos x="391" y="244"/>
              </a:cxn>
              <a:cxn ang="0">
                <a:pos x="430" y="273"/>
              </a:cxn>
              <a:cxn ang="0">
                <a:pos x="449" y="303"/>
              </a:cxn>
              <a:cxn ang="0">
                <a:pos x="478" y="332"/>
              </a:cxn>
              <a:cxn ang="0">
                <a:pos x="537" y="361"/>
              </a:cxn>
              <a:cxn ang="0">
                <a:pos x="556" y="390"/>
              </a:cxn>
              <a:cxn ang="0">
                <a:pos x="595" y="400"/>
              </a:cxn>
              <a:cxn ang="0">
                <a:pos x="615" y="430"/>
              </a:cxn>
              <a:cxn ang="0">
                <a:pos x="644" y="459"/>
              </a:cxn>
              <a:cxn ang="0">
                <a:pos x="644" y="508"/>
              </a:cxn>
              <a:cxn ang="0">
                <a:pos x="605" y="517"/>
              </a:cxn>
              <a:cxn ang="0">
                <a:pos x="566" y="508"/>
              </a:cxn>
              <a:cxn ang="0">
                <a:pos x="566" y="537"/>
              </a:cxn>
              <a:cxn ang="0">
                <a:pos x="566" y="576"/>
              </a:cxn>
              <a:cxn ang="0">
                <a:pos x="527" y="576"/>
              </a:cxn>
              <a:cxn ang="0">
                <a:pos x="488" y="586"/>
              </a:cxn>
              <a:cxn ang="0">
                <a:pos x="430" y="576"/>
              </a:cxn>
            </a:cxnLst>
            <a:rect l="0" t="0" r="r" b="b"/>
            <a:pathLst>
              <a:path w="654" h="595">
                <a:moveTo>
                  <a:pt x="430" y="556"/>
                </a:moveTo>
                <a:lnTo>
                  <a:pt x="410" y="547"/>
                </a:lnTo>
                <a:lnTo>
                  <a:pt x="400" y="527"/>
                </a:lnTo>
                <a:lnTo>
                  <a:pt x="381" y="498"/>
                </a:lnTo>
                <a:lnTo>
                  <a:pt x="371" y="488"/>
                </a:lnTo>
                <a:lnTo>
                  <a:pt x="371" y="469"/>
                </a:lnTo>
                <a:lnTo>
                  <a:pt x="361" y="449"/>
                </a:lnTo>
                <a:lnTo>
                  <a:pt x="351" y="439"/>
                </a:lnTo>
                <a:lnTo>
                  <a:pt x="332" y="439"/>
                </a:lnTo>
                <a:lnTo>
                  <a:pt x="332" y="420"/>
                </a:lnTo>
                <a:lnTo>
                  <a:pt x="322" y="420"/>
                </a:lnTo>
                <a:lnTo>
                  <a:pt x="312" y="400"/>
                </a:lnTo>
                <a:lnTo>
                  <a:pt x="303" y="390"/>
                </a:lnTo>
                <a:lnTo>
                  <a:pt x="303" y="410"/>
                </a:lnTo>
                <a:lnTo>
                  <a:pt x="283" y="420"/>
                </a:lnTo>
                <a:lnTo>
                  <a:pt x="244" y="390"/>
                </a:lnTo>
                <a:lnTo>
                  <a:pt x="225" y="400"/>
                </a:lnTo>
                <a:lnTo>
                  <a:pt x="215" y="410"/>
                </a:lnTo>
                <a:lnTo>
                  <a:pt x="195" y="410"/>
                </a:lnTo>
                <a:lnTo>
                  <a:pt x="195" y="400"/>
                </a:lnTo>
                <a:lnTo>
                  <a:pt x="186" y="390"/>
                </a:lnTo>
                <a:lnTo>
                  <a:pt x="176" y="381"/>
                </a:lnTo>
                <a:lnTo>
                  <a:pt x="186" y="351"/>
                </a:lnTo>
                <a:lnTo>
                  <a:pt x="186" y="332"/>
                </a:lnTo>
                <a:lnTo>
                  <a:pt x="176" y="312"/>
                </a:lnTo>
                <a:lnTo>
                  <a:pt x="166" y="303"/>
                </a:lnTo>
                <a:lnTo>
                  <a:pt x="156" y="312"/>
                </a:lnTo>
                <a:lnTo>
                  <a:pt x="147" y="303"/>
                </a:lnTo>
                <a:lnTo>
                  <a:pt x="137" y="293"/>
                </a:lnTo>
                <a:lnTo>
                  <a:pt x="117" y="283"/>
                </a:lnTo>
                <a:lnTo>
                  <a:pt x="98" y="273"/>
                </a:lnTo>
                <a:lnTo>
                  <a:pt x="88" y="264"/>
                </a:lnTo>
                <a:lnTo>
                  <a:pt x="78" y="273"/>
                </a:lnTo>
                <a:lnTo>
                  <a:pt x="69" y="273"/>
                </a:lnTo>
                <a:lnTo>
                  <a:pt x="59" y="264"/>
                </a:lnTo>
                <a:lnTo>
                  <a:pt x="69" y="254"/>
                </a:lnTo>
                <a:lnTo>
                  <a:pt x="69" y="244"/>
                </a:lnTo>
                <a:lnTo>
                  <a:pt x="78" y="225"/>
                </a:lnTo>
                <a:lnTo>
                  <a:pt x="59" y="205"/>
                </a:lnTo>
                <a:lnTo>
                  <a:pt x="39" y="205"/>
                </a:lnTo>
                <a:lnTo>
                  <a:pt x="30" y="205"/>
                </a:lnTo>
                <a:lnTo>
                  <a:pt x="20" y="205"/>
                </a:lnTo>
                <a:lnTo>
                  <a:pt x="30" y="176"/>
                </a:lnTo>
                <a:lnTo>
                  <a:pt x="30" y="147"/>
                </a:lnTo>
                <a:lnTo>
                  <a:pt x="20" y="137"/>
                </a:lnTo>
                <a:lnTo>
                  <a:pt x="0" y="127"/>
                </a:lnTo>
                <a:lnTo>
                  <a:pt x="0" y="117"/>
                </a:lnTo>
                <a:lnTo>
                  <a:pt x="10" y="108"/>
                </a:lnTo>
                <a:lnTo>
                  <a:pt x="10" y="98"/>
                </a:lnTo>
                <a:lnTo>
                  <a:pt x="20" y="88"/>
                </a:lnTo>
                <a:lnTo>
                  <a:pt x="30" y="88"/>
                </a:lnTo>
                <a:lnTo>
                  <a:pt x="49" y="88"/>
                </a:lnTo>
                <a:lnTo>
                  <a:pt x="69" y="108"/>
                </a:lnTo>
                <a:lnTo>
                  <a:pt x="88" y="88"/>
                </a:lnTo>
                <a:lnTo>
                  <a:pt x="108" y="69"/>
                </a:lnTo>
                <a:lnTo>
                  <a:pt x="127" y="49"/>
                </a:lnTo>
                <a:lnTo>
                  <a:pt x="127" y="39"/>
                </a:lnTo>
                <a:lnTo>
                  <a:pt x="166" y="29"/>
                </a:lnTo>
                <a:lnTo>
                  <a:pt x="186" y="10"/>
                </a:lnTo>
                <a:lnTo>
                  <a:pt x="195" y="0"/>
                </a:lnTo>
                <a:lnTo>
                  <a:pt x="205" y="0"/>
                </a:lnTo>
                <a:lnTo>
                  <a:pt x="225" y="0"/>
                </a:lnTo>
                <a:lnTo>
                  <a:pt x="244" y="10"/>
                </a:lnTo>
                <a:lnTo>
                  <a:pt x="254" y="10"/>
                </a:lnTo>
                <a:lnTo>
                  <a:pt x="254" y="0"/>
                </a:lnTo>
                <a:lnTo>
                  <a:pt x="312" y="10"/>
                </a:lnTo>
                <a:lnTo>
                  <a:pt x="322" y="10"/>
                </a:lnTo>
                <a:lnTo>
                  <a:pt x="322" y="29"/>
                </a:lnTo>
                <a:lnTo>
                  <a:pt x="342" y="29"/>
                </a:lnTo>
                <a:lnTo>
                  <a:pt x="342" y="39"/>
                </a:lnTo>
                <a:lnTo>
                  <a:pt x="342" y="49"/>
                </a:lnTo>
                <a:lnTo>
                  <a:pt x="351" y="59"/>
                </a:lnTo>
                <a:lnTo>
                  <a:pt x="351" y="69"/>
                </a:lnTo>
                <a:lnTo>
                  <a:pt x="342" y="88"/>
                </a:lnTo>
                <a:lnTo>
                  <a:pt x="342" y="108"/>
                </a:lnTo>
                <a:lnTo>
                  <a:pt x="322" y="117"/>
                </a:lnTo>
                <a:lnTo>
                  <a:pt x="322" y="147"/>
                </a:lnTo>
                <a:lnTo>
                  <a:pt x="322" y="166"/>
                </a:lnTo>
                <a:lnTo>
                  <a:pt x="332" y="186"/>
                </a:lnTo>
                <a:lnTo>
                  <a:pt x="342" y="195"/>
                </a:lnTo>
                <a:lnTo>
                  <a:pt x="351" y="225"/>
                </a:lnTo>
                <a:lnTo>
                  <a:pt x="371" y="225"/>
                </a:lnTo>
                <a:lnTo>
                  <a:pt x="381" y="234"/>
                </a:lnTo>
                <a:lnTo>
                  <a:pt x="391" y="244"/>
                </a:lnTo>
                <a:lnTo>
                  <a:pt x="400" y="273"/>
                </a:lnTo>
                <a:lnTo>
                  <a:pt x="410" y="273"/>
                </a:lnTo>
                <a:lnTo>
                  <a:pt x="430" y="273"/>
                </a:lnTo>
                <a:lnTo>
                  <a:pt x="449" y="283"/>
                </a:lnTo>
                <a:lnTo>
                  <a:pt x="459" y="293"/>
                </a:lnTo>
                <a:lnTo>
                  <a:pt x="449" y="303"/>
                </a:lnTo>
                <a:lnTo>
                  <a:pt x="459" y="312"/>
                </a:lnTo>
                <a:lnTo>
                  <a:pt x="469" y="322"/>
                </a:lnTo>
                <a:lnTo>
                  <a:pt x="478" y="332"/>
                </a:lnTo>
                <a:lnTo>
                  <a:pt x="508" y="361"/>
                </a:lnTo>
                <a:lnTo>
                  <a:pt x="527" y="361"/>
                </a:lnTo>
                <a:lnTo>
                  <a:pt x="537" y="361"/>
                </a:lnTo>
                <a:lnTo>
                  <a:pt x="556" y="371"/>
                </a:lnTo>
                <a:lnTo>
                  <a:pt x="547" y="381"/>
                </a:lnTo>
                <a:lnTo>
                  <a:pt x="556" y="390"/>
                </a:lnTo>
                <a:lnTo>
                  <a:pt x="566" y="410"/>
                </a:lnTo>
                <a:lnTo>
                  <a:pt x="576" y="420"/>
                </a:lnTo>
                <a:lnTo>
                  <a:pt x="595" y="400"/>
                </a:lnTo>
                <a:lnTo>
                  <a:pt x="615" y="400"/>
                </a:lnTo>
                <a:lnTo>
                  <a:pt x="625" y="420"/>
                </a:lnTo>
                <a:lnTo>
                  <a:pt x="615" y="430"/>
                </a:lnTo>
                <a:lnTo>
                  <a:pt x="625" y="449"/>
                </a:lnTo>
                <a:lnTo>
                  <a:pt x="634" y="459"/>
                </a:lnTo>
                <a:lnTo>
                  <a:pt x="644" y="459"/>
                </a:lnTo>
                <a:lnTo>
                  <a:pt x="654" y="469"/>
                </a:lnTo>
                <a:lnTo>
                  <a:pt x="654" y="488"/>
                </a:lnTo>
                <a:lnTo>
                  <a:pt x="644" y="508"/>
                </a:lnTo>
                <a:lnTo>
                  <a:pt x="634" y="517"/>
                </a:lnTo>
                <a:lnTo>
                  <a:pt x="625" y="517"/>
                </a:lnTo>
                <a:lnTo>
                  <a:pt x="605" y="517"/>
                </a:lnTo>
                <a:lnTo>
                  <a:pt x="586" y="527"/>
                </a:lnTo>
                <a:lnTo>
                  <a:pt x="576" y="517"/>
                </a:lnTo>
                <a:lnTo>
                  <a:pt x="566" y="508"/>
                </a:lnTo>
                <a:lnTo>
                  <a:pt x="556" y="517"/>
                </a:lnTo>
                <a:lnTo>
                  <a:pt x="547" y="527"/>
                </a:lnTo>
                <a:lnTo>
                  <a:pt x="566" y="537"/>
                </a:lnTo>
                <a:lnTo>
                  <a:pt x="576" y="547"/>
                </a:lnTo>
                <a:lnTo>
                  <a:pt x="566" y="556"/>
                </a:lnTo>
                <a:lnTo>
                  <a:pt x="566" y="576"/>
                </a:lnTo>
                <a:lnTo>
                  <a:pt x="556" y="586"/>
                </a:lnTo>
                <a:lnTo>
                  <a:pt x="547" y="595"/>
                </a:lnTo>
                <a:lnTo>
                  <a:pt x="527" y="576"/>
                </a:lnTo>
                <a:lnTo>
                  <a:pt x="517" y="566"/>
                </a:lnTo>
                <a:lnTo>
                  <a:pt x="508" y="566"/>
                </a:lnTo>
                <a:lnTo>
                  <a:pt x="488" y="586"/>
                </a:lnTo>
                <a:lnTo>
                  <a:pt x="469" y="576"/>
                </a:lnTo>
                <a:lnTo>
                  <a:pt x="449" y="586"/>
                </a:lnTo>
                <a:lnTo>
                  <a:pt x="430" y="576"/>
                </a:lnTo>
                <a:lnTo>
                  <a:pt x="430" y="55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en-US" sz="1100">
              <a:latin typeface="Polo" pitchFamily="2" charset="0"/>
              <a:cs typeface="+mn-cs"/>
            </a:endParaRPr>
          </a:p>
        </p:txBody>
      </p:sp>
      <p:sp>
        <p:nvSpPr>
          <p:cNvPr id="277" name="Freeform 71"/>
          <p:cNvSpPr>
            <a:spLocks/>
          </p:cNvSpPr>
          <p:nvPr>
            <p:custDataLst>
              <p:tags r:id="rId205"/>
            </p:custDataLst>
          </p:nvPr>
        </p:nvSpPr>
        <p:spPr bwMode="auto">
          <a:xfrm>
            <a:off x="4017963" y="3705225"/>
            <a:ext cx="728662" cy="836613"/>
          </a:xfrm>
          <a:custGeom>
            <a:avLst/>
            <a:gdLst/>
            <a:ahLst/>
            <a:cxnLst>
              <a:cxn ang="0">
                <a:pos x="0" y="702"/>
              </a:cxn>
              <a:cxn ang="0">
                <a:pos x="156" y="770"/>
              </a:cxn>
              <a:cxn ang="0">
                <a:pos x="253" y="858"/>
              </a:cxn>
              <a:cxn ang="0">
                <a:pos x="361" y="907"/>
              </a:cxn>
              <a:cxn ang="0">
                <a:pos x="351" y="1034"/>
              </a:cxn>
              <a:cxn ang="0">
                <a:pos x="497" y="1112"/>
              </a:cxn>
              <a:cxn ang="0">
                <a:pos x="644" y="1229"/>
              </a:cxn>
              <a:cxn ang="0">
                <a:pos x="800" y="1219"/>
              </a:cxn>
              <a:cxn ang="0">
                <a:pos x="897" y="1297"/>
              </a:cxn>
              <a:cxn ang="0">
                <a:pos x="1043" y="1297"/>
              </a:cxn>
              <a:cxn ang="0">
                <a:pos x="1043" y="1190"/>
              </a:cxn>
              <a:cxn ang="0">
                <a:pos x="1063" y="1073"/>
              </a:cxn>
              <a:cxn ang="0">
                <a:pos x="1043" y="966"/>
              </a:cxn>
              <a:cxn ang="0">
                <a:pos x="1014" y="888"/>
              </a:cxn>
              <a:cxn ang="0">
                <a:pos x="1004" y="741"/>
              </a:cxn>
              <a:cxn ang="0">
                <a:pos x="1063" y="634"/>
              </a:cxn>
              <a:cxn ang="0">
                <a:pos x="1043" y="546"/>
              </a:cxn>
              <a:cxn ang="0">
                <a:pos x="956" y="458"/>
              </a:cxn>
              <a:cxn ang="0">
                <a:pos x="1063" y="351"/>
              </a:cxn>
              <a:cxn ang="0">
                <a:pos x="1073" y="234"/>
              </a:cxn>
              <a:cxn ang="0">
                <a:pos x="995" y="205"/>
              </a:cxn>
              <a:cxn ang="0">
                <a:pos x="965" y="195"/>
              </a:cxn>
              <a:cxn ang="0">
                <a:pos x="975" y="292"/>
              </a:cxn>
              <a:cxn ang="0">
                <a:pos x="985" y="341"/>
              </a:cxn>
              <a:cxn ang="0">
                <a:pos x="887" y="253"/>
              </a:cxn>
              <a:cxn ang="0">
                <a:pos x="936" y="156"/>
              </a:cxn>
              <a:cxn ang="0">
                <a:pos x="917" y="127"/>
              </a:cxn>
              <a:cxn ang="0">
                <a:pos x="809" y="205"/>
              </a:cxn>
              <a:cxn ang="0">
                <a:pos x="780" y="341"/>
              </a:cxn>
              <a:cxn ang="0">
                <a:pos x="722" y="468"/>
              </a:cxn>
              <a:cxn ang="0">
                <a:pos x="839" y="517"/>
              </a:cxn>
              <a:cxn ang="0">
                <a:pos x="848" y="624"/>
              </a:cxn>
              <a:cxn ang="0">
                <a:pos x="858" y="692"/>
              </a:cxn>
              <a:cxn ang="0">
                <a:pos x="800" y="663"/>
              </a:cxn>
              <a:cxn ang="0">
                <a:pos x="829" y="566"/>
              </a:cxn>
              <a:cxn ang="0">
                <a:pos x="712" y="546"/>
              </a:cxn>
              <a:cxn ang="0">
                <a:pos x="605" y="692"/>
              </a:cxn>
              <a:cxn ang="0">
                <a:pos x="478" y="712"/>
              </a:cxn>
              <a:cxn ang="0">
                <a:pos x="429" y="644"/>
              </a:cxn>
              <a:cxn ang="0">
                <a:pos x="458" y="644"/>
              </a:cxn>
              <a:cxn ang="0">
                <a:pos x="517" y="683"/>
              </a:cxn>
              <a:cxn ang="0">
                <a:pos x="575" y="634"/>
              </a:cxn>
              <a:cxn ang="0">
                <a:pos x="634" y="595"/>
              </a:cxn>
              <a:cxn ang="0">
                <a:pos x="683" y="497"/>
              </a:cxn>
              <a:cxn ang="0">
                <a:pos x="702" y="390"/>
              </a:cxn>
              <a:cxn ang="0">
                <a:pos x="761" y="283"/>
              </a:cxn>
              <a:cxn ang="0">
                <a:pos x="800" y="156"/>
              </a:cxn>
              <a:cxn ang="0">
                <a:pos x="848" y="58"/>
              </a:cxn>
              <a:cxn ang="0">
                <a:pos x="761" y="19"/>
              </a:cxn>
              <a:cxn ang="0">
                <a:pos x="683" y="78"/>
              </a:cxn>
              <a:cxn ang="0">
                <a:pos x="556" y="156"/>
              </a:cxn>
              <a:cxn ang="0">
                <a:pos x="546" y="234"/>
              </a:cxn>
              <a:cxn ang="0">
                <a:pos x="487" y="302"/>
              </a:cxn>
              <a:cxn ang="0">
                <a:pos x="507" y="341"/>
              </a:cxn>
              <a:cxn ang="0">
                <a:pos x="468" y="468"/>
              </a:cxn>
              <a:cxn ang="0">
                <a:pos x="429" y="361"/>
              </a:cxn>
              <a:cxn ang="0">
                <a:pos x="361" y="302"/>
              </a:cxn>
              <a:cxn ang="0">
                <a:pos x="361" y="458"/>
              </a:cxn>
              <a:cxn ang="0">
                <a:pos x="234" y="517"/>
              </a:cxn>
            </a:cxnLst>
            <a:rect l="0" t="0" r="r" b="b"/>
            <a:pathLst>
              <a:path w="1092" h="1346">
                <a:moveTo>
                  <a:pt x="68" y="566"/>
                </a:moveTo>
                <a:lnTo>
                  <a:pt x="58" y="585"/>
                </a:lnTo>
                <a:lnTo>
                  <a:pt x="58" y="595"/>
                </a:lnTo>
                <a:lnTo>
                  <a:pt x="49" y="614"/>
                </a:lnTo>
                <a:lnTo>
                  <a:pt x="58" y="624"/>
                </a:lnTo>
                <a:lnTo>
                  <a:pt x="49" y="634"/>
                </a:lnTo>
                <a:lnTo>
                  <a:pt x="39" y="663"/>
                </a:lnTo>
                <a:lnTo>
                  <a:pt x="19" y="683"/>
                </a:lnTo>
                <a:lnTo>
                  <a:pt x="0" y="692"/>
                </a:lnTo>
                <a:lnTo>
                  <a:pt x="0" y="702"/>
                </a:lnTo>
                <a:lnTo>
                  <a:pt x="19" y="712"/>
                </a:lnTo>
                <a:lnTo>
                  <a:pt x="29" y="712"/>
                </a:lnTo>
                <a:lnTo>
                  <a:pt x="39" y="731"/>
                </a:lnTo>
                <a:lnTo>
                  <a:pt x="39" y="741"/>
                </a:lnTo>
                <a:lnTo>
                  <a:pt x="49" y="751"/>
                </a:lnTo>
                <a:lnTo>
                  <a:pt x="58" y="741"/>
                </a:lnTo>
                <a:lnTo>
                  <a:pt x="97" y="751"/>
                </a:lnTo>
                <a:lnTo>
                  <a:pt x="127" y="761"/>
                </a:lnTo>
                <a:lnTo>
                  <a:pt x="136" y="761"/>
                </a:lnTo>
                <a:lnTo>
                  <a:pt x="156" y="770"/>
                </a:lnTo>
                <a:lnTo>
                  <a:pt x="175" y="780"/>
                </a:lnTo>
                <a:lnTo>
                  <a:pt x="195" y="790"/>
                </a:lnTo>
                <a:lnTo>
                  <a:pt x="195" y="800"/>
                </a:lnTo>
                <a:lnTo>
                  <a:pt x="185" y="810"/>
                </a:lnTo>
                <a:lnTo>
                  <a:pt x="175" y="819"/>
                </a:lnTo>
                <a:lnTo>
                  <a:pt x="175" y="839"/>
                </a:lnTo>
                <a:lnTo>
                  <a:pt x="195" y="858"/>
                </a:lnTo>
                <a:lnTo>
                  <a:pt x="214" y="858"/>
                </a:lnTo>
                <a:lnTo>
                  <a:pt x="244" y="858"/>
                </a:lnTo>
                <a:lnTo>
                  <a:pt x="253" y="858"/>
                </a:lnTo>
                <a:lnTo>
                  <a:pt x="263" y="868"/>
                </a:lnTo>
                <a:lnTo>
                  <a:pt x="283" y="858"/>
                </a:lnTo>
                <a:lnTo>
                  <a:pt x="292" y="858"/>
                </a:lnTo>
                <a:lnTo>
                  <a:pt x="302" y="858"/>
                </a:lnTo>
                <a:lnTo>
                  <a:pt x="322" y="888"/>
                </a:lnTo>
                <a:lnTo>
                  <a:pt x="331" y="888"/>
                </a:lnTo>
                <a:lnTo>
                  <a:pt x="341" y="888"/>
                </a:lnTo>
                <a:lnTo>
                  <a:pt x="341" y="897"/>
                </a:lnTo>
                <a:lnTo>
                  <a:pt x="361" y="907"/>
                </a:lnTo>
                <a:lnTo>
                  <a:pt x="361" y="917"/>
                </a:lnTo>
                <a:lnTo>
                  <a:pt x="351" y="927"/>
                </a:lnTo>
                <a:lnTo>
                  <a:pt x="341" y="936"/>
                </a:lnTo>
                <a:lnTo>
                  <a:pt x="341" y="966"/>
                </a:lnTo>
                <a:lnTo>
                  <a:pt x="341" y="995"/>
                </a:lnTo>
                <a:lnTo>
                  <a:pt x="361" y="1005"/>
                </a:lnTo>
                <a:lnTo>
                  <a:pt x="361" y="1014"/>
                </a:lnTo>
                <a:lnTo>
                  <a:pt x="351" y="1014"/>
                </a:lnTo>
                <a:lnTo>
                  <a:pt x="351" y="1024"/>
                </a:lnTo>
                <a:lnTo>
                  <a:pt x="351" y="1034"/>
                </a:lnTo>
                <a:lnTo>
                  <a:pt x="370" y="1044"/>
                </a:lnTo>
                <a:lnTo>
                  <a:pt x="390" y="1053"/>
                </a:lnTo>
                <a:lnTo>
                  <a:pt x="400" y="1053"/>
                </a:lnTo>
                <a:lnTo>
                  <a:pt x="419" y="1044"/>
                </a:lnTo>
                <a:lnTo>
                  <a:pt x="429" y="1053"/>
                </a:lnTo>
                <a:lnTo>
                  <a:pt x="429" y="1073"/>
                </a:lnTo>
                <a:lnTo>
                  <a:pt x="439" y="1083"/>
                </a:lnTo>
                <a:lnTo>
                  <a:pt x="468" y="1083"/>
                </a:lnTo>
                <a:lnTo>
                  <a:pt x="478" y="1092"/>
                </a:lnTo>
                <a:lnTo>
                  <a:pt x="497" y="1112"/>
                </a:lnTo>
                <a:lnTo>
                  <a:pt x="517" y="1122"/>
                </a:lnTo>
                <a:lnTo>
                  <a:pt x="546" y="1122"/>
                </a:lnTo>
                <a:lnTo>
                  <a:pt x="556" y="1131"/>
                </a:lnTo>
                <a:lnTo>
                  <a:pt x="566" y="1151"/>
                </a:lnTo>
                <a:lnTo>
                  <a:pt x="595" y="1151"/>
                </a:lnTo>
                <a:lnTo>
                  <a:pt x="595" y="1171"/>
                </a:lnTo>
                <a:lnTo>
                  <a:pt x="605" y="1200"/>
                </a:lnTo>
                <a:lnTo>
                  <a:pt x="605" y="1210"/>
                </a:lnTo>
                <a:lnTo>
                  <a:pt x="624" y="1219"/>
                </a:lnTo>
                <a:lnTo>
                  <a:pt x="644" y="1229"/>
                </a:lnTo>
                <a:lnTo>
                  <a:pt x="673" y="1229"/>
                </a:lnTo>
                <a:lnTo>
                  <a:pt x="692" y="1229"/>
                </a:lnTo>
                <a:lnTo>
                  <a:pt x="702" y="1249"/>
                </a:lnTo>
                <a:lnTo>
                  <a:pt x="722" y="1258"/>
                </a:lnTo>
                <a:lnTo>
                  <a:pt x="731" y="1258"/>
                </a:lnTo>
                <a:lnTo>
                  <a:pt x="741" y="1249"/>
                </a:lnTo>
                <a:lnTo>
                  <a:pt x="751" y="1239"/>
                </a:lnTo>
                <a:lnTo>
                  <a:pt x="761" y="1229"/>
                </a:lnTo>
                <a:lnTo>
                  <a:pt x="780" y="1219"/>
                </a:lnTo>
                <a:lnTo>
                  <a:pt x="800" y="1219"/>
                </a:lnTo>
                <a:lnTo>
                  <a:pt x="809" y="1229"/>
                </a:lnTo>
                <a:lnTo>
                  <a:pt x="819" y="1258"/>
                </a:lnTo>
                <a:lnTo>
                  <a:pt x="829" y="1268"/>
                </a:lnTo>
                <a:lnTo>
                  <a:pt x="839" y="1268"/>
                </a:lnTo>
                <a:lnTo>
                  <a:pt x="858" y="1268"/>
                </a:lnTo>
                <a:lnTo>
                  <a:pt x="868" y="1278"/>
                </a:lnTo>
                <a:lnTo>
                  <a:pt x="878" y="1278"/>
                </a:lnTo>
                <a:lnTo>
                  <a:pt x="887" y="1278"/>
                </a:lnTo>
                <a:lnTo>
                  <a:pt x="897" y="1297"/>
                </a:lnTo>
                <a:lnTo>
                  <a:pt x="917" y="1317"/>
                </a:lnTo>
                <a:lnTo>
                  <a:pt x="936" y="1327"/>
                </a:lnTo>
                <a:lnTo>
                  <a:pt x="946" y="1317"/>
                </a:lnTo>
                <a:lnTo>
                  <a:pt x="956" y="1327"/>
                </a:lnTo>
                <a:lnTo>
                  <a:pt x="975" y="1346"/>
                </a:lnTo>
                <a:lnTo>
                  <a:pt x="985" y="1346"/>
                </a:lnTo>
                <a:lnTo>
                  <a:pt x="1004" y="1327"/>
                </a:lnTo>
                <a:lnTo>
                  <a:pt x="1004" y="1317"/>
                </a:lnTo>
                <a:lnTo>
                  <a:pt x="1024" y="1297"/>
                </a:lnTo>
                <a:lnTo>
                  <a:pt x="1043" y="1297"/>
                </a:lnTo>
                <a:lnTo>
                  <a:pt x="1053" y="1288"/>
                </a:lnTo>
                <a:lnTo>
                  <a:pt x="1043" y="1278"/>
                </a:lnTo>
                <a:lnTo>
                  <a:pt x="1053" y="1268"/>
                </a:lnTo>
                <a:lnTo>
                  <a:pt x="1053" y="1258"/>
                </a:lnTo>
                <a:lnTo>
                  <a:pt x="1043" y="1249"/>
                </a:lnTo>
                <a:lnTo>
                  <a:pt x="1043" y="1239"/>
                </a:lnTo>
                <a:lnTo>
                  <a:pt x="1034" y="1219"/>
                </a:lnTo>
                <a:lnTo>
                  <a:pt x="1034" y="1210"/>
                </a:lnTo>
                <a:lnTo>
                  <a:pt x="1043" y="1190"/>
                </a:lnTo>
                <a:lnTo>
                  <a:pt x="1063" y="1180"/>
                </a:lnTo>
                <a:lnTo>
                  <a:pt x="1083" y="1171"/>
                </a:lnTo>
                <a:lnTo>
                  <a:pt x="1092" y="1161"/>
                </a:lnTo>
                <a:lnTo>
                  <a:pt x="1092" y="1131"/>
                </a:lnTo>
                <a:lnTo>
                  <a:pt x="1092" y="1102"/>
                </a:lnTo>
                <a:lnTo>
                  <a:pt x="1092" y="1083"/>
                </a:lnTo>
                <a:lnTo>
                  <a:pt x="1083" y="1083"/>
                </a:lnTo>
                <a:lnTo>
                  <a:pt x="1063" y="1083"/>
                </a:lnTo>
                <a:lnTo>
                  <a:pt x="1053" y="1083"/>
                </a:lnTo>
                <a:lnTo>
                  <a:pt x="1063" y="1073"/>
                </a:lnTo>
                <a:lnTo>
                  <a:pt x="1053" y="1063"/>
                </a:lnTo>
                <a:lnTo>
                  <a:pt x="1034" y="1053"/>
                </a:lnTo>
                <a:lnTo>
                  <a:pt x="1024" y="1044"/>
                </a:lnTo>
                <a:lnTo>
                  <a:pt x="1034" y="1034"/>
                </a:lnTo>
                <a:lnTo>
                  <a:pt x="1043" y="1024"/>
                </a:lnTo>
                <a:lnTo>
                  <a:pt x="1043" y="1005"/>
                </a:lnTo>
                <a:lnTo>
                  <a:pt x="1043" y="995"/>
                </a:lnTo>
                <a:lnTo>
                  <a:pt x="1053" y="975"/>
                </a:lnTo>
                <a:lnTo>
                  <a:pt x="1043" y="966"/>
                </a:lnTo>
                <a:lnTo>
                  <a:pt x="1034" y="966"/>
                </a:lnTo>
                <a:lnTo>
                  <a:pt x="1024" y="966"/>
                </a:lnTo>
                <a:lnTo>
                  <a:pt x="1014" y="956"/>
                </a:lnTo>
                <a:lnTo>
                  <a:pt x="1014" y="936"/>
                </a:lnTo>
                <a:lnTo>
                  <a:pt x="1004" y="936"/>
                </a:lnTo>
                <a:lnTo>
                  <a:pt x="1004" y="917"/>
                </a:lnTo>
                <a:lnTo>
                  <a:pt x="1024" y="917"/>
                </a:lnTo>
                <a:lnTo>
                  <a:pt x="1024" y="907"/>
                </a:lnTo>
                <a:lnTo>
                  <a:pt x="1014" y="888"/>
                </a:lnTo>
                <a:lnTo>
                  <a:pt x="1004" y="878"/>
                </a:lnTo>
                <a:lnTo>
                  <a:pt x="1014" y="858"/>
                </a:lnTo>
                <a:lnTo>
                  <a:pt x="1024" y="849"/>
                </a:lnTo>
                <a:lnTo>
                  <a:pt x="1024" y="839"/>
                </a:lnTo>
                <a:lnTo>
                  <a:pt x="1004" y="810"/>
                </a:lnTo>
                <a:lnTo>
                  <a:pt x="995" y="790"/>
                </a:lnTo>
                <a:lnTo>
                  <a:pt x="995" y="780"/>
                </a:lnTo>
                <a:lnTo>
                  <a:pt x="1004" y="761"/>
                </a:lnTo>
                <a:lnTo>
                  <a:pt x="1004" y="741"/>
                </a:lnTo>
                <a:lnTo>
                  <a:pt x="1004" y="722"/>
                </a:lnTo>
                <a:lnTo>
                  <a:pt x="1004" y="702"/>
                </a:lnTo>
                <a:lnTo>
                  <a:pt x="1024" y="702"/>
                </a:lnTo>
                <a:lnTo>
                  <a:pt x="1034" y="702"/>
                </a:lnTo>
                <a:lnTo>
                  <a:pt x="1063" y="692"/>
                </a:lnTo>
                <a:lnTo>
                  <a:pt x="1053" y="663"/>
                </a:lnTo>
                <a:lnTo>
                  <a:pt x="1053" y="644"/>
                </a:lnTo>
                <a:lnTo>
                  <a:pt x="1053" y="634"/>
                </a:lnTo>
                <a:lnTo>
                  <a:pt x="1063" y="634"/>
                </a:lnTo>
                <a:lnTo>
                  <a:pt x="1073" y="634"/>
                </a:lnTo>
                <a:lnTo>
                  <a:pt x="1063" y="624"/>
                </a:lnTo>
                <a:lnTo>
                  <a:pt x="1053" y="614"/>
                </a:lnTo>
                <a:lnTo>
                  <a:pt x="1063" y="605"/>
                </a:lnTo>
                <a:lnTo>
                  <a:pt x="1063" y="585"/>
                </a:lnTo>
                <a:lnTo>
                  <a:pt x="1063" y="575"/>
                </a:lnTo>
                <a:lnTo>
                  <a:pt x="1053" y="566"/>
                </a:lnTo>
                <a:lnTo>
                  <a:pt x="1063" y="546"/>
                </a:lnTo>
                <a:lnTo>
                  <a:pt x="1053" y="536"/>
                </a:lnTo>
                <a:lnTo>
                  <a:pt x="1043" y="546"/>
                </a:lnTo>
                <a:lnTo>
                  <a:pt x="1034" y="556"/>
                </a:lnTo>
                <a:lnTo>
                  <a:pt x="1024" y="556"/>
                </a:lnTo>
                <a:lnTo>
                  <a:pt x="1004" y="546"/>
                </a:lnTo>
                <a:lnTo>
                  <a:pt x="985" y="527"/>
                </a:lnTo>
                <a:lnTo>
                  <a:pt x="975" y="527"/>
                </a:lnTo>
                <a:lnTo>
                  <a:pt x="975" y="517"/>
                </a:lnTo>
                <a:lnTo>
                  <a:pt x="975" y="497"/>
                </a:lnTo>
                <a:lnTo>
                  <a:pt x="965" y="488"/>
                </a:lnTo>
                <a:lnTo>
                  <a:pt x="956" y="478"/>
                </a:lnTo>
                <a:lnTo>
                  <a:pt x="956" y="458"/>
                </a:lnTo>
                <a:lnTo>
                  <a:pt x="965" y="449"/>
                </a:lnTo>
                <a:lnTo>
                  <a:pt x="985" y="439"/>
                </a:lnTo>
                <a:lnTo>
                  <a:pt x="995" y="439"/>
                </a:lnTo>
                <a:lnTo>
                  <a:pt x="1004" y="429"/>
                </a:lnTo>
                <a:lnTo>
                  <a:pt x="1014" y="429"/>
                </a:lnTo>
                <a:lnTo>
                  <a:pt x="1043" y="419"/>
                </a:lnTo>
                <a:lnTo>
                  <a:pt x="1053" y="409"/>
                </a:lnTo>
                <a:lnTo>
                  <a:pt x="1053" y="370"/>
                </a:lnTo>
                <a:lnTo>
                  <a:pt x="1063" y="351"/>
                </a:lnTo>
                <a:lnTo>
                  <a:pt x="1053" y="341"/>
                </a:lnTo>
                <a:lnTo>
                  <a:pt x="1043" y="331"/>
                </a:lnTo>
                <a:lnTo>
                  <a:pt x="1024" y="302"/>
                </a:lnTo>
                <a:lnTo>
                  <a:pt x="1024" y="283"/>
                </a:lnTo>
                <a:lnTo>
                  <a:pt x="1034" y="273"/>
                </a:lnTo>
                <a:lnTo>
                  <a:pt x="1043" y="273"/>
                </a:lnTo>
                <a:lnTo>
                  <a:pt x="1053" y="273"/>
                </a:lnTo>
                <a:lnTo>
                  <a:pt x="1083" y="244"/>
                </a:lnTo>
                <a:lnTo>
                  <a:pt x="1073" y="234"/>
                </a:lnTo>
                <a:lnTo>
                  <a:pt x="1053" y="224"/>
                </a:lnTo>
                <a:lnTo>
                  <a:pt x="1043" y="214"/>
                </a:lnTo>
                <a:lnTo>
                  <a:pt x="1034" y="195"/>
                </a:lnTo>
                <a:lnTo>
                  <a:pt x="1043" y="195"/>
                </a:lnTo>
                <a:lnTo>
                  <a:pt x="1043" y="185"/>
                </a:lnTo>
                <a:lnTo>
                  <a:pt x="1014" y="185"/>
                </a:lnTo>
                <a:lnTo>
                  <a:pt x="1004" y="195"/>
                </a:lnTo>
                <a:lnTo>
                  <a:pt x="995" y="195"/>
                </a:lnTo>
                <a:lnTo>
                  <a:pt x="995" y="205"/>
                </a:lnTo>
                <a:lnTo>
                  <a:pt x="1004" y="205"/>
                </a:lnTo>
                <a:lnTo>
                  <a:pt x="1014" y="214"/>
                </a:lnTo>
                <a:lnTo>
                  <a:pt x="1014" y="234"/>
                </a:lnTo>
                <a:lnTo>
                  <a:pt x="1004" y="234"/>
                </a:lnTo>
                <a:lnTo>
                  <a:pt x="985" y="234"/>
                </a:lnTo>
                <a:lnTo>
                  <a:pt x="985" y="214"/>
                </a:lnTo>
                <a:lnTo>
                  <a:pt x="975" y="214"/>
                </a:lnTo>
                <a:lnTo>
                  <a:pt x="975" y="195"/>
                </a:lnTo>
                <a:lnTo>
                  <a:pt x="965" y="195"/>
                </a:lnTo>
                <a:lnTo>
                  <a:pt x="956" y="195"/>
                </a:lnTo>
                <a:lnTo>
                  <a:pt x="936" y="195"/>
                </a:lnTo>
                <a:lnTo>
                  <a:pt x="926" y="205"/>
                </a:lnTo>
                <a:lnTo>
                  <a:pt x="926" y="224"/>
                </a:lnTo>
                <a:lnTo>
                  <a:pt x="926" y="244"/>
                </a:lnTo>
                <a:lnTo>
                  <a:pt x="936" y="263"/>
                </a:lnTo>
                <a:lnTo>
                  <a:pt x="946" y="273"/>
                </a:lnTo>
                <a:lnTo>
                  <a:pt x="956" y="292"/>
                </a:lnTo>
                <a:lnTo>
                  <a:pt x="965" y="292"/>
                </a:lnTo>
                <a:lnTo>
                  <a:pt x="975" y="292"/>
                </a:lnTo>
                <a:lnTo>
                  <a:pt x="985" y="302"/>
                </a:lnTo>
                <a:lnTo>
                  <a:pt x="985" y="312"/>
                </a:lnTo>
                <a:lnTo>
                  <a:pt x="975" y="322"/>
                </a:lnTo>
                <a:lnTo>
                  <a:pt x="985" y="331"/>
                </a:lnTo>
                <a:lnTo>
                  <a:pt x="995" y="331"/>
                </a:lnTo>
                <a:lnTo>
                  <a:pt x="1004" y="331"/>
                </a:lnTo>
                <a:lnTo>
                  <a:pt x="1004" y="341"/>
                </a:lnTo>
                <a:lnTo>
                  <a:pt x="1004" y="351"/>
                </a:lnTo>
                <a:lnTo>
                  <a:pt x="985" y="341"/>
                </a:lnTo>
                <a:lnTo>
                  <a:pt x="975" y="341"/>
                </a:lnTo>
                <a:lnTo>
                  <a:pt x="965" y="331"/>
                </a:lnTo>
                <a:lnTo>
                  <a:pt x="965" y="312"/>
                </a:lnTo>
                <a:lnTo>
                  <a:pt x="956" y="302"/>
                </a:lnTo>
                <a:lnTo>
                  <a:pt x="946" y="292"/>
                </a:lnTo>
                <a:lnTo>
                  <a:pt x="936" y="292"/>
                </a:lnTo>
                <a:lnTo>
                  <a:pt x="926" y="292"/>
                </a:lnTo>
                <a:lnTo>
                  <a:pt x="917" y="283"/>
                </a:lnTo>
                <a:lnTo>
                  <a:pt x="897" y="273"/>
                </a:lnTo>
                <a:lnTo>
                  <a:pt x="887" y="253"/>
                </a:lnTo>
                <a:lnTo>
                  <a:pt x="887" y="244"/>
                </a:lnTo>
                <a:lnTo>
                  <a:pt x="897" y="234"/>
                </a:lnTo>
                <a:lnTo>
                  <a:pt x="897" y="214"/>
                </a:lnTo>
                <a:lnTo>
                  <a:pt x="897" y="195"/>
                </a:lnTo>
                <a:lnTo>
                  <a:pt x="907" y="185"/>
                </a:lnTo>
                <a:lnTo>
                  <a:pt x="917" y="175"/>
                </a:lnTo>
                <a:lnTo>
                  <a:pt x="926" y="166"/>
                </a:lnTo>
                <a:lnTo>
                  <a:pt x="936" y="156"/>
                </a:lnTo>
                <a:lnTo>
                  <a:pt x="936" y="146"/>
                </a:lnTo>
                <a:lnTo>
                  <a:pt x="936" y="136"/>
                </a:lnTo>
                <a:lnTo>
                  <a:pt x="946" y="127"/>
                </a:lnTo>
                <a:lnTo>
                  <a:pt x="946" y="117"/>
                </a:lnTo>
                <a:lnTo>
                  <a:pt x="946" y="97"/>
                </a:lnTo>
                <a:lnTo>
                  <a:pt x="936" y="88"/>
                </a:lnTo>
                <a:lnTo>
                  <a:pt x="926" y="97"/>
                </a:lnTo>
                <a:lnTo>
                  <a:pt x="926" y="107"/>
                </a:lnTo>
                <a:lnTo>
                  <a:pt x="917" y="127"/>
                </a:lnTo>
                <a:lnTo>
                  <a:pt x="917" y="146"/>
                </a:lnTo>
                <a:lnTo>
                  <a:pt x="907" y="156"/>
                </a:lnTo>
                <a:lnTo>
                  <a:pt x="897" y="175"/>
                </a:lnTo>
                <a:lnTo>
                  <a:pt x="878" y="175"/>
                </a:lnTo>
                <a:lnTo>
                  <a:pt x="858" y="175"/>
                </a:lnTo>
                <a:lnTo>
                  <a:pt x="848" y="175"/>
                </a:lnTo>
                <a:lnTo>
                  <a:pt x="839" y="185"/>
                </a:lnTo>
                <a:lnTo>
                  <a:pt x="829" y="195"/>
                </a:lnTo>
                <a:lnTo>
                  <a:pt x="809" y="205"/>
                </a:lnTo>
                <a:lnTo>
                  <a:pt x="800" y="205"/>
                </a:lnTo>
                <a:lnTo>
                  <a:pt x="800" y="214"/>
                </a:lnTo>
                <a:lnTo>
                  <a:pt x="800" y="224"/>
                </a:lnTo>
                <a:lnTo>
                  <a:pt x="809" y="234"/>
                </a:lnTo>
                <a:lnTo>
                  <a:pt x="809" y="263"/>
                </a:lnTo>
                <a:lnTo>
                  <a:pt x="800" y="283"/>
                </a:lnTo>
                <a:lnTo>
                  <a:pt x="809" y="312"/>
                </a:lnTo>
                <a:lnTo>
                  <a:pt x="809" y="331"/>
                </a:lnTo>
                <a:lnTo>
                  <a:pt x="800" y="331"/>
                </a:lnTo>
                <a:lnTo>
                  <a:pt x="780" y="341"/>
                </a:lnTo>
                <a:lnTo>
                  <a:pt x="770" y="351"/>
                </a:lnTo>
                <a:lnTo>
                  <a:pt x="761" y="361"/>
                </a:lnTo>
                <a:lnTo>
                  <a:pt x="761" y="370"/>
                </a:lnTo>
                <a:lnTo>
                  <a:pt x="741" y="390"/>
                </a:lnTo>
                <a:lnTo>
                  <a:pt x="741" y="409"/>
                </a:lnTo>
                <a:lnTo>
                  <a:pt x="741" y="429"/>
                </a:lnTo>
                <a:lnTo>
                  <a:pt x="741" y="439"/>
                </a:lnTo>
                <a:lnTo>
                  <a:pt x="731" y="449"/>
                </a:lnTo>
                <a:lnTo>
                  <a:pt x="722" y="458"/>
                </a:lnTo>
                <a:lnTo>
                  <a:pt x="722" y="468"/>
                </a:lnTo>
                <a:lnTo>
                  <a:pt x="731" y="468"/>
                </a:lnTo>
                <a:lnTo>
                  <a:pt x="741" y="468"/>
                </a:lnTo>
                <a:lnTo>
                  <a:pt x="751" y="478"/>
                </a:lnTo>
                <a:lnTo>
                  <a:pt x="751" y="488"/>
                </a:lnTo>
                <a:lnTo>
                  <a:pt x="770" y="488"/>
                </a:lnTo>
                <a:lnTo>
                  <a:pt x="790" y="488"/>
                </a:lnTo>
                <a:lnTo>
                  <a:pt x="800" y="488"/>
                </a:lnTo>
                <a:lnTo>
                  <a:pt x="809" y="488"/>
                </a:lnTo>
                <a:lnTo>
                  <a:pt x="829" y="497"/>
                </a:lnTo>
                <a:lnTo>
                  <a:pt x="839" y="517"/>
                </a:lnTo>
                <a:lnTo>
                  <a:pt x="848" y="527"/>
                </a:lnTo>
                <a:lnTo>
                  <a:pt x="848" y="536"/>
                </a:lnTo>
                <a:lnTo>
                  <a:pt x="858" y="546"/>
                </a:lnTo>
                <a:lnTo>
                  <a:pt x="858" y="556"/>
                </a:lnTo>
                <a:lnTo>
                  <a:pt x="858" y="575"/>
                </a:lnTo>
                <a:lnTo>
                  <a:pt x="858" y="585"/>
                </a:lnTo>
                <a:lnTo>
                  <a:pt x="868" y="605"/>
                </a:lnTo>
                <a:lnTo>
                  <a:pt x="858" y="614"/>
                </a:lnTo>
                <a:lnTo>
                  <a:pt x="858" y="624"/>
                </a:lnTo>
                <a:lnTo>
                  <a:pt x="848" y="624"/>
                </a:lnTo>
                <a:lnTo>
                  <a:pt x="839" y="624"/>
                </a:lnTo>
                <a:lnTo>
                  <a:pt x="829" y="634"/>
                </a:lnTo>
                <a:lnTo>
                  <a:pt x="819" y="644"/>
                </a:lnTo>
                <a:lnTo>
                  <a:pt x="819" y="663"/>
                </a:lnTo>
                <a:lnTo>
                  <a:pt x="819" y="673"/>
                </a:lnTo>
                <a:lnTo>
                  <a:pt x="829" y="673"/>
                </a:lnTo>
                <a:lnTo>
                  <a:pt x="829" y="683"/>
                </a:lnTo>
                <a:lnTo>
                  <a:pt x="848" y="692"/>
                </a:lnTo>
                <a:lnTo>
                  <a:pt x="858" y="692"/>
                </a:lnTo>
                <a:lnTo>
                  <a:pt x="868" y="702"/>
                </a:lnTo>
                <a:lnTo>
                  <a:pt x="868" y="712"/>
                </a:lnTo>
                <a:lnTo>
                  <a:pt x="858" y="702"/>
                </a:lnTo>
                <a:lnTo>
                  <a:pt x="848" y="702"/>
                </a:lnTo>
                <a:lnTo>
                  <a:pt x="829" y="692"/>
                </a:lnTo>
                <a:lnTo>
                  <a:pt x="819" y="702"/>
                </a:lnTo>
                <a:lnTo>
                  <a:pt x="819" y="692"/>
                </a:lnTo>
                <a:lnTo>
                  <a:pt x="809" y="683"/>
                </a:lnTo>
                <a:lnTo>
                  <a:pt x="800" y="663"/>
                </a:lnTo>
                <a:lnTo>
                  <a:pt x="809" y="653"/>
                </a:lnTo>
                <a:lnTo>
                  <a:pt x="809" y="634"/>
                </a:lnTo>
                <a:lnTo>
                  <a:pt x="819" y="624"/>
                </a:lnTo>
                <a:lnTo>
                  <a:pt x="829" y="614"/>
                </a:lnTo>
                <a:lnTo>
                  <a:pt x="819" y="605"/>
                </a:lnTo>
                <a:lnTo>
                  <a:pt x="839" y="595"/>
                </a:lnTo>
                <a:lnTo>
                  <a:pt x="839" y="585"/>
                </a:lnTo>
                <a:lnTo>
                  <a:pt x="839" y="575"/>
                </a:lnTo>
                <a:lnTo>
                  <a:pt x="829" y="566"/>
                </a:lnTo>
                <a:lnTo>
                  <a:pt x="829" y="546"/>
                </a:lnTo>
                <a:lnTo>
                  <a:pt x="829" y="527"/>
                </a:lnTo>
                <a:lnTo>
                  <a:pt x="819" y="517"/>
                </a:lnTo>
                <a:lnTo>
                  <a:pt x="800" y="517"/>
                </a:lnTo>
                <a:lnTo>
                  <a:pt x="761" y="507"/>
                </a:lnTo>
                <a:lnTo>
                  <a:pt x="741" y="517"/>
                </a:lnTo>
                <a:lnTo>
                  <a:pt x="731" y="527"/>
                </a:lnTo>
                <a:lnTo>
                  <a:pt x="731" y="536"/>
                </a:lnTo>
                <a:lnTo>
                  <a:pt x="712" y="546"/>
                </a:lnTo>
                <a:lnTo>
                  <a:pt x="712" y="566"/>
                </a:lnTo>
                <a:lnTo>
                  <a:pt x="712" y="575"/>
                </a:lnTo>
                <a:lnTo>
                  <a:pt x="712" y="605"/>
                </a:lnTo>
                <a:lnTo>
                  <a:pt x="702" y="614"/>
                </a:lnTo>
                <a:lnTo>
                  <a:pt x="692" y="634"/>
                </a:lnTo>
                <a:lnTo>
                  <a:pt x="673" y="634"/>
                </a:lnTo>
                <a:lnTo>
                  <a:pt x="653" y="644"/>
                </a:lnTo>
                <a:lnTo>
                  <a:pt x="644" y="673"/>
                </a:lnTo>
                <a:lnTo>
                  <a:pt x="634" y="683"/>
                </a:lnTo>
                <a:lnTo>
                  <a:pt x="605" y="692"/>
                </a:lnTo>
                <a:lnTo>
                  <a:pt x="595" y="702"/>
                </a:lnTo>
                <a:lnTo>
                  <a:pt x="566" y="712"/>
                </a:lnTo>
                <a:lnTo>
                  <a:pt x="556" y="712"/>
                </a:lnTo>
                <a:lnTo>
                  <a:pt x="546" y="722"/>
                </a:lnTo>
                <a:lnTo>
                  <a:pt x="536" y="731"/>
                </a:lnTo>
                <a:lnTo>
                  <a:pt x="517" y="741"/>
                </a:lnTo>
                <a:lnTo>
                  <a:pt x="507" y="731"/>
                </a:lnTo>
                <a:lnTo>
                  <a:pt x="497" y="722"/>
                </a:lnTo>
                <a:lnTo>
                  <a:pt x="497" y="712"/>
                </a:lnTo>
                <a:lnTo>
                  <a:pt x="478" y="712"/>
                </a:lnTo>
                <a:lnTo>
                  <a:pt x="458" y="702"/>
                </a:lnTo>
                <a:lnTo>
                  <a:pt x="448" y="692"/>
                </a:lnTo>
                <a:lnTo>
                  <a:pt x="439" y="692"/>
                </a:lnTo>
                <a:lnTo>
                  <a:pt x="429" y="673"/>
                </a:lnTo>
                <a:lnTo>
                  <a:pt x="419" y="663"/>
                </a:lnTo>
                <a:lnTo>
                  <a:pt x="409" y="653"/>
                </a:lnTo>
                <a:lnTo>
                  <a:pt x="409" y="634"/>
                </a:lnTo>
                <a:lnTo>
                  <a:pt x="419" y="634"/>
                </a:lnTo>
                <a:lnTo>
                  <a:pt x="429" y="634"/>
                </a:lnTo>
                <a:lnTo>
                  <a:pt x="429" y="644"/>
                </a:lnTo>
                <a:lnTo>
                  <a:pt x="429" y="653"/>
                </a:lnTo>
                <a:lnTo>
                  <a:pt x="429" y="663"/>
                </a:lnTo>
                <a:lnTo>
                  <a:pt x="439" y="673"/>
                </a:lnTo>
                <a:lnTo>
                  <a:pt x="439" y="663"/>
                </a:lnTo>
                <a:lnTo>
                  <a:pt x="448" y="663"/>
                </a:lnTo>
                <a:lnTo>
                  <a:pt x="448" y="644"/>
                </a:lnTo>
                <a:lnTo>
                  <a:pt x="439" y="634"/>
                </a:lnTo>
                <a:lnTo>
                  <a:pt x="448" y="634"/>
                </a:lnTo>
                <a:lnTo>
                  <a:pt x="458" y="634"/>
                </a:lnTo>
                <a:lnTo>
                  <a:pt x="458" y="644"/>
                </a:lnTo>
                <a:lnTo>
                  <a:pt x="458" y="663"/>
                </a:lnTo>
                <a:lnTo>
                  <a:pt x="468" y="663"/>
                </a:lnTo>
                <a:lnTo>
                  <a:pt x="458" y="673"/>
                </a:lnTo>
                <a:lnTo>
                  <a:pt x="458" y="683"/>
                </a:lnTo>
                <a:lnTo>
                  <a:pt x="468" y="683"/>
                </a:lnTo>
                <a:lnTo>
                  <a:pt x="478" y="683"/>
                </a:lnTo>
                <a:lnTo>
                  <a:pt x="487" y="683"/>
                </a:lnTo>
                <a:lnTo>
                  <a:pt x="497" y="683"/>
                </a:lnTo>
                <a:lnTo>
                  <a:pt x="517" y="683"/>
                </a:lnTo>
                <a:lnTo>
                  <a:pt x="517" y="673"/>
                </a:lnTo>
                <a:lnTo>
                  <a:pt x="517" y="663"/>
                </a:lnTo>
                <a:lnTo>
                  <a:pt x="517" y="653"/>
                </a:lnTo>
                <a:lnTo>
                  <a:pt x="527" y="653"/>
                </a:lnTo>
                <a:lnTo>
                  <a:pt x="536" y="663"/>
                </a:lnTo>
                <a:lnTo>
                  <a:pt x="546" y="663"/>
                </a:lnTo>
                <a:lnTo>
                  <a:pt x="556" y="653"/>
                </a:lnTo>
                <a:lnTo>
                  <a:pt x="556" y="634"/>
                </a:lnTo>
                <a:lnTo>
                  <a:pt x="566" y="634"/>
                </a:lnTo>
                <a:lnTo>
                  <a:pt x="575" y="634"/>
                </a:lnTo>
                <a:lnTo>
                  <a:pt x="566" y="624"/>
                </a:lnTo>
                <a:lnTo>
                  <a:pt x="575" y="624"/>
                </a:lnTo>
                <a:lnTo>
                  <a:pt x="585" y="624"/>
                </a:lnTo>
                <a:lnTo>
                  <a:pt x="595" y="614"/>
                </a:lnTo>
                <a:lnTo>
                  <a:pt x="605" y="605"/>
                </a:lnTo>
                <a:lnTo>
                  <a:pt x="614" y="605"/>
                </a:lnTo>
                <a:lnTo>
                  <a:pt x="624" y="605"/>
                </a:lnTo>
                <a:lnTo>
                  <a:pt x="634" y="595"/>
                </a:lnTo>
                <a:lnTo>
                  <a:pt x="644" y="585"/>
                </a:lnTo>
                <a:lnTo>
                  <a:pt x="644" y="566"/>
                </a:lnTo>
                <a:lnTo>
                  <a:pt x="653" y="556"/>
                </a:lnTo>
                <a:lnTo>
                  <a:pt x="653" y="546"/>
                </a:lnTo>
                <a:lnTo>
                  <a:pt x="673" y="546"/>
                </a:lnTo>
                <a:lnTo>
                  <a:pt x="683" y="536"/>
                </a:lnTo>
                <a:lnTo>
                  <a:pt x="683" y="527"/>
                </a:lnTo>
                <a:lnTo>
                  <a:pt x="683" y="497"/>
                </a:lnTo>
                <a:lnTo>
                  <a:pt x="673" y="488"/>
                </a:lnTo>
                <a:lnTo>
                  <a:pt x="663" y="478"/>
                </a:lnTo>
                <a:lnTo>
                  <a:pt x="663" y="468"/>
                </a:lnTo>
                <a:lnTo>
                  <a:pt x="673" y="449"/>
                </a:lnTo>
                <a:lnTo>
                  <a:pt x="673" y="439"/>
                </a:lnTo>
                <a:lnTo>
                  <a:pt x="683" y="429"/>
                </a:lnTo>
                <a:lnTo>
                  <a:pt x="692" y="419"/>
                </a:lnTo>
                <a:lnTo>
                  <a:pt x="692" y="409"/>
                </a:lnTo>
                <a:lnTo>
                  <a:pt x="702" y="390"/>
                </a:lnTo>
                <a:lnTo>
                  <a:pt x="712" y="380"/>
                </a:lnTo>
                <a:lnTo>
                  <a:pt x="712" y="361"/>
                </a:lnTo>
                <a:lnTo>
                  <a:pt x="722" y="351"/>
                </a:lnTo>
                <a:lnTo>
                  <a:pt x="731" y="341"/>
                </a:lnTo>
                <a:lnTo>
                  <a:pt x="731" y="322"/>
                </a:lnTo>
                <a:lnTo>
                  <a:pt x="741" y="312"/>
                </a:lnTo>
                <a:lnTo>
                  <a:pt x="751" y="302"/>
                </a:lnTo>
                <a:lnTo>
                  <a:pt x="761" y="292"/>
                </a:lnTo>
                <a:lnTo>
                  <a:pt x="761" y="283"/>
                </a:lnTo>
                <a:lnTo>
                  <a:pt x="761" y="263"/>
                </a:lnTo>
                <a:lnTo>
                  <a:pt x="770" y="253"/>
                </a:lnTo>
                <a:lnTo>
                  <a:pt x="770" y="234"/>
                </a:lnTo>
                <a:lnTo>
                  <a:pt x="770" y="224"/>
                </a:lnTo>
                <a:lnTo>
                  <a:pt x="761" y="214"/>
                </a:lnTo>
                <a:lnTo>
                  <a:pt x="761" y="195"/>
                </a:lnTo>
                <a:lnTo>
                  <a:pt x="770" y="185"/>
                </a:lnTo>
                <a:lnTo>
                  <a:pt x="780" y="185"/>
                </a:lnTo>
                <a:lnTo>
                  <a:pt x="790" y="175"/>
                </a:lnTo>
                <a:lnTo>
                  <a:pt x="800" y="156"/>
                </a:lnTo>
                <a:lnTo>
                  <a:pt x="809" y="146"/>
                </a:lnTo>
                <a:lnTo>
                  <a:pt x="829" y="136"/>
                </a:lnTo>
                <a:lnTo>
                  <a:pt x="829" y="127"/>
                </a:lnTo>
                <a:lnTo>
                  <a:pt x="839" y="127"/>
                </a:lnTo>
                <a:lnTo>
                  <a:pt x="839" y="117"/>
                </a:lnTo>
                <a:lnTo>
                  <a:pt x="848" y="97"/>
                </a:lnTo>
                <a:lnTo>
                  <a:pt x="848" y="88"/>
                </a:lnTo>
                <a:lnTo>
                  <a:pt x="848" y="68"/>
                </a:lnTo>
                <a:lnTo>
                  <a:pt x="848" y="58"/>
                </a:lnTo>
                <a:lnTo>
                  <a:pt x="839" y="58"/>
                </a:lnTo>
                <a:lnTo>
                  <a:pt x="829" y="58"/>
                </a:lnTo>
                <a:lnTo>
                  <a:pt x="829" y="48"/>
                </a:lnTo>
                <a:lnTo>
                  <a:pt x="819" y="39"/>
                </a:lnTo>
                <a:lnTo>
                  <a:pt x="800" y="29"/>
                </a:lnTo>
                <a:lnTo>
                  <a:pt x="800" y="39"/>
                </a:lnTo>
                <a:lnTo>
                  <a:pt x="800" y="29"/>
                </a:lnTo>
                <a:lnTo>
                  <a:pt x="780" y="19"/>
                </a:lnTo>
                <a:lnTo>
                  <a:pt x="761" y="19"/>
                </a:lnTo>
                <a:lnTo>
                  <a:pt x="761" y="9"/>
                </a:lnTo>
                <a:lnTo>
                  <a:pt x="761" y="0"/>
                </a:lnTo>
                <a:lnTo>
                  <a:pt x="751" y="9"/>
                </a:lnTo>
                <a:lnTo>
                  <a:pt x="741" y="19"/>
                </a:lnTo>
                <a:lnTo>
                  <a:pt x="722" y="29"/>
                </a:lnTo>
                <a:lnTo>
                  <a:pt x="712" y="39"/>
                </a:lnTo>
                <a:lnTo>
                  <a:pt x="712" y="48"/>
                </a:lnTo>
                <a:lnTo>
                  <a:pt x="702" y="58"/>
                </a:lnTo>
                <a:lnTo>
                  <a:pt x="692" y="78"/>
                </a:lnTo>
                <a:lnTo>
                  <a:pt x="683" y="78"/>
                </a:lnTo>
                <a:lnTo>
                  <a:pt x="673" y="97"/>
                </a:lnTo>
                <a:lnTo>
                  <a:pt x="663" y="107"/>
                </a:lnTo>
                <a:lnTo>
                  <a:pt x="644" y="117"/>
                </a:lnTo>
                <a:lnTo>
                  <a:pt x="624" y="117"/>
                </a:lnTo>
                <a:lnTo>
                  <a:pt x="605" y="127"/>
                </a:lnTo>
                <a:lnTo>
                  <a:pt x="575" y="136"/>
                </a:lnTo>
                <a:lnTo>
                  <a:pt x="566" y="146"/>
                </a:lnTo>
                <a:lnTo>
                  <a:pt x="566" y="156"/>
                </a:lnTo>
                <a:lnTo>
                  <a:pt x="556" y="156"/>
                </a:lnTo>
                <a:lnTo>
                  <a:pt x="556" y="166"/>
                </a:lnTo>
                <a:lnTo>
                  <a:pt x="546" y="175"/>
                </a:lnTo>
                <a:lnTo>
                  <a:pt x="536" y="175"/>
                </a:lnTo>
                <a:lnTo>
                  <a:pt x="556" y="175"/>
                </a:lnTo>
                <a:lnTo>
                  <a:pt x="566" y="185"/>
                </a:lnTo>
                <a:lnTo>
                  <a:pt x="566" y="195"/>
                </a:lnTo>
                <a:lnTo>
                  <a:pt x="556" y="195"/>
                </a:lnTo>
                <a:lnTo>
                  <a:pt x="546" y="214"/>
                </a:lnTo>
                <a:lnTo>
                  <a:pt x="546" y="224"/>
                </a:lnTo>
                <a:lnTo>
                  <a:pt x="546" y="234"/>
                </a:lnTo>
                <a:lnTo>
                  <a:pt x="536" y="234"/>
                </a:lnTo>
                <a:lnTo>
                  <a:pt x="527" y="244"/>
                </a:lnTo>
                <a:lnTo>
                  <a:pt x="527" y="263"/>
                </a:lnTo>
                <a:lnTo>
                  <a:pt x="517" y="263"/>
                </a:lnTo>
                <a:lnTo>
                  <a:pt x="507" y="263"/>
                </a:lnTo>
                <a:lnTo>
                  <a:pt x="497" y="253"/>
                </a:lnTo>
                <a:lnTo>
                  <a:pt x="497" y="273"/>
                </a:lnTo>
                <a:lnTo>
                  <a:pt x="487" y="283"/>
                </a:lnTo>
                <a:lnTo>
                  <a:pt x="478" y="292"/>
                </a:lnTo>
                <a:lnTo>
                  <a:pt x="487" y="302"/>
                </a:lnTo>
                <a:lnTo>
                  <a:pt x="497" y="292"/>
                </a:lnTo>
                <a:lnTo>
                  <a:pt x="497" y="302"/>
                </a:lnTo>
                <a:lnTo>
                  <a:pt x="507" y="312"/>
                </a:lnTo>
                <a:lnTo>
                  <a:pt x="507" y="322"/>
                </a:lnTo>
                <a:lnTo>
                  <a:pt x="517" y="331"/>
                </a:lnTo>
                <a:lnTo>
                  <a:pt x="527" y="331"/>
                </a:lnTo>
                <a:lnTo>
                  <a:pt x="517" y="341"/>
                </a:lnTo>
                <a:lnTo>
                  <a:pt x="507" y="341"/>
                </a:lnTo>
                <a:lnTo>
                  <a:pt x="507" y="351"/>
                </a:lnTo>
                <a:lnTo>
                  <a:pt x="507" y="370"/>
                </a:lnTo>
                <a:lnTo>
                  <a:pt x="507" y="400"/>
                </a:lnTo>
                <a:lnTo>
                  <a:pt x="527" y="409"/>
                </a:lnTo>
                <a:lnTo>
                  <a:pt x="527" y="419"/>
                </a:lnTo>
                <a:lnTo>
                  <a:pt x="507" y="429"/>
                </a:lnTo>
                <a:lnTo>
                  <a:pt x="497" y="439"/>
                </a:lnTo>
                <a:lnTo>
                  <a:pt x="478" y="449"/>
                </a:lnTo>
                <a:lnTo>
                  <a:pt x="478" y="458"/>
                </a:lnTo>
                <a:lnTo>
                  <a:pt x="468" y="468"/>
                </a:lnTo>
                <a:lnTo>
                  <a:pt x="458" y="468"/>
                </a:lnTo>
                <a:lnTo>
                  <a:pt x="468" y="458"/>
                </a:lnTo>
                <a:lnTo>
                  <a:pt x="468" y="449"/>
                </a:lnTo>
                <a:lnTo>
                  <a:pt x="458" y="439"/>
                </a:lnTo>
                <a:lnTo>
                  <a:pt x="448" y="429"/>
                </a:lnTo>
                <a:lnTo>
                  <a:pt x="448" y="400"/>
                </a:lnTo>
                <a:lnTo>
                  <a:pt x="439" y="390"/>
                </a:lnTo>
                <a:lnTo>
                  <a:pt x="439" y="370"/>
                </a:lnTo>
                <a:lnTo>
                  <a:pt x="429" y="361"/>
                </a:lnTo>
                <a:lnTo>
                  <a:pt x="429" y="351"/>
                </a:lnTo>
                <a:lnTo>
                  <a:pt x="419" y="341"/>
                </a:lnTo>
                <a:lnTo>
                  <a:pt x="409" y="331"/>
                </a:lnTo>
                <a:lnTo>
                  <a:pt x="419" y="322"/>
                </a:lnTo>
                <a:lnTo>
                  <a:pt x="419" y="312"/>
                </a:lnTo>
                <a:lnTo>
                  <a:pt x="409" y="312"/>
                </a:lnTo>
                <a:lnTo>
                  <a:pt x="400" y="312"/>
                </a:lnTo>
                <a:lnTo>
                  <a:pt x="370" y="302"/>
                </a:lnTo>
                <a:lnTo>
                  <a:pt x="361" y="302"/>
                </a:lnTo>
                <a:lnTo>
                  <a:pt x="361" y="312"/>
                </a:lnTo>
                <a:lnTo>
                  <a:pt x="370" y="331"/>
                </a:lnTo>
                <a:lnTo>
                  <a:pt x="370" y="351"/>
                </a:lnTo>
                <a:lnTo>
                  <a:pt x="361" y="370"/>
                </a:lnTo>
                <a:lnTo>
                  <a:pt x="351" y="380"/>
                </a:lnTo>
                <a:lnTo>
                  <a:pt x="341" y="400"/>
                </a:lnTo>
                <a:lnTo>
                  <a:pt x="341" y="409"/>
                </a:lnTo>
                <a:lnTo>
                  <a:pt x="351" y="429"/>
                </a:lnTo>
                <a:lnTo>
                  <a:pt x="361" y="449"/>
                </a:lnTo>
                <a:lnTo>
                  <a:pt x="361" y="458"/>
                </a:lnTo>
                <a:lnTo>
                  <a:pt x="341" y="468"/>
                </a:lnTo>
                <a:lnTo>
                  <a:pt x="331" y="468"/>
                </a:lnTo>
                <a:lnTo>
                  <a:pt x="341" y="478"/>
                </a:lnTo>
                <a:lnTo>
                  <a:pt x="331" y="488"/>
                </a:lnTo>
                <a:lnTo>
                  <a:pt x="302" y="488"/>
                </a:lnTo>
                <a:lnTo>
                  <a:pt x="283" y="488"/>
                </a:lnTo>
                <a:lnTo>
                  <a:pt x="273" y="497"/>
                </a:lnTo>
                <a:lnTo>
                  <a:pt x="253" y="507"/>
                </a:lnTo>
                <a:lnTo>
                  <a:pt x="234" y="517"/>
                </a:lnTo>
                <a:lnTo>
                  <a:pt x="205" y="517"/>
                </a:lnTo>
                <a:lnTo>
                  <a:pt x="185" y="517"/>
                </a:lnTo>
                <a:lnTo>
                  <a:pt x="166" y="507"/>
                </a:lnTo>
                <a:lnTo>
                  <a:pt x="166" y="527"/>
                </a:lnTo>
                <a:lnTo>
                  <a:pt x="146" y="536"/>
                </a:lnTo>
                <a:lnTo>
                  <a:pt x="136" y="536"/>
                </a:lnTo>
                <a:lnTo>
                  <a:pt x="117" y="546"/>
                </a:lnTo>
                <a:lnTo>
                  <a:pt x="107" y="556"/>
                </a:lnTo>
                <a:lnTo>
                  <a:pt x="68" y="56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en-US" sz="1100">
              <a:latin typeface="Polo" pitchFamily="2" charset="0"/>
              <a:cs typeface="+mn-cs"/>
            </a:endParaRPr>
          </a:p>
        </p:txBody>
      </p:sp>
      <p:sp>
        <p:nvSpPr>
          <p:cNvPr id="18640" name="Freeform 70"/>
          <p:cNvSpPr>
            <a:spLocks noChangeAspect="1"/>
          </p:cNvSpPr>
          <p:nvPr>
            <p:custDataLst>
              <p:tags r:id="rId206"/>
            </p:custDataLst>
          </p:nvPr>
        </p:nvSpPr>
        <p:spPr bwMode="auto">
          <a:xfrm>
            <a:off x="5889625" y="5246688"/>
            <a:ext cx="169863" cy="109537"/>
          </a:xfrm>
          <a:custGeom>
            <a:avLst/>
            <a:gdLst>
              <a:gd name="T0" fmla="*/ 46144 w 254"/>
              <a:gd name="T1" fmla="*/ 103314 h 176"/>
              <a:gd name="T2" fmla="*/ 52163 w 254"/>
              <a:gd name="T3" fmla="*/ 109538 h 176"/>
              <a:gd name="T4" fmla="*/ 78244 w 254"/>
              <a:gd name="T5" fmla="*/ 103314 h 176"/>
              <a:gd name="T6" fmla="*/ 84932 w 254"/>
              <a:gd name="T7" fmla="*/ 90867 h 176"/>
              <a:gd name="T8" fmla="*/ 104325 w 254"/>
              <a:gd name="T9" fmla="*/ 90867 h 176"/>
              <a:gd name="T10" fmla="*/ 117700 w 254"/>
              <a:gd name="T11" fmla="*/ 79042 h 176"/>
              <a:gd name="T12" fmla="*/ 130407 w 254"/>
              <a:gd name="T13" fmla="*/ 79042 h 176"/>
              <a:gd name="T14" fmla="*/ 156488 w 254"/>
              <a:gd name="T15" fmla="*/ 72818 h 176"/>
              <a:gd name="T16" fmla="*/ 163175 w 254"/>
              <a:gd name="T17" fmla="*/ 60370 h 176"/>
              <a:gd name="T18" fmla="*/ 169863 w 254"/>
              <a:gd name="T19" fmla="*/ 54769 h 176"/>
              <a:gd name="T20" fmla="*/ 156488 w 254"/>
              <a:gd name="T21" fmla="*/ 54769 h 176"/>
              <a:gd name="T22" fmla="*/ 143782 w 254"/>
              <a:gd name="T23" fmla="*/ 54769 h 176"/>
              <a:gd name="T24" fmla="*/ 143782 w 254"/>
              <a:gd name="T25" fmla="*/ 36098 h 176"/>
              <a:gd name="T26" fmla="*/ 150469 w 254"/>
              <a:gd name="T27" fmla="*/ 30496 h 176"/>
              <a:gd name="T28" fmla="*/ 163175 w 254"/>
              <a:gd name="T29" fmla="*/ 30496 h 176"/>
              <a:gd name="T30" fmla="*/ 163175 w 254"/>
              <a:gd name="T31" fmla="*/ 24273 h 176"/>
              <a:gd name="T32" fmla="*/ 156488 w 254"/>
              <a:gd name="T33" fmla="*/ 18049 h 176"/>
              <a:gd name="T34" fmla="*/ 150469 w 254"/>
              <a:gd name="T35" fmla="*/ 11825 h 176"/>
              <a:gd name="T36" fmla="*/ 137094 w 254"/>
              <a:gd name="T37" fmla="*/ 11825 h 176"/>
              <a:gd name="T38" fmla="*/ 130407 w 254"/>
              <a:gd name="T39" fmla="*/ 6224 h 176"/>
              <a:gd name="T40" fmla="*/ 124388 w 254"/>
              <a:gd name="T41" fmla="*/ 0 h 176"/>
              <a:gd name="T42" fmla="*/ 111013 w 254"/>
              <a:gd name="T43" fmla="*/ 0 h 176"/>
              <a:gd name="T44" fmla="*/ 104325 w 254"/>
              <a:gd name="T45" fmla="*/ 6224 h 176"/>
              <a:gd name="T46" fmla="*/ 91619 w 254"/>
              <a:gd name="T47" fmla="*/ 6224 h 176"/>
              <a:gd name="T48" fmla="*/ 91619 w 254"/>
              <a:gd name="T49" fmla="*/ 18049 h 176"/>
              <a:gd name="T50" fmla="*/ 78244 w 254"/>
              <a:gd name="T51" fmla="*/ 24273 h 176"/>
              <a:gd name="T52" fmla="*/ 72225 w 254"/>
              <a:gd name="T53" fmla="*/ 24273 h 176"/>
              <a:gd name="T54" fmla="*/ 58850 w 254"/>
              <a:gd name="T55" fmla="*/ 24273 h 176"/>
              <a:gd name="T56" fmla="*/ 46144 w 254"/>
              <a:gd name="T57" fmla="*/ 36098 h 176"/>
              <a:gd name="T58" fmla="*/ 52163 w 254"/>
              <a:gd name="T59" fmla="*/ 42322 h 176"/>
              <a:gd name="T60" fmla="*/ 58850 w 254"/>
              <a:gd name="T61" fmla="*/ 48545 h 176"/>
              <a:gd name="T62" fmla="*/ 46144 w 254"/>
              <a:gd name="T63" fmla="*/ 54769 h 176"/>
              <a:gd name="T64" fmla="*/ 39456 w 254"/>
              <a:gd name="T65" fmla="*/ 54769 h 176"/>
              <a:gd name="T66" fmla="*/ 26081 w 254"/>
              <a:gd name="T67" fmla="*/ 60370 h 176"/>
              <a:gd name="T68" fmla="*/ 20063 w 254"/>
              <a:gd name="T69" fmla="*/ 66594 h 176"/>
              <a:gd name="T70" fmla="*/ 13375 w 254"/>
              <a:gd name="T71" fmla="*/ 79042 h 176"/>
              <a:gd name="T72" fmla="*/ 13375 w 254"/>
              <a:gd name="T73" fmla="*/ 79042 h 176"/>
              <a:gd name="T74" fmla="*/ 6688 w 254"/>
              <a:gd name="T75" fmla="*/ 79042 h 176"/>
              <a:gd name="T76" fmla="*/ 6688 w 254"/>
              <a:gd name="T77" fmla="*/ 72818 h 176"/>
              <a:gd name="T78" fmla="*/ 6688 w 254"/>
              <a:gd name="T79" fmla="*/ 66594 h 176"/>
              <a:gd name="T80" fmla="*/ 6688 w 254"/>
              <a:gd name="T81" fmla="*/ 66594 h 176"/>
              <a:gd name="T82" fmla="*/ 0 w 254"/>
              <a:gd name="T83" fmla="*/ 66594 h 176"/>
              <a:gd name="T84" fmla="*/ 0 w 254"/>
              <a:gd name="T85" fmla="*/ 72818 h 176"/>
              <a:gd name="T86" fmla="*/ 0 w 254"/>
              <a:gd name="T87" fmla="*/ 79042 h 176"/>
              <a:gd name="T88" fmla="*/ 0 w 254"/>
              <a:gd name="T89" fmla="*/ 90867 h 176"/>
              <a:gd name="T90" fmla="*/ 0 w 254"/>
              <a:gd name="T91" fmla="*/ 97091 h 176"/>
              <a:gd name="T92" fmla="*/ 13375 w 254"/>
              <a:gd name="T93" fmla="*/ 103314 h 176"/>
              <a:gd name="T94" fmla="*/ 20063 w 254"/>
              <a:gd name="T95" fmla="*/ 103314 h 176"/>
              <a:gd name="T96" fmla="*/ 32769 w 254"/>
              <a:gd name="T97" fmla="*/ 97091 h 176"/>
              <a:gd name="T98" fmla="*/ 39456 w 254"/>
              <a:gd name="T99" fmla="*/ 97091 h 176"/>
              <a:gd name="T100" fmla="*/ 46144 w 254"/>
              <a:gd name="T101" fmla="*/ 103314 h 17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254"/>
              <a:gd name="T154" fmla="*/ 0 h 176"/>
              <a:gd name="T155" fmla="*/ 254 w 254"/>
              <a:gd name="T156" fmla="*/ 176 h 17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254" h="176">
                <a:moveTo>
                  <a:pt x="69" y="166"/>
                </a:moveTo>
                <a:lnTo>
                  <a:pt x="78" y="176"/>
                </a:lnTo>
                <a:lnTo>
                  <a:pt x="117" y="166"/>
                </a:lnTo>
                <a:lnTo>
                  <a:pt x="127" y="146"/>
                </a:lnTo>
                <a:lnTo>
                  <a:pt x="156" y="146"/>
                </a:lnTo>
                <a:lnTo>
                  <a:pt x="176" y="127"/>
                </a:lnTo>
                <a:lnTo>
                  <a:pt x="195" y="127"/>
                </a:lnTo>
                <a:lnTo>
                  <a:pt x="234" y="117"/>
                </a:lnTo>
                <a:lnTo>
                  <a:pt x="244" y="97"/>
                </a:lnTo>
                <a:lnTo>
                  <a:pt x="254" y="88"/>
                </a:lnTo>
                <a:lnTo>
                  <a:pt x="234" y="88"/>
                </a:lnTo>
                <a:lnTo>
                  <a:pt x="215" y="88"/>
                </a:lnTo>
                <a:lnTo>
                  <a:pt x="215" y="58"/>
                </a:lnTo>
                <a:lnTo>
                  <a:pt x="225" y="49"/>
                </a:lnTo>
                <a:lnTo>
                  <a:pt x="244" y="49"/>
                </a:lnTo>
                <a:lnTo>
                  <a:pt x="244" y="39"/>
                </a:lnTo>
                <a:lnTo>
                  <a:pt x="234" y="29"/>
                </a:lnTo>
                <a:lnTo>
                  <a:pt x="225" y="19"/>
                </a:lnTo>
                <a:lnTo>
                  <a:pt x="205" y="19"/>
                </a:lnTo>
                <a:lnTo>
                  <a:pt x="195" y="10"/>
                </a:lnTo>
                <a:lnTo>
                  <a:pt x="186" y="0"/>
                </a:lnTo>
                <a:lnTo>
                  <a:pt x="166" y="0"/>
                </a:lnTo>
                <a:lnTo>
                  <a:pt x="156" y="10"/>
                </a:lnTo>
                <a:lnTo>
                  <a:pt x="137" y="10"/>
                </a:lnTo>
                <a:lnTo>
                  <a:pt x="137" y="29"/>
                </a:lnTo>
                <a:lnTo>
                  <a:pt x="117" y="39"/>
                </a:lnTo>
                <a:lnTo>
                  <a:pt x="108" y="39"/>
                </a:lnTo>
                <a:lnTo>
                  <a:pt x="88" y="39"/>
                </a:lnTo>
                <a:lnTo>
                  <a:pt x="69" y="58"/>
                </a:lnTo>
                <a:lnTo>
                  <a:pt x="78" y="68"/>
                </a:lnTo>
                <a:lnTo>
                  <a:pt x="88" y="78"/>
                </a:lnTo>
                <a:lnTo>
                  <a:pt x="69" y="88"/>
                </a:lnTo>
                <a:lnTo>
                  <a:pt x="59" y="88"/>
                </a:lnTo>
                <a:lnTo>
                  <a:pt x="39" y="97"/>
                </a:lnTo>
                <a:lnTo>
                  <a:pt x="30" y="107"/>
                </a:lnTo>
                <a:lnTo>
                  <a:pt x="20" y="127"/>
                </a:lnTo>
                <a:lnTo>
                  <a:pt x="10" y="127"/>
                </a:lnTo>
                <a:lnTo>
                  <a:pt x="10" y="117"/>
                </a:lnTo>
                <a:lnTo>
                  <a:pt x="10" y="107"/>
                </a:lnTo>
                <a:lnTo>
                  <a:pt x="0" y="107"/>
                </a:lnTo>
                <a:lnTo>
                  <a:pt x="0" y="117"/>
                </a:lnTo>
                <a:lnTo>
                  <a:pt x="0" y="127"/>
                </a:lnTo>
                <a:lnTo>
                  <a:pt x="0" y="146"/>
                </a:lnTo>
                <a:lnTo>
                  <a:pt x="0" y="156"/>
                </a:lnTo>
                <a:lnTo>
                  <a:pt x="20" y="166"/>
                </a:lnTo>
                <a:lnTo>
                  <a:pt x="30" y="166"/>
                </a:lnTo>
                <a:lnTo>
                  <a:pt x="49" y="156"/>
                </a:lnTo>
                <a:lnTo>
                  <a:pt x="59" y="156"/>
                </a:lnTo>
                <a:lnTo>
                  <a:pt x="69" y="166"/>
                </a:lnTo>
                <a:close/>
              </a:path>
            </a:pathLst>
          </a:custGeom>
          <a:solidFill>
            <a:srgbClr val="C0C0C0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grpSp>
        <p:nvGrpSpPr>
          <p:cNvPr id="18641" name="Group 67"/>
          <p:cNvGrpSpPr>
            <a:grpSpLocks noChangeAspect="1"/>
          </p:cNvGrpSpPr>
          <p:nvPr>
            <p:custDataLst>
              <p:tags r:id="rId207"/>
            </p:custDataLst>
          </p:nvPr>
        </p:nvGrpSpPr>
        <p:grpSpPr bwMode="auto">
          <a:xfrm>
            <a:off x="5889625" y="5246688"/>
            <a:ext cx="169863" cy="109537"/>
            <a:chOff x="6340" y="3854"/>
            <a:chExt cx="254" cy="176"/>
          </a:xfrm>
        </p:grpSpPr>
        <p:sp>
          <p:nvSpPr>
            <p:cNvPr id="18744" name="Freeform 69"/>
            <p:cNvSpPr>
              <a:spLocks noChangeAspect="1"/>
            </p:cNvSpPr>
            <p:nvPr/>
          </p:nvSpPr>
          <p:spPr bwMode="auto">
            <a:xfrm>
              <a:off x="6340" y="3854"/>
              <a:ext cx="254" cy="176"/>
            </a:xfrm>
            <a:custGeom>
              <a:avLst/>
              <a:gdLst>
                <a:gd name="T0" fmla="*/ 69 w 254"/>
                <a:gd name="T1" fmla="*/ 166 h 176"/>
                <a:gd name="T2" fmla="*/ 78 w 254"/>
                <a:gd name="T3" fmla="*/ 176 h 176"/>
                <a:gd name="T4" fmla="*/ 117 w 254"/>
                <a:gd name="T5" fmla="*/ 166 h 176"/>
                <a:gd name="T6" fmla="*/ 127 w 254"/>
                <a:gd name="T7" fmla="*/ 146 h 176"/>
                <a:gd name="T8" fmla="*/ 156 w 254"/>
                <a:gd name="T9" fmla="*/ 146 h 176"/>
                <a:gd name="T10" fmla="*/ 176 w 254"/>
                <a:gd name="T11" fmla="*/ 127 h 176"/>
                <a:gd name="T12" fmla="*/ 195 w 254"/>
                <a:gd name="T13" fmla="*/ 127 h 176"/>
                <a:gd name="T14" fmla="*/ 234 w 254"/>
                <a:gd name="T15" fmla="*/ 117 h 176"/>
                <a:gd name="T16" fmla="*/ 244 w 254"/>
                <a:gd name="T17" fmla="*/ 97 h 176"/>
                <a:gd name="T18" fmla="*/ 254 w 254"/>
                <a:gd name="T19" fmla="*/ 88 h 176"/>
                <a:gd name="T20" fmla="*/ 234 w 254"/>
                <a:gd name="T21" fmla="*/ 88 h 176"/>
                <a:gd name="T22" fmla="*/ 215 w 254"/>
                <a:gd name="T23" fmla="*/ 88 h 176"/>
                <a:gd name="T24" fmla="*/ 215 w 254"/>
                <a:gd name="T25" fmla="*/ 58 h 176"/>
                <a:gd name="T26" fmla="*/ 225 w 254"/>
                <a:gd name="T27" fmla="*/ 49 h 176"/>
                <a:gd name="T28" fmla="*/ 244 w 254"/>
                <a:gd name="T29" fmla="*/ 49 h 176"/>
                <a:gd name="T30" fmla="*/ 244 w 254"/>
                <a:gd name="T31" fmla="*/ 39 h 176"/>
                <a:gd name="T32" fmla="*/ 234 w 254"/>
                <a:gd name="T33" fmla="*/ 29 h 176"/>
                <a:gd name="T34" fmla="*/ 225 w 254"/>
                <a:gd name="T35" fmla="*/ 19 h 176"/>
                <a:gd name="T36" fmla="*/ 205 w 254"/>
                <a:gd name="T37" fmla="*/ 19 h 176"/>
                <a:gd name="T38" fmla="*/ 195 w 254"/>
                <a:gd name="T39" fmla="*/ 0 h 176"/>
                <a:gd name="T40" fmla="*/ 186 w 254"/>
                <a:gd name="T41" fmla="*/ 0 h 176"/>
                <a:gd name="T42" fmla="*/ 166 w 254"/>
                <a:gd name="T43" fmla="*/ 0 h 176"/>
                <a:gd name="T44" fmla="*/ 156 w 254"/>
                <a:gd name="T45" fmla="*/ 0 h 176"/>
                <a:gd name="T46" fmla="*/ 137 w 254"/>
                <a:gd name="T47" fmla="*/ 10 h 176"/>
                <a:gd name="T48" fmla="*/ 137 w 254"/>
                <a:gd name="T49" fmla="*/ 29 h 176"/>
                <a:gd name="T50" fmla="*/ 117 w 254"/>
                <a:gd name="T51" fmla="*/ 39 h 176"/>
                <a:gd name="T52" fmla="*/ 108 w 254"/>
                <a:gd name="T53" fmla="*/ 39 h 176"/>
                <a:gd name="T54" fmla="*/ 88 w 254"/>
                <a:gd name="T55" fmla="*/ 39 h 176"/>
                <a:gd name="T56" fmla="*/ 69 w 254"/>
                <a:gd name="T57" fmla="*/ 58 h 176"/>
                <a:gd name="T58" fmla="*/ 78 w 254"/>
                <a:gd name="T59" fmla="*/ 68 h 176"/>
                <a:gd name="T60" fmla="*/ 88 w 254"/>
                <a:gd name="T61" fmla="*/ 78 h 176"/>
                <a:gd name="T62" fmla="*/ 69 w 254"/>
                <a:gd name="T63" fmla="*/ 88 h 176"/>
                <a:gd name="T64" fmla="*/ 59 w 254"/>
                <a:gd name="T65" fmla="*/ 88 h 176"/>
                <a:gd name="T66" fmla="*/ 39 w 254"/>
                <a:gd name="T67" fmla="*/ 97 h 176"/>
                <a:gd name="T68" fmla="*/ 30 w 254"/>
                <a:gd name="T69" fmla="*/ 107 h 176"/>
                <a:gd name="T70" fmla="*/ 20 w 254"/>
                <a:gd name="T71" fmla="*/ 127 h 176"/>
                <a:gd name="T72" fmla="*/ 20 w 254"/>
                <a:gd name="T73" fmla="*/ 127 h 176"/>
                <a:gd name="T74" fmla="*/ 10 w 254"/>
                <a:gd name="T75" fmla="*/ 127 h 176"/>
                <a:gd name="T76" fmla="*/ 10 w 254"/>
                <a:gd name="T77" fmla="*/ 117 h 176"/>
                <a:gd name="T78" fmla="*/ 10 w 254"/>
                <a:gd name="T79" fmla="*/ 107 h 176"/>
                <a:gd name="T80" fmla="*/ 10 w 254"/>
                <a:gd name="T81" fmla="*/ 107 h 176"/>
                <a:gd name="T82" fmla="*/ 0 w 254"/>
                <a:gd name="T83" fmla="*/ 107 h 176"/>
                <a:gd name="T84" fmla="*/ 0 w 254"/>
                <a:gd name="T85" fmla="*/ 117 h 176"/>
                <a:gd name="T86" fmla="*/ 0 w 254"/>
                <a:gd name="T87" fmla="*/ 127 h 176"/>
                <a:gd name="T88" fmla="*/ 0 w 254"/>
                <a:gd name="T89" fmla="*/ 146 h 176"/>
                <a:gd name="T90" fmla="*/ 0 w 254"/>
                <a:gd name="T91" fmla="*/ 156 h 176"/>
                <a:gd name="T92" fmla="*/ 20 w 254"/>
                <a:gd name="T93" fmla="*/ 166 h 176"/>
                <a:gd name="T94" fmla="*/ 30 w 254"/>
                <a:gd name="T95" fmla="*/ 166 h 176"/>
                <a:gd name="T96" fmla="*/ 49 w 254"/>
                <a:gd name="T97" fmla="*/ 156 h 176"/>
                <a:gd name="T98" fmla="*/ 59 w 254"/>
                <a:gd name="T99" fmla="*/ 156 h 176"/>
                <a:gd name="T100" fmla="*/ 69 w 254"/>
                <a:gd name="T101" fmla="*/ 166 h 17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54"/>
                <a:gd name="T154" fmla="*/ 0 h 176"/>
                <a:gd name="T155" fmla="*/ 254 w 254"/>
                <a:gd name="T156" fmla="*/ 176 h 17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54" h="176">
                  <a:moveTo>
                    <a:pt x="69" y="166"/>
                  </a:moveTo>
                  <a:lnTo>
                    <a:pt x="78" y="176"/>
                  </a:lnTo>
                  <a:lnTo>
                    <a:pt x="117" y="166"/>
                  </a:lnTo>
                  <a:lnTo>
                    <a:pt x="127" y="146"/>
                  </a:lnTo>
                  <a:lnTo>
                    <a:pt x="156" y="146"/>
                  </a:lnTo>
                  <a:lnTo>
                    <a:pt x="176" y="127"/>
                  </a:lnTo>
                  <a:lnTo>
                    <a:pt x="195" y="127"/>
                  </a:lnTo>
                  <a:lnTo>
                    <a:pt x="234" y="117"/>
                  </a:lnTo>
                  <a:lnTo>
                    <a:pt x="244" y="97"/>
                  </a:lnTo>
                  <a:lnTo>
                    <a:pt x="254" y="88"/>
                  </a:lnTo>
                  <a:lnTo>
                    <a:pt x="234" y="88"/>
                  </a:lnTo>
                  <a:lnTo>
                    <a:pt x="215" y="88"/>
                  </a:lnTo>
                  <a:lnTo>
                    <a:pt x="215" y="58"/>
                  </a:lnTo>
                  <a:lnTo>
                    <a:pt x="225" y="49"/>
                  </a:lnTo>
                  <a:lnTo>
                    <a:pt x="244" y="49"/>
                  </a:lnTo>
                  <a:lnTo>
                    <a:pt x="244" y="39"/>
                  </a:lnTo>
                  <a:lnTo>
                    <a:pt x="234" y="29"/>
                  </a:lnTo>
                  <a:lnTo>
                    <a:pt x="225" y="19"/>
                  </a:lnTo>
                  <a:lnTo>
                    <a:pt x="205" y="19"/>
                  </a:lnTo>
                  <a:lnTo>
                    <a:pt x="195" y="0"/>
                  </a:lnTo>
                  <a:lnTo>
                    <a:pt x="186" y="0"/>
                  </a:lnTo>
                  <a:lnTo>
                    <a:pt x="166" y="0"/>
                  </a:lnTo>
                  <a:lnTo>
                    <a:pt x="156" y="0"/>
                  </a:lnTo>
                  <a:lnTo>
                    <a:pt x="137" y="10"/>
                  </a:lnTo>
                  <a:lnTo>
                    <a:pt x="137" y="29"/>
                  </a:lnTo>
                  <a:lnTo>
                    <a:pt x="117" y="39"/>
                  </a:lnTo>
                  <a:lnTo>
                    <a:pt x="108" y="39"/>
                  </a:lnTo>
                  <a:lnTo>
                    <a:pt x="88" y="39"/>
                  </a:lnTo>
                  <a:lnTo>
                    <a:pt x="69" y="58"/>
                  </a:lnTo>
                  <a:lnTo>
                    <a:pt x="78" y="68"/>
                  </a:lnTo>
                  <a:lnTo>
                    <a:pt x="88" y="78"/>
                  </a:lnTo>
                  <a:lnTo>
                    <a:pt x="69" y="88"/>
                  </a:lnTo>
                  <a:lnTo>
                    <a:pt x="59" y="88"/>
                  </a:lnTo>
                  <a:lnTo>
                    <a:pt x="39" y="97"/>
                  </a:lnTo>
                  <a:lnTo>
                    <a:pt x="30" y="107"/>
                  </a:lnTo>
                  <a:lnTo>
                    <a:pt x="20" y="127"/>
                  </a:lnTo>
                  <a:lnTo>
                    <a:pt x="10" y="127"/>
                  </a:lnTo>
                  <a:lnTo>
                    <a:pt x="10" y="117"/>
                  </a:lnTo>
                  <a:lnTo>
                    <a:pt x="10" y="107"/>
                  </a:lnTo>
                  <a:lnTo>
                    <a:pt x="0" y="107"/>
                  </a:lnTo>
                  <a:lnTo>
                    <a:pt x="0" y="117"/>
                  </a:lnTo>
                  <a:lnTo>
                    <a:pt x="0" y="127"/>
                  </a:lnTo>
                  <a:lnTo>
                    <a:pt x="0" y="146"/>
                  </a:lnTo>
                  <a:lnTo>
                    <a:pt x="0" y="156"/>
                  </a:lnTo>
                  <a:lnTo>
                    <a:pt x="20" y="166"/>
                  </a:lnTo>
                  <a:lnTo>
                    <a:pt x="30" y="166"/>
                  </a:lnTo>
                  <a:lnTo>
                    <a:pt x="49" y="156"/>
                  </a:lnTo>
                  <a:lnTo>
                    <a:pt x="59" y="156"/>
                  </a:lnTo>
                  <a:lnTo>
                    <a:pt x="69" y="166"/>
                  </a:lnTo>
                  <a:close/>
                </a:path>
              </a:pathLst>
            </a:custGeom>
            <a:solidFill>
              <a:srgbClr val="C0C0C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8745" name="Freeform 68"/>
            <p:cNvSpPr>
              <a:spLocks noChangeAspect="1"/>
            </p:cNvSpPr>
            <p:nvPr/>
          </p:nvSpPr>
          <p:spPr bwMode="auto">
            <a:xfrm>
              <a:off x="6341" y="3854"/>
              <a:ext cx="254" cy="176"/>
            </a:xfrm>
            <a:custGeom>
              <a:avLst/>
              <a:gdLst>
                <a:gd name="T0" fmla="*/ 69 w 254"/>
                <a:gd name="T1" fmla="*/ 166 h 176"/>
                <a:gd name="T2" fmla="*/ 78 w 254"/>
                <a:gd name="T3" fmla="*/ 176 h 176"/>
                <a:gd name="T4" fmla="*/ 117 w 254"/>
                <a:gd name="T5" fmla="*/ 166 h 176"/>
                <a:gd name="T6" fmla="*/ 127 w 254"/>
                <a:gd name="T7" fmla="*/ 146 h 176"/>
                <a:gd name="T8" fmla="*/ 156 w 254"/>
                <a:gd name="T9" fmla="*/ 146 h 176"/>
                <a:gd name="T10" fmla="*/ 176 w 254"/>
                <a:gd name="T11" fmla="*/ 127 h 176"/>
                <a:gd name="T12" fmla="*/ 195 w 254"/>
                <a:gd name="T13" fmla="*/ 127 h 176"/>
                <a:gd name="T14" fmla="*/ 234 w 254"/>
                <a:gd name="T15" fmla="*/ 117 h 176"/>
                <a:gd name="T16" fmla="*/ 244 w 254"/>
                <a:gd name="T17" fmla="*/ 97 h 176"/>
                <a:gd name="T18" fmla="*/ 254 w 254"/>
                <a:gd name="T19" fmla="*/ 88 h 176"/>
                <a:gd name="T20" fmla="*/ 234 w 254"/>
                <a:gd name="T21" fmla="*/ 88 h 176"/>
                <a:gd name="T22" fmla="*/ 215 w 254"/>
                <a:gd name="T23" fmla="*/ 88 h 176"/>
                <a:gd name="T24" fmla="*/ 215 w 254"/>
                <a:gd name="T25" fmla="*/ 58 h 176"/>
                <a:gd name="T26" fmla="*/ 225 w 254"/>
                <a:gd name="T27" fmla="*/ 49 h 176"/>
                <a:gd name="T28" fmla="*/ 244 w 254"/>
                <a:gd name="T29" fmla="*/ 49 h 176"/>
                <a:gd name="T30" fmla="*/ 244 w 254"/>
                <a:gd name="T31" fmla="*/ 39 h 176"/>
                <a:gd name="T32" fmla="*/ 234 w 254"/>
                <a:gd name="T33" fmla="*/ 29 h 176"/>
                <a:gd name="T34" fmla="*/ 225 w 254"/>
                <a:gd name="T35" fmla="*/ 19 h 176"/>
                <a:gd name="T36" fmla="*/ 205 w 254"/>
                <a:gd name="T37" fmla="*/ 19 h 176"/>
                <a:gd name="T38" fmla="*/ 195 w 254"/>
                <a:gd name="T39" fmla="*/ 0 h 176"/>
                <a:gd name="T40" fmla="*/ 186 w 254"/>
                <a:gd name="T41" fmla="*/ 0 h 176"/>
                <a:gd name="T42" fmla="*/ 166 w 254"/>
                <a:gd name="T43" fmla="*/ 0 h 176"/>
                <a:gd name="T44" fmla="*/ 156 w 254"/>
                <a:gd name="T45" fmla="*/ 0 h 176"/>
                <a:gd name="T46" fmla="*/ 137 w 254"/>
                <a:gd name="T47" fmla="*/ 10 h 176"/>
                <a:gd name="T48" fmla="*/ 137 w 254"/>
                <a:gd name="T49" fmla="*/ 29 h 176"/>
                <a:gd name="T50" fmla="*/ 117 w 254"/>
                <a:gd name="T51" fmla="*/ 39 h 176"/>
                <a:gd name="T52" fmla="*/ 108 w 254"/>
                <a:gd name="T53" fmla="*/ 39 h 176"/>
                <a:gd name="T54" fmla="*/ 88 w 254"/>
                <a:gd name="T55" fmla="*/ 39 h 176"/>
                <a:gd name="T56" fmla="*/ 69 w 254"/>
                <a:gd name="T57" fmla="*/ 58 h 176"/>
                <a:gd name="T58" fmla="*/ 78 w 254"/>
                <a:gd name="T59" fmla="*/ 68 h 176"/>
                <a:gd name="T60" fmla="*/ 88 w 254"/>
                <a:gd name="T61" fmla="*/ 78 h 176"/>
                <a:gd name="T62" fmla="*/ 69 w 254"/>
                <a:gd name="T63" fmla="*/ 88 h 176"/>
                <a:gd name="T64" fmla="*/ 59 w 254"/>
                <a:gd name="T65" fmla="*/ 88 h 176"/>
                <a:gd name="T66" fmla="*/ 39 w 254"/>
                <a:gd name="T67" fmla="*/ 97 h 176"/>
                <a:gd name="T68" fmla="*/ 30 w 254"/>
                <a:gd name="T69" fmla="*/ 107 h 176"/>
                <a:gd name="T70" fmla="*/ 20 w 254"/>
                <a:gd name="T71" fmla="*/ 127 h 176"/>
                <a:gd name="T72" fmla="*/ 20 w 254"/>
                <a:gd name="T73" fmla="*/ 127 h 176"/>
                <a:gd name="T74" fmla="*/ 10 w 254"/>
                <a:gd name="T75" fmla="*/ 127 h 176"/>
                <a:gd name="T76" fmla="*/ 10 w 254"/>
                <a:gd name="T77" fmla="*/ 117 h 176"/>
                <a:gd name="T78" fmla="*/ 10 w 254"/>
                <a:gd name="T79" fmla="*/ 107 h 176"/>
                <a:gd name="T80" fmla="*/ 10 w 254"/>
                <a:gd name="T81" fmla="*/ 107 h 176"/>
                <a:gd name="T82" fmla="*/ 0 w 254"/>
                <a:gd name="T83" fmla="*/ 107 h 176"/>
                <a:gd name="T84" fmla="*/ 0 w 254"/>
                <a:gd name="T85" fmla="*/ 117 h 176"/>
                <a:gd name="T86" fmla="*/ 0 w 254"/>
                <a:gd name="T87" fmla="*/ 127 h 176"/>
                <a:gd name="T88" fmla="*/ 0 w 254"/>
                <a:gd name="T89" fmla="*/ 146 h 176"/>
                <a:gd name="T90" fmla="*/ 0 w 254"/>
                <a:gd name="T91" fmla="*/ 156 h 176"/>
                <a:gd name="T92" fmla="*/ 20 w 254"/>
                <a:gd name="T93" fmla="*/ 166 h 176"/>
                <a:gd name="T94" fmla="*/ 30 w 254"/>
                <a:gd name="T95" fmla="*/ 166 h 176"/>
                <a:gd name="T96" fmla="*/ 49 w 254"/>
                <a:gd name="T97" fmla="*/ 156 h 176"/>
                <a:gd name="T98" fmla="*/ 59 w 254"/>
                <a:gd name="T99" fmla="*/ 156 h 17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254"/>
                <a:gd name="T151" fmla="*/ 0 h 176"/>
                <a:gd name="T152" fmla="*/ 254 w 254"/>
                <a:gd name="T153" fmla="*/ 176 h 17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254" h="176">
                  <a:moveTo>
                    <a:pt x="69" y="166"/>
                  </a:moveTo>
                  <a:lnTo>
                    <a:pt x="78" y="176"/>
                  </a:lnTo>
                  <a:lnTo>
                    <a:pt x="117" y="166"/>
                  </a:lnTo>
                  <a:lnTo>
                    <a:pt x="127" y="146"/>
                  </a:lnTo>
                  <a:lnTo>
                    <a:pt x="156" y="146"/>
                  </a:lnTo>
                  <a:lnTo>
                    <a:pt x="176" y="127"/>
                  </a:lnTo>
                  <a:lnTo>
                    <a:pt x="195" y="127"/>
                  </a:lnTo>
                  <a:lnTo>
                    <a:pt x="234" y="117"/>
                  </a:lnTo>
                  <a:lnTo>
                    <a:pt x="244" y="97"/>
                  </a:lnTo>
                  <a:lnTo>
                    <a:pt x="254" y="88"/>
                  </a:lnTo>
                  <a:lnTo>
                    <a:pt x="234" y="88"/>
                  </a:lnTo>
                  <a:lnTo>
                    <a:pt x="215" y="88"/>
                  </a:lnTo>
                  <a:lnTo>
                    <a:pt x="215" y="58"/>
                  </a:lnTo>
                  <a:lnTo>
                    <a:pt x="225" y="49"/>
                  </a:lnTo>
                  <a:lnTo>
                    <a:pt x="244" y="49"/>
                  </a:lnTo>
                  <a:lnTo>
                    <a:pt x="244" y="39"/>
                  </a:lnTo>
                  <a:lnTo>
                    <a:pt x="234" y="29"/>
                  </a:lnTo>
                  <a:lnTo>
                    <a:pt x="225" y="19"/>
                  </a:lnTo>
                  <a:lnTo>
                    <a:pt x="205" y="19"/>
                  </a:lnTo>
                  <a:lnTo>
                    <a:pt x="195" y="0"/>
                  </a:lnTo>
                  <a:lnTo>
                    <a:pt x="186" y="0"/>
                  </a:lnTo>
                  <a:lnTo>
                    <a:pt x="166" y="0"/>
                  </a:lnTo>
                  <a:lnTo>
                    <a:pt x="156" y="0"/>
                  </a:lnTo>
                  <a:lnTo>
                    <a:pt x="137" y="10"/>
                  </a:lnTo>
                  <a:lnTo>
                    <a:pt x="137" y="29"/>
                  </a:lnTo>
                  <a:lnTo>
                    <a:pt x="117" y="39"/>
                  </a:lnTo>
                  <a:lnTo>
                    <a:pt x="108" y="39"/>
                  </a:lnTo>
                  <a:lnTo>
                    <a:pt x="88" y="39"/>
                  </a:lnTo>
                  <a:lnTo>
                    <a:pt x="69" y="58"/>
                  </a:lnTo>
                  <a:lnTo>
                    <a:pt x="78" y="68"/>
                  </a:lnTo>
                  <a:lnTo>
                    <a:pt x="88" y="78"/>
                  </a:lnTo>
                  <a:lnTo>
                    <a:pt x="69" y="88"/>
                  </a:lnTo>
                  <a:lnTo>
                    <a:pt x="59" y="88"/>
                  </a:lnTo>
                  <a:lnTo>
                    <a:pt x="39" y="97"/>
                  </a:lnTo>
                  <a:lnTo>
                    <a:pt x="30" y="107"/>
                  </a:lnTo>
                  <a:lnTo>
                    <a:pt x="20" y="127"/>
                  </a:lnTo>
                  <a:lnTo>
                    <a:pt x="10" y="127"/>
                  </a:lnTo>
                  <a:lnTo>
                    <a:pt x="10" y="117"/>
                  </a:lnTo>
                  <a:lnTo>
                    <a:pt x="10" y="107"/>
                  </a:lnTo>
                  <a:lnTo>
                    <a:pt x="0" y="107"/>
                  </a:lnTo>
                  <a:lnTo>
                    <a:pt x="0" y="117"/>
                  </a:lnTo>
                  <a:lnTo>
                    <a:pt x="0" y="127"/>
                  </a:lnTo>
                  <a:lnTo>
                    <a:pt x="0" y="146"/>
                  </a:lnTo>
                  <a:lnTo>
                    <a:pt x="0" y="156"/>
                  </a:lnTo>
                  <a:lnTo>
                    <a:pt x="20" y="166"/>
                  </a:lnTo>
                  <a:lnTo>
                    <a:pt x="30" y="166"/>
                  </a:lnTo>
                  <a:lnTo>
                    <a:pt x="49" y="156"/>
                  </a:lnTo>
                  <a:lnTo>
                    <a:pt x="59" y="156"/>
                  </a:lnTo>
                </a:path>
              </a:pathLst>
            </a:custGeom>
            <a:solidFill>
              <a:srgbClr val="C0C0C0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18642" name="Freeform 66"/>
          <p:cNvSpPr>
            <a:spLocks noChangeAspect="1"/>
          </p:cNvSpPr>
          <p:nvPr>
            <p:custDataLst>
              <p:tags r:id="rId208"/>
            </p:custDataLst>
          </p:nvPr>
        </p:nvSpPr>
        <p:spPr bwMode="auto">
          <a:xfrm>
            <a:off x="5341938" y="5192713"/>
            <a:ext cx="180975" cy="95250"/>
          </a:xfrm>
          <a:custGeom>
            <a:avLst/>
            <a:gdLst>
              <a:gd name="T0" fmla="*/ 58336 w 273"/>
              <a:gd name="T1" fmla="*/ 65332 h 156"/>
              <a:gd name="T2" fmla="*/ 70932 w 273"/>
              <a:gd name="T3" fmla="*/ 71437 h 156"/>
              <a:gd name="T4" fmla="*/ 84190 w 273"/>
              <a:gd name="T5" fmla="*/ 59837 h 156"/>
              <a:gd name="T6" fmla="*/ 96785 w 273"/>
              <a:gd name="T7" fmla="*/ 59837 h 156"/>
              <a:gd name="T8" fmla="*/ 96785 w 273"/>
              <a:gd name="T9" fmla="*/ 77543 h 156"/>
              <a:gd name="T10" fmla="*/ 122639 w 273"/>
              <a:gd name="T11" fmla="*/ 95250 h 156"/>
              <a:gd name="T12" fmla="*/ 155121 w 273"/>
              <a:gd name="T13" fmla="*/ 77543 h 156"/>
              <a:gd name="T14" fmla="*/ 155121 w 273"/>
              <a:gd name="T15" fmla="*/ 59837 h 156"/>
              <a:gd name="T16" fmla="*/ 180975 w 273"/>
              <a:gd name="T17" fmla="*/ 41519 h 156"/>
              <a:gd name="T18" fmla="*/ 161751 w 273"/>
              <a:gd name="T19" fmla="*/ 36024 h 156"/>
              <a:gd name="T20" fmla="*/ 155121 w 273"/>
              <a:gd name="T21" fmla="*/ 17707 h 156"/>
              <a:gd name="T22" fmla="*/ 148492 w 273"/>
              <a:gd name="T23" fmla="*/ 17707 h 156"/>
              <a:gd name="T24" fmla="*/ 148492 w 273"/>
              <a:gd name="T25" fmla="*/ 29918 h 156"/>
              <a:gd name="T26" fmla="*/ 135897 w 273"/>
              <a:gd name="T27" fmla="*/ 29918 h 156"/>
              <a:gd name="T28" fmla="*/ 116010 w 273"/>
              <a:gd name="T29" fmla="*/ 41519 h 156"/>
              <a:gd name="T30" fmla="*/ 96785 w 273"/>
              <a:gd name="T31" fmla="*/ 29918 h 156"/>
              <a:gd name="T32" fmla="*/ 90156 w 273"/>
              <a:gd name="T33" fmla="*/ 0 h 156"/>
              <a:gd name="T34" fmla="*/ 77561 w 273"/>
              <a:gd name="T35" fmla="*/ 0 h 156"/>
              <a:gd name="T36" fmla="*/ 64302 w 273"/>
              <a:gd name="T37" fmla="*/ 6106 h 156"/>
              <a:gd name="T38" fmla="*/ 45078 w 273"/>
              <a:gd name="T39" fmla="*/ 17707 h 156"/>
              <a:gd name="T40" fmla="*/ 25854 w 273"/>
              <a:gd name="T41" fmla="*/ 6106 h 156"/>
              <a:gd name="T42" fmla="*/ 6629 w 273"/>
              <a:gd name="T43" fmla="*/ 6106 h 156"/>
              <a:gd name="T44" fmla="*/ 6629 w 273"/>
              <a:gd name="T45" fmla="*/ 17707 h 156"/>
              <a:gd name="T46" fmla="*/ 19224 w 273"/>
              <a:gd name="T47" fmla="*/ 29918 h 156"/>
              <a:gd name="T48" fmla="*/ 25854 w 273"/>
              <a:gd name="T49" fmla="*/ 41519 h 156"/>
              <a:gd name="T50" fmla="*/ 6629 w 273"/>
              <a:gd name="T51" fmla="*/ 41519 h 156"/>
              <a:gd name="T52" fmla="*/ 0 w 273"/>
              <a:gd name="T53" fmla="*/ 47625 h 156"/>
              <a:gd name="T54" fmla="*/ 0 w 273"/>
              <a:gd name="T55" fmla="*/ 59837 h 156"/>
              <a:gd name="T56" fmla="*/ 19224 w 273"/>
              <a:gd name="T57" fmla="*/ 65332 h 156"/>
              <a:gd name="T58" fmla="*/ 38449 w 273"/>
              <a:gd name="T59" fmla="*/ 59837 h 156"/>
              <a:gd name="T60" fmla="*/ 58336 w 273"/>
              <a:gd name="T61" fmla="*/ 47625 h 156"/>
              <a:gd name="T62" fmla="*/ 58336 w 273"/>
              <a:gd name="T63" fmla="*/ 65332 h 15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273"/>
              <a:gd name="T97" fmla="*/ 0 h 156"/>
              <a:gd name="T98" fmla="*/ 273 w 273"/>
              <a:gd name="T99" fmla="*/ 156 h 15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273" h="156">
                <a:moveTo>
                  <a:pt x="88" y="107"/>
                </a:moveTo>
                <a:lnTo>
                  <a:pt x="107" y="117"/>
                </a:lnTo>
                <a:lnTo>
                  <a:pt x="127" y="98"/>
                </a:lnTo>
                <a:lnTo>
                  <a:pt x="146" y="98"/>
                </a:lnTo>
                <a:lnTo>
                  <a:pt x="146" y="127"/>
                </a:lnTo>
                <a:lnTo>
                  <a:pt x="185" y="156"/>
                </a:lnTo>
                <a:lnTo>
                  <a:pt x="234" y="127"/>
                </a:lnTo>
                <a:lnTo>
                  <a:pt x="234" y="98"/>
                </a:lnTo>
                <a:lnTo>
                  <a:pt x="273" y="68"/>
                </a:lnTo>
                <a:lnTo>
                  <a:pt x="244" y="59"/>
                </a:lnTo>
                <a:lnTo>
                  <a:pt x="234" y="29"/>
                </a:lnTo>
                <a:lnTo>
                  <a:pt x="224" y="29"/>
                </a:lnTo>
                <a:lnTo>
                  <a:pt x="224" y="49"/>
                </a:lnTo>
                <a:lnTo>
                  <a:pt x="205" y="49"/>
                </a:lnTo>
                <a:lnTo>
                  <a:pt x="175" y="68"/>
                </a:lnTo>
                <a:lnTo>
                  <a:pt x="146" y="49"/>
                </a:lnTo>
                <a:lnTo>
                  <a:pt x="136" y="0"/>
                </a:lnTo>
                <a:lnTo>
                  <a:pt x="117" y="0"/>
                </a:lnTo>
                <a:lnTo>
                  <a:pt x="97" y="10"/>
                </a:lnTo>
                <a:lnTo>
                  <a:pt x="68" y="29"/>
                </a:lnTo>
                <a:lnTo>
                  <a:pt x="39" y="10"/>
                </a:lnTo>
                <a:lnTo>
                  <a:pt x="10" y="10"/>
                </a:lnTo>
                <a:lnTo>
                  <a:pt x="10" y="29"/>
                </a:lnTo>
                <a:lnTo>
                  <a:pt x="29" y="49"/>
                </a:lnTo>
                <a:lnTo>
                  <a:pt x="39" y="68"/>
                </a:lnTo>
                <a:lnTo>
                  <a:pt x="10" y="68"/>
                </a:lnTo>
                <a:lnTo>
                  <a:pt x="0" y="78"/>
                </a:lnTo>
                <a:lnTo>
                  <a:pt x="0" y="98"/>
                </a:lnTo>
                <a:lnTo>
                  <a:pt x="29" y="107"/>
                </a:lnTo>
                <a:lnTo>
                  <a:pt x="58" y="98"/>
                </a:lnTo>
                <a:lnTo>
                  <a:pt x="88" y="78"/>
                </a:lnTo>
                <a:lnTo>
                  <a:pt x="88" y="107"/>
                </a:lnTo>
                <a:close/>
              </a:path>
            </a:pathLst>
          </a:custGeom>
          <a:solidFill>
            <a:srgbClr val="C0C0C0"/>
          </a:solidFill>
          <a:ln w="6350" cap="rnd">
            <a:solidFill>
              <a:srgbClr val="4C7445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grpSp>
        <p:nvGrpSpPr>
          <p:cNvPr id="18643" name="Group 63"/>
          <p:cNvGrpSpPr>
            <a:grpSpLocks noChangeAspect="1"/>
          </p:cNvGrpSpPr>
          <p:nvPr>
            <p:custDataLst>
              <p:tags r:id="rId209"/>
            </p:custDataLst>
          </p:nvPr>
        </p:nvGrpSpPr>
        <p:grpSpPr bwMode="auto">
          <a:xfrm>
            <a:off x="5341938" y="5192713"/>
            <a:ext cx="180975" cy="95250"/>
            <a:chOff x="5521" y="3766"/>
            <a:chExt cx="273" cy="156"/>
          </a:xfrm>
        </p:grpSpPr>
        <p:sp>
          <p:nvSpPr>
            <p:cNvPr id="18742" name="Freeform 65"/>
            <p:cNvSpPr>
              <a:spLocks noChangeAspect="1"/>
            </p:cNvSpPr>
            <p:nvPr/>
          </p:nvSpPr>
          <p:spPr bwMode="auto">
            <a:xfrm>
              <a:off x="5521" y="3766"/>
              <a:ext cx="273" cy="156"/>
            </a:xfrm>
            <a:custGeom>
              <a:avLst/>
              <a:gdLst>
                <a:gd name="T0" fmla="*/ 88 w 273"/>
                <a:gd name="T1" fmla="*/ 107 h 156"/>
                <a:gd name="T2" fmla="*/ 107 w 273"/>
                <a:gd name="T3" fmla="*/ 117 h 156"/>
                <a:gd name="T4" fmla="*/ 127 w 273"/>
                <a:gd name="T5" fmla="*/ 98 h 156"/>
                <a:gd name="T6" fmla="*/ 146 w 273"/>
                <a:gd name="T7" fmla="*/ 98 h 156"/>
                <a:gd name="T8" fmla="*/ 146 w 273"/>
                <a:gd name="T9" fmla="*/ 127 h 156"/>
                <a:gd name="T10" fmla="*/ 185 w 273"/>
                <a:gd name="T11" fmla="*/ 156 h 156"/>
                <a:gd name="T12" fmla="*/ 234 w 273"/>
                <a:gd name="T13" fmla="*/ 127 h 156"/>
                <a:gd name="T14" fmla="*/ 234 w 273"/>
                <a:gd name="T15" fmla="*/ 98 h 156"/>
                <a:gd name="T16" fmla="*/ 273 w 273"/>
                <a:gd name="T17" fmla="*/ 68 h 156"/>
                <a:gd name="T18" fmla="*/ 244 w 273"/>
                <a:gd name="T19" fmla="*/ 59 h 156"/>
                <a:gd name="T20" fmla="*/ 234 w 273"/>
                <a:gd name="T21" fmla="*/ 29 h 156"/>
                <a:gd name="T22" fmla="*/ 224 w 273"/>
                <a:gd name="T23" fmla="*/ 29 h 156"/>
                <a:gd name="T24" fmla="*/ 224 w 273"/>
                <a:gd name="T25" fmla="*/ 49 h 156"/>
                <a:gd name="T26" fmla="*/ 205 w 273"/>
                <a:gd name="T27" fmla="*/ 49 h 156"/>
                <a:gd name="T28" fmla="*/ 175 w 273"/>
                <a:gd name="T29" fmla="*/ 68 h 156"/>
                <a:gd name="T30" fmla="*/ 146 w 273"/>
                <a:gd name="T31" fmla="*/ 49 h 156"/>
                <a:gd name="T32" fmla="*/ 136 w 273"/>
                <a:gd name="T33" fmla="*/ 0 h 156"/>
                <a:gd name="T34" fmla="*/ 117 w 273"/>
                <a:gd name="T35" fmla="*/ 0 h 156"/>
                <a:gd name="T36" fmla="*/ 97 w 273"/>
                <a:gd name="T37" fmla="*/ 10 h 156"/>
                <a:gd name="T38" fmla="*/ 68 w 273"/>
                <a:gd name="T39" fmla="*/ 29 h 156"/>
                <a:gd name="T40" fmla="*/ 39 w 273"/>
                <a:gd name="T41" fmla="*/ 10 h 156"/>
                <a:gd name="T42" fmla="*/ 19 w 273"/>
                <a:gd name="T43" fmla="*/ 10 h 156"/>
                <a:gd name="T44" fmla="*/ 10 w 273"/>
                <a:gd name="T45" fmla="*/ 29 h 156"/>
                <a:gd name="T46" fmla="*/ 29 w 273"/>
                <a:gd name="T47" fmla="*/ 49 h 156"/>
                <a:gd name="T48" fmla="*/ 39 w 273"/>
                <a:gd name="T49" fmla="*/ 68 h 156"/>
                <a:gd name="T50" fmla="*/ 19 w 273"/>
                <a:gd name="T51" fmla="*/ 68 h 156"/>
                <a:gd name="T52" fmla="*/ 0 w 273"/>
                <a:gd name="T53" fmla="*/ 78 h 156"/>
                <a:gd name="T54" fmla="*/ 0 w 273"/>
                <a:gd name="T55" fmla="*/ 98 h 156"/>
                <a:gd name="T56" fmla="*/ 29 w 273"/>
                <a:gd name="T57" fmla="*/ 107 h 156"/>
                <a:gd name="T58" fmla="*/ 58 w 273"/>
                <a:gd name="T59" fmla="*/ 98 h 156"/>
                <a:gd name="T60" fmla="*/ 88 w 273"/>
                <a:gd name="T61" fmla="*/ 78 h 156"/>
                <a:gd name="T62" fmla="*/ 88 w 273"/>
                <a:gd name="T63" fmla="*/ 107 h 15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73"/>
                <a:gd name="T97" fmla="*/ 0 h 156"/>
                <a:gd name="T98" fmla="*/ 273 w 273"/>
                <a:gd name="T99" fmla="*/ 156 h 15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73" h="156">
                  <a:moveTo>
                    <a:pt x="88" y="107"/>
                  </a:moveTo>
                  <a:lnTo>
                    <a:pt x="107" y="117"/>
                  </a:lnTo>
                  <a:lnTo>
                    <a:pt x="127" y="98"/>
                  </a:lnTo>
                  <a:lnTo>
                    <a:pt x="146" y="98"/>
                  </a:lnTo>
                  <a:lnTo>
                    <a:pt x="146" y="127"/>
                  </a:lnTo>
                  <a:lnTo>
                    <a:pt x="185" y="156"/>
                  </a:lnTo>
                  <a:lnTo>
                    <a:pt x="234" y="127"/>
                  </a:lnTo>
                  <a:lnTo>
                    <a:pt x="234" y="98"/>
                  </a:lnTo>
                  <a:lnTo>
                    <a:pt x="273" y="68"/>
                  </a:lnTo>
                  <a:lnTo>
                    <a:pt x="244" y="59"/>
                  </a:lnTo>
                  <a:lnTo>
                    <a:pt x="234" y="29"/>
                  </a:lnTo>
                  <a:lnTo>
                    <a:pt x="224" y="29"/>
                  </a:lnTo>
                  <a:lnTo>
                    <a:pt x="224" y="49"/>
                  </a:lnTo>
                  <a:lnTo>
                    <a:pt x="205" y="49"/>
                  </a:lnTo>
                  <a:lnTo>
                    <a:pt x="175" y="68"/>
                  </a:lnTo>
                  <a:lnTo>
                    <a:pt x="146" y="49"/>
                  </a:lnTo>
                  <a:lnTo>
                    <a:pt x="136" y="0"/>
                  </a:lnTo>
                  <a:lnTo>
                    <a:pt x="117" y="0"/>
                  </a:lnTo>
                  <a:lnTo>
                    <a:pt x="97" y="10"/>
                  </a:lnTo>
                  <a:lnTo>
                    <a:pt x="68" y="29"/>
                  </a:lnTo>
                  <a:lnTo>
                    <a:pt x="39" y="10"/>
                  </a:lnTo>
                  <a:lnTo>
                    <a:pt x="19" y="10"/>
                  </a:lnTo>
                  <a:lnTo>
                    <a:pt x="10" y="29"/>
                  </a:lnTo>
                  <a:lnTo>
                    <a:pt x="29" y="49"/>
                  </a:lnTo>
                  <a:lnTo>
                    <a:pt x="39" y="68"/>
                  </a:lnTo>
                  <a:lnTo>
                    <a:pt x="19" y="68"/>
                  </a:lnTo>
                  <a:lnTo>
                    <a:pt x="0" y="78"/>
                  </a:lnTo>
                  <a:lnTo>
                    <a:pt x="0" y="98"/>
                  </a:lnTo>
                  <a:lnTo>
                    <a:pt x="29" y="107"/>
                  </a:lnTo>
                  <a:lnTo>
                    <a:pt x="58" y="98"/>
                  </a:lnTo>
                  <a:lnTo>
                    <a:pt x="88" y="78"/>
                  </a:lnTo>
                  <a:lnTo>
                    <a:pt x="88" y="107"/>
                  </a:lnTo>
                  <a:close/>
                </a:path>
              </a:pathLst>
            </a:custGeom>
            <a:solidFill>
              <a:srgbClr val="C0C0C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8743" name="Freeform 64"/>
            <p:cNvSpPr>
              <a:spLocks noChangeAspect="1"/>
            </p:cNvSpPr>
            <p:nvPr/>
          </p:nvSpPr>
          <p:spPr bwMode="auto">
            <a:xfrm>
              <a:off x="5522" y="3765"/>
              <a:ext cx="272" cy="158"/>
            </a:xfrm>
            <a:custGeom>
              <a:avLst/>
              <a:gdLst>
                <a:gd name="T0" fmla="*/ 88 w 273"/>
                <a:gd name="T1" fmla="*/ 109 h 156"/>
                <a:gd name="T2" fmla="*/ 107 w 273"/>
                <a:gd name="T3" fmla="*/ 120 h 156"/>
                <a:gd name="T4" fmla="*/ 127 w 273"/>
                <a:gd name="T5" fmla="*/ 100 h 156"/>
                <a:gd name="T6" fmla="*/ 144 w 273"/>
                <a:gd name="T7" fmla="*/ 100 h 156"/>
                <a:gd name="T8" fmla="*/ 144 w 273"/>
                <a:gd name="T9" fmla="*/ 131 h 156"/>
                <a:gd name="T10" fmla="*/ 183 w 273"/>
                <a:gd name="T11" fmla="*/ 160 h 156"/>
                <a:gd name="T12" fmla="*/ 232 w 273"/>
                <a:gd name="T13" fmla="*/ 131 h 156"/>
                <a:gd name="T14" fmla="*/ 232 w 273"/>
                <a:gd name="T15" fmla="*/ 100 h 156"/>
                <a:gd name="T16" fmla="*/ 271 w 273"/>
                <a:gd name="T17" fmla="*/ 70 h 156"/>
                <a:gd name="T18" fmla="*/ 242 w 273"/>
                <a:gd name="T19" fmla="*/ 61 h 156"/>
                <a:gd name="T20" fmla="*/ 232 w 273"/>
                <a:gd name="T21" fmla="*/ 29 h 156"/>
                <a:gd name="T22" fmla="*/ 222 w 273"/>
                <a:gd name="T23" fmla="*/ 29 h 156"/>
                <a:gd name="T24" fmla="*/ 222 w 273"/>
                <a:gd name="T25" fmla="*/ 51 h 156"/>
                <a:gd name="T26" fmla="*/ 203 w 273"/>
                <a:gd name="T27" fmla="*/ 51 h 156"/>
                <a:gd name="T28" fmla="*/ 173 w 273"/>
                <a:gd name="T29" fmla="*/ 70 h 156"/>
                <a:gd name="T30" fmla="*/ 144 w 273"/>
                <a:gd name="T31" fmla="*/ 51 h 156"/>
                <a:gd name="T32" fmla="*/ 136 w 273"/>
                <a:gd name="T33" fmla="*/ 0 h 156"/>
                <a:gd name="T34" fmla="*/ 117 w 273"/>
                <a:gd name="T35" fmla="*/ 0 h 156"/>
                <a:gd name="T36" fmla="*/ 97 w 273"/>
                <a:gd name="T37" fmla="*/ 10 h 156"/>
                <a:gd name="T38" fmla="*/ 68 w 273"/>
                <a:gd name="T39" fmla="*/ 29 h 156"/>
                <a:gd name="T40" fmla="*/ 39 w 273"/>
                <a:gd name="T41" fmla="*/ 10 h 156"/>
                <a:gd name="T42" fmla="*/ 19 w 273"/>
                <a:gd name="T43" fmla="*/ 10 h 156"/>
                <a:gd name="T44" fmla="*/ 10 w 273"/>
                <a:gd name="T45" fmla="*/ 29 h 156"/>
                <a:gd name="T46" fmla="*/ 29 w 273"/>
                <a:gd name="T47" fmla="*/ 51 h 156"/>
                <a:gd name="T48" fmla="*/ 39 w 273"/>
                <a:gd name="T49" fmla="*/ 70 h 156"/>
                <a:gd name="T50" fmla="*/ 19 w 273"/>
                <a:gd name="T51" fmla="*/ 70 h 156"/>
                <a:gd name="T52" fmla="*/ 0 w 273"/>
                <a:gd name="T53" fmla="*/ 80 h 156"/>
                <a:gd name="T54" fmla="*/ 0 w 273"/>
                <a:gd name="T55" fmla="*/ 100 h 156"/>
                <a:gd name="T56" fmla="*/ 29 w 273"/>
                <a:gd name="T57" fmla="*/ 109 h 156"/>
                <a:gd name="T58" fmla="*/ 58 w 273"/>
                <a:gd name="T59" fmla="*/ 100 h 156"/>
                <a:gd name="T60" fmla="*/ 88 w 273"/>
                <a:gd name="T61" fmla="*/ 80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273"/>
                <a:gd name="T94" fmla="*/ 0 h 156"/>
                <a:gd name="T95" fmla="*/ 273 w 273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273" h="156">
                  <a:moveTo>
                    <a:pt x="88" y="107"/>
                  </a:moveTo>
                  <a:lnTo>
                    <a:pt x="107" y="117"/>
                  </a:lnTo>
                  <a:lnTo>
                    <a:pt x="127" y="98"/>
                  </a:lnTo>
                  <a:lnTo>
                    <a:pt x="146" y="98"/>
                  </a:lnTo>
                  <a:lnTo>
                    <a:pt x="146" y="127"/>
                  </a:lnTo>
                  <a:lnTo>
                    <a:pt x="185" y="156"/>
                  </a:lnTo>
                  <a:lnTo>
                    <a:pt x="234" y="127"/>
                  </a:lnTo>
                  <a:lnTo>
                    <a:pt x="234" y="98"/>
                  </a:lnTo>
                  <a:lnTo>
                    <a:pt x="273" y="68"/>
                  </a:lnTo>
                  <a:lnTo>
                    <a:pt x="244" y="59"/>
                  </a:lnTo>
                  <a:lnTo>
                    <a:pt x="234" y="29"/>
                  </a:lnTo>
                  <a:lnTo>
                    <a:pt x="224" y="29"/>
                  </a:lnTo>
                  <a:lnTo>
                    <a:pt x="224" y="49"/>
                  </a:lnTo>
                  <a:lnTo>
                    <a:pt x="205" y="49"/>
                  </a:lnTo>
                  <a:lnTo>
                    <a:pt x="175" y="68"/>
                  </a:lnTo>
                  <a:lnTo>
                    <a:pt x="146" y="49"/>
                  </a:lnTo>
                  <a:lnTo>
                    <a:pt x="136" y="0"/>
                  </a:lnTo>
                  <a:lnTo>
                    <a:pt x="117" y="0"/>
                  </a:lnTo>
                  <a:lnTo>
                    <a:pt x="97" y="10"/>
                  </a:lnTo>
                  <a:lnTo>
                    <a:pt x="68" y="29"/>
                  </a:lnTo>
                  <a:lnTo>
                    <a:pt x="39" y="10"/>
                  </a:lnTo>
                  <a:lnTo>
                    <a:pt x="19" y="10"/>
                  </a:lnTo>
                  <a:lnTo>
                    <a:pt x="10" y="29"/>
                  </a:lnTo>
                  <a:lnTo>
                    <a:pt x="29" y="49"/>
                  </a:lnTo>
                  <a:lnTo>
                    <a:pt x="39" y="68"/>
                  </a:lnTo>
                  <a:lnTo>
                    <a:pt x="19" y="68"/>
                  </a:lnTo>
                  <a:lnTo>
                    <a:pt x="0" y="78"/>
                  </a:lnTo>
                  <a:lnTo>
                    <a:pt x="0" y="98"/>
                  </a:lnTo>
                  <a:lnTo>
                    <a:pt x="29" y="107"/>
                  </a:lnTo>
                  <a:lnTo>
                    <a:pt x="58" y="98"/>
                  </a:lnTo>
                  <a:lnTo>
                    <a:pt x="88" y="78"/>
                  </a:lnTo>
                </a:path>
              </a:pathLst>
            </a:custGeom>
            <a:solidFill>
              <a:srgbClr val="C0C0C0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18644" name="Freeform 62"/>
          <p:cNvSpPr>
            <a:spLocks noChangeAspect="1"/>
          </p:cNvSpPr>
          <p:nvPr>
            <p:custDataLst>
              <p:tags r:id="rId210"/>
            </p:custDataLst>
          </p:nvPr>
        </p:nvSpPr>
        <p:spPr bwMode="auto">
          <a:xfrm>
            <a:off x="4667250" y="3521075"/>
            <a:ext cx="900113" cy="717550"/>
          </a:xfrm>
          <a:custGeom>
            <a:avLst/>
            <a:gdLst>
              <a:gd name="T0" fmla="*/ 822540 w 1346"/>
              <a:gd name="T1" fmla="*/ 334483 h 1152"/>
              <a:gd name="T2" fmla="*/ 900782 w 1346"/>
              <a:gd name="T3" fmla="*/ 438503 h 1152"/>
              <a:gd name="T4" fmla="*/ 841933 w 1346"/>
              <a:gd name="T5" fmla="*/ 517608 h 1152"/>
              <a:gd name="T6" fmla="*/ 770379 w 1346"/>
              <a:gd name="T7" fmla="*/ 571798 h 1152"/>
              <a:gd name="T8" fmla="*/ 652682 w 1346"/>
              <a:gd name="T9" fmla="*/ 590484 h 1152"/>
              <a:gd name="T10" fmla="*/ 581128 w 1346"/>
              <a:gd name="T11" fmla="*/ 553734 h 1152"/>
              <a:gd name="T12" fmla="*/ 443369 w 1346"/>
              <a:gd name="T13" fmla="*/ 590484 h 1152"/>
              <a:gd name="T14" fmla="*/ 365128 w 1346"/>
              <a:gd name="T15" fmla="*/ 657131 h 1152"/>
              <a:gd name="T16" fmla="*/ 247431 w 1346"/>
              <a:gd name="T17" fmla="*/ 711944 h 1152"/>
              <a:gd name="T18" fmla="*/ 137090 w 1346"/>
              <a:gd name="T19" fmla="*/ 663360 h 1152"/>
              <a:gd name="T20" fmla="*/ 84929 w 1346"/>
              <a:gd name="T21" fmla="*/ 626610 h 1152"/>
              <a:gd name="T22" fmla="*/ 71554 w 1346"/>
              <a:gd name="T23" fmla="*/ 566192 h 1152"/>
              <a:gd name="T24" fmla="*/ 32099 w 1346"/>
              <a:gd name="T25" fmla="*/ 529442 h 1152"/>
              <a:gd name="T26" fmla="*/ 19393 w 1346"/>
              <a:gd name="T27" fmla="*/ 462795 h 1152"/>
              <a:gd name="T28" fmla="*/ 64867 w 1346"/>
              <a:gd name="T29" fmla="*/ 401753 h 1152"/>
              <a:gd name="T30" fmla="*/ 78242 w 1346"/>
              <a:gd name="T31" fmla="*/ 340712 h 1152"/>
              <a:gd name="T32" fmla="*/ 90948 w 1346"/>
              <a:gd name="T33" fmla="*/ 328254 h 1152"/>
              <a:gd name="T34" fmla="*/ 149796 w 1346"/>
              <a:gd name="T35" fmla="*/ 371232 h 1152"/>
              <a:gd name="T36" fmla="*/ 123715 w 1346"/>
              <a:gd name="T37" fmla="*/ 414211 h 1152"/>
              <a:gd name="T38" fmla="*/ 137090 w 1346"/>
              <a:gd name="T39" fmla="*/ 426045 h 1152"/>
              <a:gd name="T40" fmla="*/ 111009 w 1346"/>
              <a:gd name="T41" fmla="*/ 487087 h 1152"/>
              <a:gd name="T42" fmla="*/ 137090 w 1346"/>
              <a:gd name="T43" fmla="*/ 529442 h 1152"/>
              <a:gd name="T44" fmla="*/ 137090 w 1346"/>
              <a:gd name="T45" fmla="*/ 474629 h 1152"/>
              <a:gd name="T46" fmla="*/ 163171 w 1346"/>
              <a:gd name="T47" fmla="*/ 395525 h 1152"/>
              <a:gd name="T48" fmla="*/ 117028 w 1346"/>
              <a:gd name="T49" fmla="*/ 316420 h 1152"/>
              <a:gd name="T50" fmla="*/ 130403 w 1346"/>
              <a:gd name="T51" fmla="*/ 249149 h 1152"/>
              <a:gd name="T52" fmla="*/ 247431 w 1346"/>
              <a:gd name="T53" fmla="*/ 249149 h 1152"/>
              <a:gd name="T54" fmla="*/ 280199 w 1346"/>
              <a:gd name="T55" fmla="*/ 255378 h 1152"/>
              <a:gd name="T56" fmla="*/ 280199 w 1346"/>
              <a:gd name="T57" fmla="*/ 206794 h 1152"/>
              <a:gd name="T58" fmla="*/ 273511 w 1346"/>
              <a:gd name="T59" fmla="*/ 188731 h 1152"/>
              <a:gd name="T60" fmla="*/ 299592 w 1346"/>
              <a:gd name="T61" fmla="*/ 182502 h 1152"/>
              <a:gd name="T62" fmla="*/ 319654 w 1346"/>
              <a:gd name="T63" fmla="*/ 170044 h 1152"/>
              <a:gd name="T64" fmla="*/ 384521 w 1346"/>
              <a:gd name="T65" fmla="*/ 140146 h 1152"/>
              <a:gd name="T66" fmla="*/ 450725 w 1346"/>
              <a:gd name="T67" fmla="*/ 133918 h 1152"/>
              <a:gd name="T68" fmla="*/ 443369 w 1346"/>
              <a:gd name="T69" fmla="*/ 115854 h 1152"/>
              <a:gd name="T70" fmla="*/ 483493 w 1346"/>
              <a:gd name="T71" fmla="*/ 115854 h 1152"/>
              <a:gd name="T72" fmla="*/ 509574 w 1346"/>
              <a:gd name="T73" fmla="*/ 127689 h 1152"/>
              <a:gd name="T74" fmla="*/ 561735 w 1346"/>
              <a:gd name="T75" fmla="*/ 109626 h 1152"/>
              <a:gd name="T76" fmla="*/ 567753 w 1346"/>
              <a:gd name="T77" fmla="*/ 91562 h 1152"/>
              <a:gd name="T78" fmla="*/ 607208 w 1346"/>
              <a:gd name="T79" fmla="*/ 85334 h 1152"/>
              <a:gd name="T80" fmla="*/ 600521 w 1346"/>
              <a:gd name="T81" fmla="*/ 42978 h 1152"/>
              <a:gd name="T82" fmla="*/ 645995 w 1346"/>
              <a:gd name="T83" fmla="*/ 0 h 1152"/>
              <a:gd name="T84" fmla="*/ 685450 w 1346"/>
              <a:gd name="T85" fmla="*/ 24292 h 1152"/>
              <a:gd name="T86" fmla="*/ 685450 w 1346"/>
              <a:gd name="T87" fmla="*/ 48584 h 1152"/>
              <a:gd name="T88" fmla="*/ 704843 w 1346"/>
              <a:gd name="T89" fmla="*/ 85334 h 1152"/>
              <a:gd name="T90" fmla="*/ 757004 w 1346"/>
              <a:gd name="T91" fmla="*/ 61042 h 1152"/>
              <a:gd name="T92" fmla="*/ 809166 w 1346"/>
              <a:gd name="T93" fmla="*/ 67270 h 1152"/>
              <a:gd name="T94" fmla="*/ 841933 w 1346"/>
              <a:gd name="T95" fmla="*/ 97168 h 1152"/>
              <a:gd name="T96" fmla="*/ 861327 w 1346"/>
              <a:gd name="T97" fmla="*/ 103397 h 1152"/>
              <a:gd name="T98" fmla="*/ 841933 w 1346"/>
              <a:gd name="T99" fmla="*/ 127689 h 1152"/>
              <a:gd name="T100" fmla="*/ 861327 w 1346"/>
              <a:gd name="T101" fmla="*/ 170044 h 1152"/>
              <a:gd name="T102" fmla="*/ 802478 w 1346"/>
              <a:gd name="T103" fmla="*/ 224857 h 1152"/>
              <a:gd name="T104" fmla="*/ 770379 w 1346"/>
              <a:gd name="T105" fmla="*/ 279670 h 1152"/>
              <a:gd name="T106" fmla="*/ 718218 w 1346"/>
              <a:gd name="T107" fmla="*/ 328254 h 1152"/>
              <a:gd name="T108" fmla="*/ 750317 w 1346"/>
              <a:gd name="T109" fmla="*/ 316420 h 1152"/>
              <a:gd name="T110" fmla="*/ 802478 w 1346"/>
              <a:gd name="T111" fmla="*/ 292128 h 1152"/>
              <a:gd name="T112" fmla="*/ 796460 w 1346"/>
              <a:gd name="T113" fmla="*/ 267835 h 1152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346"/>
              <a:gd name="T172" fmla="*/ 0 h 1152"/>
              <a:gd name="T173" fmla="*/ 1346 w 1346"/>
              <a:gd name="T174" fmla="*/ 1152 h 1152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346" h="1152">
                <a:moveTo>
                  <a:pt x="1248" y="410"/>
                </a:moveTo>
                <a:lnTo>
                  <a:pt x="1238" y="420"/>
                </a:lnTo>
                <a:lnTo>
                  <a:pt x="1238" y="430"/>
                </a:lnTo>
                <a:lnTo>
                  <a:pt x="1238" y="439"/>
                </a:lnTo>
                <a:lnTo>
                  <a:pt x="1219" y="459"/>
                </a:lnTo>
                <a:lnTo>
                  <a:pt x="1209" y="469"/>
                </a:lnTo>
                <a:lnTo>
                  <a:pt x="1229" y="488"/>
                </a:lnTo>
                <a:lnTo>
                  <a:pt x="1238" y="508"/>
                </a:lnTo>
                <a:lnTo>
                  <a:pt x="1229" y="537"/>
                </a:lnTo>
                <a:lnTo>
                  <a:pt x="1258" y="556"/>
                </a:lnTo>
                <a:lnTo>
                  <a:pt x="1258" y="576"/>
                </a:lnTo>
                <a:lnTo>
                  <a:pt x="1268" y="576"/>
                </a:lnTo>
                <a:lnTo>
                  <a:pt x="1287" y="595"/>
                </a:lnTo>
                <a:lnTo>
                  <a:pt x="1317" y="625"/>
                </a:lnTo>
                <a:lnTo>
                  <a:pt x="1317" y="654"/>
                </a:lnTo>
                <a:lnTo>
                  <a:pt x="1317" y="673"/>
                </a:lnTo>
                <a:lnTo>
                  <a:pt x="1346" y="683"/>
                </a:lnTo>
                <a:lnTo>
                  <a:pt x="1346" y="703"/>
                </a:lnTo>
                <a:lnTo>
                  <a:pt x="1346" y="712"/>
                </a:lnTo>
                <a:lnTo>
                  <a:pt x="1326" y="712"/>
                </a:lnTo>
                <a:lnTo>
                  <a:pt x="1307" y="742"/>
                </a:lnTo>
                <a:lnTo>
                  <a:pt x="1278" y="771"/>
                </a:lnTo>
                <a:lnTo>
                  <a:pt x="1278" y="800"/>
                </a:lnTo>
                <a:lnTo>
                  <a:pt x="1258" y="800"/>
                </a:lnTo>
                <a:lnTo>
                  <a:pt x="1258" y="820"/>
                </a:lnTo>
                <a:lnTo>
                  <a:pt x="1248" y="830"/>
                </a:lnTo>
                <a:lnTo>
                  <a:pt x="1258" y="830"/>
                </a:lnTo>
                <a:lnTo>
                  <a:pt x="1258" y="849"/>
                </a:lnTo>
                <a:lnTo>
                  <a:pt x="1248" y="859"/>
                </a:lnTo>
                <a:lnTo>
                  <a:pt x="1238" y="878"/>
                </a:lnTo>
                <a:lnTo>
                  <a:pt x="1219" y="878"/>
                </a:lnTo>
                <a:lnTo>
                  <a:pt x="1209" y="878"/>
                </a:lnTo>
                <a:lnTo>
                  <a:pt x="1199" y="878"/>
                </a:lnTo>
                <a:lnTo>
                  <a:pt x="1190" y="888"/>
                </a:lnTo>
                <a:lnTo>
                  <a:pt x="1170" y="908"/>
                </a:lnTo>
                <a:lnTo>
                  <a:pt x="1151" y="917"/>
                </a:lnTo>
                <a:lnTo>
                  <a:pt x="1112" y="917"/>
                </a:lnTo>
                <a:lnTo>
                  <a:pt x="1102" y="947"/>
                </a:lnTo>
                <a:lnTo>
                  <a:pt x="1082" y="937"/>
                </a:lnTo>
                <a:lnTo>
                  <a:pt x="1082" y="927"/>
                </a:lnTo>
                <a:lnTo>
                  <a:pt x="1053" y="927"/>
                </a:lnTo>
                <a:lnTo>
                  <a:pt x="1053" y="937"/>
                </a:lnTo>
                <a:lnTo>
                  <a:pt x="1024" y="956"/>
                </a:lnTo>
                <a:lnTo>
                  <a:pt x="1004" y="947"/>
                </a:lnTo>
                <a:lnTo>
                  <a:pt x="975" y="947"/>
                </a:lnTo>
                <a:lnTo>
                  <a:pt x="956" y="937"/>
                </a:lnTo>
                <a:lnTo>
                  <a:pt x="956" y="927"/>
                </a:lnTo>
                <a:lnTo>
                  <a:pt x="946" y="917"/>
                </a:lnTo>
                <a:lnTo>
                  <a:pt x="926" y="927"/>
                </a:lnTo>
                <a:lnTo>
                  <a:pt x="897" y="917"/>
                </a:lnTo>
                <a:lnTo>
                  <a:pt x="878" y="927"/>
                </a:lnTo>
                <a:lnTo>
                  <a:pt x="868" y="927"/>
                </a:lnTo>
                <a:lnTo>
                  <a:pt x="878" y="908"/>
                </a:lnTo>
                <a:lnTo>
                  <a:pt x="868" y="888"/>
                </a:lnTo>
                <a:lnTo>
                  <a:pt x="848" y="878"/>
                </a:lnTo>
                <a:lnTo>
                  <a:pt x="819" y="898"/>
                </a:lnTo>
                <a:lnTo>
                  <a:pt x="780" y="888"/>
                </a:lnTo>
                <a:lnTo>
                  <a:pt x="770" y="898"/>
                </a:lnTo>
                <a:lnTo>
                  <a:pt x="751" y="898"/>
                </a:lnTo>
                <a:lnTo>
                  <a:pt x="741" y="908"/>
                </a:lnTo>
                <a:lnTo>
                  <a:pt x="722" y="908"/>
                </a:lnTo>
                <a:lnTo>
                  <a:pt x="692" y="937"/>
                </a:lnTo>
                <a:lnTo>
                  <a:pt x="663" y="947"/>
                </a:lnTo>
                <a:lnTo>
                  <a:pt x="653" y="956"/>
                </a:lnTo>
                <a:lnTo>
                  <a:pt x="643" y="966"/>
                </a:lnTo>
                <a:lnTo>
                  <a:pt x="643" y="995"/>
                </a:lnTo>
                <a:lnTo>
                  <a:pt x="624" y="1005"/>
                </a:lnTo>
                <a:lnTo>
                  <a:pt x="614" y="1025"/>
                </a:lnTo>
                <a:lnTo>
                  <a:pt x="604" y="1044"/>
                </a:lnTo>
                <a:lnTo>
                  <a:pt x="565" y="1044"/>
                </a:lnTo>
                <a:lnTo>
                  <a:pt x="556" y="1044"/>
                </a:lnTo>
                <a:lnTo>
                  <a:pt x="546" y="1054"/>
                </a:lnTo>
                <a:lnTo>
                  <a:pt x="546" y="1064"/>
                </a:lnTo>
                <a:lnTo>
                  <a:pt x="526" y="1083"/>
                </a:lnTo>
                <a:lnTo>
                  <a:pt x="517" y="1093"/>
                </a:lnTo>
                <a:lnTo>
                  <a:pt x="507" y="1103"/>
                </a:lnTo>
                <a:lnTo>
                  <a:pt x="497" y="1122"/>
                </a:lnTo>
                <a:lnTo>
                  <a:pt x="468" y="1142"/>
                </a:lnTo>
                <a:lnTo>
                  <a:pt x="419" y="1152"/>
                </a:lnTo>
                <a:lnTo>
                  <a:pt x="390" y="1142"/>
                </a:lnTo>
                <a:lnTo>
                  <a:pt x="370" y="1142"/>
                </a:lnTo>
                <a:lnTo>
                  <a:pt x="361" y="1142"/>
                </a:lnTo>
                <a:lnTo>
                  <a:pt x="322" y="1132"/>
                </a:lnTo>
                <a:lnTo>
                  <a:pt x="292" y="1122"/>
                </a:lnTo>
                <a:lnTo>
                  <a:pt x="263" y="1073"/>
                </a:lnTo>
                <a:lnTo>
                  <a:pt x="263" y="1044"/>
                </a:lnTo>
                <a:lnTo>
                  <a:pt x="234" y="1044"/>
                </a:lnTo>
                <a:lnTo>
                  <a:pt x="214" y="1044"/>
                </a:lnTo>
                <a:lnTo>
                  <a:pt x="214" y="1064"/>
                </a:lnTo>
                <a:lnTo>
                  <a:pt x="205" y="1064"/>
                </a:lnTo>
                <a:lnTo>
                  <a:pt x="205" y="1083"/>
                </a:lnTo>
                <a:lnTo>
                  <a:pt x="195" y="1083"/>
                </a:lnTo>
                <a:lnTo>
                  <a:pt x="166" y="1083"/>
                </a:lnTo>
                <a:lnTo>
                  <a:pt x="166" y="1113"/>
                </a:lnTo>
                <a:lnTo>
                  <a:pt x="156" y="1103"/>
                </a:lnTo>
                <a:lnTo>
                  <a:pt x="127" y="1044"/>
                </a:lnTo>
                <a:lnTo>
                  <a:pt x="127" y="1025"/>
                </a:lnTo>
                <a:lnTo>
                  <a:pt x="117" y="1015"/>
                </a:lnTo>
                <a:lnTo>
                  <a:pt x="127" y="1005"/>
                </a:lnTo>
                <a:lnTo>
                  <a:pt x="117" y="986"/>
                </a:lnTo>
                <a:lnTo>
                  <a:pt x="107" y="995"/>
                </a:lnTo>
                <a:lnTo>
                  <a:pt x="97" y="956"/>
                </a:lnTo>
                <a:lnTo>
                  <a:pt x="97" y="947"/>
                </a:lnTo>
                <a:lnTo>
                  <a:pt x="117" y="947"/>
                </a:lnTo>
                <a:lnTo>
                  <a:pt x="117" y="937"/>
                </a:lnTo>
                <a:lnTo>
                  <a:pt x="117" y="927"/>
                </a:lnTo>
                <a:lnTo>
                  <a:pt x="97" y="917"/>
                </a:lnTo>
                <a:lnTo>
                  <a:pt x="107" y="908"/>
                </a:lnTo>
                <a:lnTo>
                  <a:pt x="117" y="898"/>
                </a:lnTo>
                <a:lnTo>
                  <a:pt x="107" y="878"/>
                </a:lnTo>
                <a:lnTo>
                  <a:pt x="97" y="878"/>
                </a:lnTo>
                <a:lnTo>
                  <a:pt x="117" y="849"/>
                </a:lnTo>
                <a:lnTo>
                  <a:pt x="97" y="839"/>
                </a:lnTo>
                <a:lnTo>
                  <a:pt x="87" y="849"/>
                </a:lnTo>
                <a:lnTo>
                  <a:pt x="78" y="859"/>
                </a:lnTo>
                <a:lnTo>
                  <a:pt x="68" y="859"/>
                </a:lnTo>
                <a:lnTo>
                  <a:pt x="48" y="849"/>
                </a:lnTo>
                <a:lnTo>
                  <a:pt x="29" y="830"/>
                </a:lnTo>
                <a:lnTo>
                  <a:pt x="19" y="830"/>
                </a:lnTo>
                <a:lnTo>
                  <a:pt x="19" y="820"/>
                </a:lnTo>
                <a:lnTo>
                  <a:pt x="19" y="800"/>
                </a:lnTo>
                <a:lnTo>
                  <a:pt x="9" y="791"/>
                </a:lnTo>
                <a:lnTo>
                  <a:pt x="0" y="781"/>
                </a:lnTo>
                <a:lnTo>
                  <a:pt x="0" y="761"/>
                </a:lnTo>
                <a:lnTo>
                  <a:pt x="9" y="761"/>
                </a:lnTo>
                <a:lnTo>
                  <a:pt x="29" y="742"/>
                </a:lnTo>
                <a:lnTo>
                  <a:pt x="39" y="742"/>
                </a:lnTo>
                <a:lnTo>
                  <a:pt x="48" y="742"/>
                </a:lnTo>
                <a:lnTo>
                  <a:pt x="58" y="732"/>
                </a:lnTo>
                <a:lnTo>
                  <a:pt x="87" y="722"/>
                </a:lnTo>
                <a:lnTo>
                  <a:pt x="97" y="712"/>
                </a:lnTo>
                <a:lnTo>
                  <a:pt x="97" y="673"/>
                </a:lnTo>
                <a:lnTo>
                  <a:pt x="107" y="654"/>
                </a:lnTo>
                <a:lnTo>
                  <a:pt x="97" y="644"/>
                </a:lnTo>
                <a:lnTo>
                  <a:pt x="87" y="634"/>
                </a:lnTo>
                <a:lnTo>
                  <a:pt x="68" y="605"/>
                </a:lnTo>
                <a:lnTo>
                  <a:pt x="68" y="586"/>
                </a:lnTo>
                <a:lnTo>
                  <a:pt x="78" y="576"/>
                </a:lnTo>
                <a:lnTo>
                  <a:pt x="87" y="576"/>
                </a:lnTo>
                <a:lnTo>
                  <a:pt x="97" y="576"/>
                </a:lnTo>
                <a:lnTo>
                  <a:pt x="127" y="547"/>
                </a:lnTo>
                <a:lnTo>
                  <a:pt x="117" y="547"/>
                </a:lnTo>
                <a:lnTo>
                  <a:pt x="97" y="527"/>
                </a:lnTo>
                <a:lnTo>
                  <a:pt x="87" y="517"/>
                </a:lnTo>
                <a:lnTo>
                  <a:pt x="78" y="508"/>
                </a:lnTo>
                <a:lnTo>
                  <a:pt x="87" y="498"/>
                </a:lnTo>
                <a:lnTo>
                  <a:pt x="87" y="488"/>
                </a:lnTo>
                <a:lnTo>
                  <a:pt x="107" y="488"/>
                </a:lnTo>
                <a:lnTo>
                  <a:pt x="117" y="498"/>
                </a:lnTo>
                <a:lnTo>
                  <a:pt x="136" y="517"/>
                </a:lnTo>
                <a:lnTo>
                  <a:pt x="136" y="527"/>
                </a:lnTo>
                <a:lnTo>
                  <a:pt x="156" y="537"/>
                </a:lnTo>
                <a:lnTo>
                  <a:pt x="156" y="547"/>
                </a:lnTo>
                <a:lnTo>
                  <a:pt x="156" y="556"/>
                </a:lnTo>
                <a:lnTo>
                  <a:pt x="166" y="566"/>
                </a:lnTo>
                <a:lnTo>
                  <a:pt x="166" y="586"/>
                </a:lnTo>
                <a:lnTo>
                  <a:pt x="175" y="595"/>
                </a:lnTo>
                <a:lnTo>
                  <a:pt x="195" y="595"/>
                </a:lnTo>
                <a:lnTo>
                  <a:pt x="224" y="595"/>
                </a:lnTo>
                <a:lnTo>
                  <a:pt x="234" y="605"/>
                </a:lnTo>
                <a:lnTo>
                  <a:pt x="234" y="615"/>
                </a:lnTo>
                <a:lnTo>
                  <a:pt x="224" y="625"/>
                </a:lnTo>
                <a:lnTo>
                  <a:pt x="214" y="634"/>
                </a:lnTo>
                <a:lnTo>
                  <a:pt x="205" y="644"/>
                </a:lnTo>
                <a:lnTo>
                  <a:pt x="195" y="644"/>
                </a:lnTo>
                <a:lnTo>
                  <a:pt x="185" y="644"/>
                </a:lnTo>
                <a:lnTo>
                  <a:pt x="185" y="664"/>
                </a:lnTo>
                <a:lnTo>
                  <a:pt x="175" y="673"/>
                </a:lnTo>
                <a:lnTo>
                  <a:pt x="166" y="683"/>
                </a:lnTo>
                <a:lnTo>
                  <a:pt x="175" y="683"/>
                </a:lnTo>
                <a:lnTo>
                  <a:pt x="175" y="703"/>
                </a:lnTo>
                <a:lnTo>
                  <a:pt x="166" y="703"/>
                </a:lnTo>
                <a:lnTo>
                  <a:pt x="166" y="712"/>
                </a:lnTo>
                <a:lnTo>
                  <a:pt x="185" y="703"/>
                </a:lnTo>
                <a:lnTo>
                  <a:pt x="185" y="693"/>
                </a:lnTo>
                <a:lnTo>
                  <a:pt x="205" y="683"/>
                </a:lnTo>
                <a:lnTo>
                  <a:pt x="214" y="693"/>
                </a:lnTo>
                <a:lnTo>
                  <a:pt x="214" y="703"/>
                </a:lnTo>
                <a:lnTo>
                  <a:pt x="205" y="703"/>
                </a:lnTo>
                <a:lnTo>
                  <a:pt x="195" y="712"/>
                </a:lnTo>
                <a:lnTo>
                  <a:pt x="185" y="732"/>
                </a:lnTo>
                <a:lnTo>
                  <a:pt x="185" y="742"/>
                </a:lnTo>
                <a:lnTo>
                  <a:pt x="166" y="761"/>
                </a:lnTo>
                <a:lnTo>
                  <a:pt x="166" y="771"/>
                </a:lnTo>
                <a:lnTo>
                  <a:pt x="166" y="781"/>
                </a:lnTo>
                <a:lnTo>
                  <a:pt x="175" y="771"/>
                </a:lnTo>
                <a:lnTo>
                  <a:pt x="175" y="781"/>
                </a:lnTo>
                <a:lnTo>
                  <a:pt x="185" y="791"/>
                </a:lnTo>
                <a:lnTo>
                  <a:pt x="185" y="820"/>
                </a:lnTo>
                <a:lnTo>
                  <a:pt x="205" y="830"/>
                </a:lnTo>
                <a:lnTo>
                  <a:pt x="205" y="849"/>
                </a:lnTo>
                <a:lnTo>
                  <a:pt x="224" y="849"/>
                </a:lnTo>
                <a:lnTo>
                  <a:pt x="214" y="839"/>
                </a:lnTo>
                <a:lnTo>
                  <a:pt x="214" y="830"/>
                </a:lnTo>
                <a:lnTo>
                  <a:pt x="205" y="810"/>
                </a:lnTo>
                <a:lnTo>
                  <a:pt x="195" y="791"/>
                </a:lnTo>
                <a:lnTo>
                  <a:pt x="185" y="791"/>
                </a:lnTo>
                <a:lnTo>
                  <a:pt x="185" y="771"/>
                </a:lnTo>
                <a:lnTo>
                  <a:pt x="185" y="761"/>
                </a:lnTo>
                <a:lnTo>
                  <a:pt x="205" y="761"/>
                </a:lnTo>
                <a:lnTo>
                  <a:pt x="214" y="752"/>
                </a:lnTo>
                <a:lnTo>
                  <a:pt x="214" y="712"/>
                </a:lnTo>
                <a:lnTo>
                  <a:pt x="214" y="693"/>
                </a:lnTo>
                <a:lnTo>
                  <a:pt x="214" y="683"/>
                </a:lnTo>
                <a:lnTo>
                  <a:pt x="214" y="673"/>
                </a:lnTo>
                <a:lnTo>
                  <a:pt x="214" y="664"/>
                </a:lnTo>
                <a:lnTo>
                  <a:pt x="234" y="644"/>
                </a:lnTo>
                <a:lnTo>
                  <a:pt x="234" y="634"/>
                </a:lnTo>
                <a:lnTo>
                  <a:pt x="244" y="634"/>
                </a:lnTo>
                <a:lnTo>
                  <a:pt x="244" y="625"/>
                </a:lnTo>
                <a:lnTo>
                  <a:pt x="244" y="605"/>
                </a:lnTo>
                <a:lnTo>
                  <a:pt x="234" y="586"/>
                </a:lnTo>
                <a:lnTo>
                  <a:pt x="214" y="576"/>
                </a:lnTo>
                <a:lnTo>
                  <a:pt x="214" y="566"/>
                </a:lnTo>
                <a:lnTo>
                  <a:pt x="214" y="556"/>
                </a:lnTo>
                <a:lnTo>
                  <a:pt x="214" y="547"/>
                </a:lnTo>
                <a:lnTo>
                  <a:pt x="195" y="527"/>
                </a:lnTo>
                <a:lnTo>
                  <a:pt x="175" y="508"/>
                </a:lnTo>
                <a:lnTo>
                  <a:pt x="175" y="488"/>
                </a:lnTo>
                <a:lnTo>
                  <a:pt x="175" y="469"/>
                </a:lnTo>
                <a:lnTo>
                  <a:pt x="185" y="449"/>
                </a:lnTo>
                <a:lnTo>
                  <a:pt x="185" y="439"/>
                </a:lnTo>
                <a:lnTo>
                  <a:pt x="185" y="430"/>
                </a:lnTo>
                <a:lnTo>
                  <a:pt x="185" y="420"/>
                </a:lnTo>
                <a:lnTo>
                  <a:pt x="195" y="420"/>
                </a:lnTo>
                <a:lnTo>
                  <a:pt x="185" y="410"/>
                </a:lnTo>
                <a:lnTo>
                  <a:pt x="195" y="400"/>
                </a:lnTo>
                <a:lnTo>
                  <a:pt x="205" y="391"/>
                </a:lnTo>
                <a:lnTo>
                  <a:pt x="214" y="391"/>
                </a:lnTo>
                <a:lnTo>
                  <a:pt x="253" y="391"/>
                </a:lnTo>
                <a:lnTo>
                  <a:pt x="302" y="391"/>
                </a:lnTo>
                <a:lnTo>
                  <a:pt x="341" y="391"/>
                </a:lnTo>
                <a:lnTo>
                  <a:pt x="361" y="391"/>
                </a:lnTo>
                <a:lnTo>
                  <a:pt x="351" y="410"/>
                </a:lnTo>
                <a:lnTo>
                  <a:pt x="361" y="410"/>
                </a:lnTo>
                <a:lnTo>
                  <a:pt x="370" y="400"/>
                </a:lnTo>
                <a:lnTo>
                  <a:pt x="380" y="391"/>
                </a:lnTo>
                <a:lnTo>
                  <a:pt x="390" y="391"/>
                </a:lnTo>
                <a:lnTo>
                  <a:pt x="400" y="391"/>
                </a:lnTo>
                <a:lnTo>
                  <a:pt x="400" y="400"/>
                </a:lnTo>
                <a:lnTo>
                  <a:pt x="409" y="391"/>
                </a:lnTo>
                <a:lnTo>
                  <a:pt x="419" y="400"/>
                </a:lnTo>
                <a:lnTo>
                  <a:pt x="419" y="410"/>
                </a:lnTo>
                <a:lnTo>
                  <a:pt x="419" y="391"/>
                </a:lnTo>
                <a:lnTo>
                  <a:pt x="429" y="381"/>
                </a:lnTo>
                <a:lnTo>
                  <a:pt x="419" y="371"/>
                </a:lnTo>
                <a:lnTo>
                  <a:pt x="419" y="351"/>
                </a:lnTo>
                <a:lnTo>
                  <a:pt x="400" y="351"/>
                </a:lnTo>
                <a:lnTo>
                  <a:pt x="390" y="351"/>
                </a:lnTo>
                <a:lnTo>
                  <a:pt x="400" y="342"/>
                </a:lnTo>
                <a:lnTo>
                  <a:pt x="419" y="332"/>
                </a:lnTo>
                <a:lnTo>
                  <a:pt x="419" y="342"/>
                </a:lnTo>
                <a:lnTo>
                  <a:pt x="429" y="351"/>
                </a:lnTo>
                <a:lnTo>
                  <a:pt x="429" y="342"/>
                </a:lnTo>
                <a:lnTo>
                  <a:pt x="419" y="332"/>
                </a:lnTo>
                <a:lnTo>
                  <a:pt x="419" y="312"/>
                </a:lnTo>
                <a:lnTo>
                  <a:pt x="409" y="312"/>
                </a:lnTo>
                <a:lnTo>
                  <a:pt x="400" y="303"/>
                </a:lnTo>
                <a:lnTo>
                  <a:pt x="409" y="303"/>
                </a:lnTo>
                <a:lnTo>
                  <a:pt x="409" y="283"/>
                </a:lnTo>
                <a:lnTo>
                  <a:pt x="419" y="293"/>
                </a:lnTo>
                <a:lnTo>
                  <a:pt x="419" y="303"/>
                </a:lnTo>
                <a:lnTo>
                  <a:pt x="419" y="312"/>
                </a:lnTo>
                <a:lnTo>
                  <a:pt x="429" y="322"/>
                </a:lnTo>
                <a:lnTo>
                  <a:pt x="429" y="303"/>
                </a:lnTo>
                <a:lnTo>
                  <a:pt x="439" y="303"/>
                </a:lnTo>
                <a:lnTo>
                  <a:pt x="448" y="293"/>
                </a:lnTo>
                <a:lnTo>
                  <a:pt x="448" y="283"/>
                </a:lnTo>
                <a:lnTo>
                  <a:pt x="458" y="283"/>
                </a:lnTo>
                <a:lnTo>
                  <a:pt x="458" y="273"/>
                </a:lnTo>
                <a:lnTo>
                  <a:pt x="448" y="273"/>
                </a:lnTo>
                <a:lnTo>
                  <a:pt x="448" y="264"/>
                </a:lnTo>
                <a:lnTo>
                  <a:pt x="458" y="264"/>
                </a:lnTo>
                <a:lnTo>
                  <a:pt x="468" y="264"/>
                </a:lnTo>
                <a:lnTo>
                  <a:pt x="478" y="273"/>
                </a:lnTo>
                <a:lnTo>
                  <a:pt x="487" y="264"/>
                </a:lnTo>
                <a:lnTo>
                  <a:pt x="507" y="244"/>
                </a:lnTo>
                <a:lnTo>
                  <a:pt x="507" y="234"/>
                </a:lnTo>
                <a:lnTo>
                  <a:pt x="526" y="234"/>
                </a:lnTo>
                <a:lnTo>
                  <a:pt x="526" y="244"/>
                </a:lnTo>
                <a:lnTo>
                  <a:pt x="546" y="234"/>
                </a:lnTo>
                <a:lnTo>
                  <a:pt x="556" y="225"/>
                </a:lnTo>
                <a:lnTo>
                  <a:pt x="575" y="215"/>
                </a:lnTo>
                <a:lnTo>
                  <a:pt x="575" y="225"/>
                </a:lnTo>
                <a:lnTo>
                  <a:pt x="595" y="225"/>
                </a:lnTo>
                <a:lnTo>
                  <a:pt x="604" y="215"/>
                </a:lnTo>
                <a:lnTo>
                  <a:pt x="624" y="215"/>
                </a:lnTo>
                <a:lnTo>
                  <a:pt x="634" y="215"/>
                </a:lnTo>
                <a:lnTo>
                  <a:pt x="643" y="215"/>
                </a:lnTo>
                <a:lnTo>
                  <a:pt x="653" y="215"/>
                </a:lnTo>
                <a:lnTo>
                  <a:pt x="663" y="215"/>
                </a:lnTo>
                <a:lnTo>
                  <a:pt x="673" y="215"/>
                </a:lnTo>
                <a:lnTo>
                  <a:pt x="673" y="205"/>
                </a:lnTo>
                <a:lnTo>
                  <a:pt x="653" y="205"/>
                </a:lnTo>
                <a:lnTo>
                  <a:pt x="643" y="205"/>
                </a:lnTo>
                <a:lnTo>
                  <a:pt x="643" y="195"/>
                </a:lnTo>
                <a:lnTo>
                  <a:pt x="643" y="186"/>
                </a:lnTo>
                <a:lnTo>
                  <a:pt x="653" y="176"/>
                </a:lnTo>
                <a:lnTo>
                  <a:pt x="663" y="186"/>
                </a:lnTo>
                <a:lnTo>
                  <a:pt x="673" y="186"/>
                </a:lnTo>
                <a:lnTo>
                  <a:pt x="673" y="176"/>
                </a:lnTo>
                <a:lnTo>
                  <a:pt x="683" y="176"/>
                </a:lnTo>
                <a:lnTo>
                  <a:pt x="683" y="186"/>
                </a:lnTo>
                <a:lnTo>
                  <a:pt x="692" y="186"/>
                </a:lnTo>
                <a:lnTo>
                  <a:pt x="702" y="186"/>
                </a:lnTo>
                <a:lnTo>
                  <a:pt x="712" y="186"/>
                </a:lnTo>
                <a:lnTo>
                  <a:pt x="722" y="186"/>
                </a:lnTo>
                <a:lnTo>
                  <a:pt x="731" y="186"/>
                </a:lnTo>
                <a:lnTo>
                  <a:pt x="741" y="186"/>
                </a:lnTo>
                <a:lnTo>
                  <a:pt x="741" y="195"/>
                </a:lnTo>
                <a:lnTo>
                  <a:pt x="731" y="205"/>
                </a:lnTo>
                <a:lnTo>
                  <a:pt x="731" y="215"/>
                </a:lnTo>
                <a:lnTo>
                  <a:pt x="741" y="205"/>
                </a:lnTo>
                <a:lnTo>
                  <a:pt x="751" y="205"/>
                </a:lnTo>
                <a:lnTo>
                  <a:pt x="751" y="215"/>
                </a:lnTo>
                <a:lnTo>
                  <a:pt x="761" y="205"/>
                </a:lnTo>
                <a:lnTo>
                  <a:pt x="770" y="205"/>
                </a:lnTo>
                <a:lnTo>
                  <a:pt x="780" y="205"/>
                </a:lnTo>
                <a:lnTo>
                  <a:pt x="790" y="205"/>
                </a:lnTo>
                <a:lnTo>
                  <a:pt x="790" y="195"/>
                </a:lnTo>
                <a:lnTo>
                  <a:pt x="800" y="186"/>
                </a:lnTo>
                <a:lnTo>
                  <a:pt x="800" y="176"/>
                </a:lnTo>
                <a:lnTo>
                  <a:pt x="809" y="176"/>
                </a:lnTo>
                <a:lnTo>
                  <a:pt x="819" y="166"/>
                </a:lnTo>
                <a:lnTo>
                  <a:pt x="839" y="176"/>
                </a:lnTo>
                <a:lnTo>
                  <a:pt x="848" y="186"/>
                </a:lnTo>
                <a:lnTo>
                  <a:pt x="858" y="195"/>
                </a:lnTo>
                <a:lnTo>
                  <a:pt x="858" y="176"/>
                </a:lnTo>
                <a:lnTo>
                  <a:pt x="839" y="176"/>
                </a:lnTo>
                <a:lnTo>
                  <a:pt x="839" y="156"/>
                </a:lnTo>
                <a:lnTo>
                  <a:pt x="829" y="156"/>
                </a:lnTo>
                <a:lnTo>
                  <a:pt x="829" y="137"/>
                </a:lnTo>
                <a:lnTo>
                  <a:pt x="839" y="137"/>
                </a:lnTo>
                <a:lnTo>
                  <a:pt x="848" y="147"/>
                </a:lnTo>
                <a:lnTo>
                  <a:pt x="868" y="147"/>
                </a:lnTo>
                <a:lnTo>
                  <a:pt x="878" y="147"/>
                </a:lnTo>
                <a:lnTo>
                  <a:pt x="887" y="137"/>
                </a:lnTo>
                <a:lnTo>
                  <a:pt x="897" y="147"/>
                </a:lnTo>
                <a:lnTo>
                  <a:pt x="907" y="156"/>
                </a:lnTo>
                <a:lnTo>
                  <a:pt x="926" y="156"/>
                </a:lnTo>
                <a:lnTo>
                  <a:pt x="917" y="147"/>
                </a:lnTo>
                <a:lnTo>
                  <a:pt x="907" y="137"/>
                </a:lnTo>
                <a:lnTo>
                  <a:pt x="897" y="137"/>
                </a:lnTo>
                <a:lnTo>
                  <a:pt x="897" y="108"/>
                </a:lnTo>
                <a:lnTo>
                  <a:pt x="887" y="108"/>
                </a:lnTo>
                <a:lnTo>
                  <a:pt x="887" y="98"/>
                </a:lnTo>
                <a:lnTo>
                  <a:pt x="887" y="88"/>
                </a:lnTo>
                <a:lnTo>
                  <a:pt x="897" y="88"/>
                </a:lnTo>
                <a:lnTo>
                  <a:pt x="897" y="78"/>
                </a:lnTo>
                <a:lnTo>
                  <a:pt x="897" y="69"/>
                </a:lnTo>
                <a:lnTo>
                  <a:pt x="907" y="59"/>
                </a:lnTo>
                <a:lnTo>
                  <a:pt x="917" y="39"/>
                </a:lnTo>
                <a:lnTo>
                  <a:pt x="926" y="49"/>
                </a:lnTo>
                <a:lnTo>
                  <a:pt x="926" y="30"/>
                </a:lnTo>
                <a:lnTo>
                  <a:pt x="936" y="20"/>
                </a:lnTo>
                <a:lnTo>
                  <a:pt x="946" y="10"/>
                </a:lnTo>
                <a:lnTo>
                  <a:pt x="956" y="10"/>
                </a:lnTo>
                <a:lnTo>
                  <a:pt x="965" y="10"/>
                </a:lnTo>
                <a:lnTo>
                  <a:pt x="965" y="0"/>
                </a:lnTo>
                <a:lnTo>
                  <a:pt x="975" y="0"/>
                </a:lnTo>
                <a:lnTo>
                  <a:pt x="975" y="10"/>
                </a:lnTo>
                <a:lnTo>
                  <a:pt x="995" y="10"/>
                </a:lnTo>
                <a:lnTo>
                  <a:pt x="1004" y="20"/>
                </a:lnTo>
                <a:lnTo>
                  <a:pt x="1014" y="20"/>
                </a:lnTo>
                <a:lnTo>
                  <a:pt x="1024" y="10"/>
                </a:lnTo>
                <a:lnTo>
                  <a:pt x="1024" y="30"/>
                </a:lnTo>
                <a:lnTo>
                  <a:pt x="1034" y="39"/>
                </a:lnTo>
                <a:lnTo>
                  <a:pt x="1024" y="39"/>
                </a:lnTo>
                <a:lnTo>
                  <a:pt x="1014" y="49"/>
                </a:lnTo>
                <a:lnTo>
                  <a:pt x="1004" y="59"/>
                </a:lnTo>
                <a:lnTo>
                  <a:pt x="995" y="59"/>
                </a:lnTo>
                <a:lnTo>
                  <a:pt x="985" y="69"/>
                </a:lnTo>
                <a:lnTo>
                  <a:pt x="1014" y="69"/>
                </a:lnTo>
                <a:lnTo>
                  <a:pt x="1024" y="69"/>
                </a:lnTo>
                <a:lnTo>
                  <a:pt x="1014" y="78"/>
                </a:lnTo>
                <a:lnTo>
                  <a:pt x="1024" y="78"/>
                </a:lnTo>
                <a:lnTo>
                  <a:pt x="1043" y="69"/>
                </a:lnTo>
                <a:lnTo>
                  <a:pt x="1053" y="78"/>
                </a:lnTo>
                <a:lnTo>
                  <a:pt x="1073" y="78"/>
                </a:lnTo>
                <a:lnTo>
                  <a:pt x="1073" y="88"/>
                </a:lnTo>
                <a:lnTo>
                  <a:pt x="1063" y="98"/>
                </a:lnTo>
                <a:lnTo>
                  <a:pt x="1053" y="108"/>
                </a:lnTo>
                <a:lnTo>
                  <a:pt x="1053" y="127"/>
                </a:lnTo>
                <a:lnTo>
                  <a:pt x="1053" y="137"/>
                </a:lnTo>
                <a:lnTo>
                  <a:pt x="1063" y="127"/>
                </a:lnTo>
                <a:lnTo>
                  <a:pt x="1073" y="127"/>
                </a:lnTo>
                <a:lnTo>
                  <a:pt x="1092" y="127"/>
                </a:lnTo>
                <a:lnTo>
                  <a:pt x="1092" y="117"/>
                </a:lnTo>
                <a:lnTo>
                  <a:pt x="1092" y="108"/>
                </a:lnTo>
                <a:lnTo>
                  <a:pt x="1102" y="98"/>
                </a:lnTo>
                <a:lnTo>
                  <a:pt x="1112" y="98"/>
                </a:lnTo>
                <a:lnTo>
                  <a:pt x="1121" y="98"/>
                </a:lnTo>
                <a:lnTo>
                  <a:pt x="1131" y="98"/>
                </a:lnTo>
                <a:lnTo>
                  <a:pt x="1141" y="98"/>
                </a:lnTo>
                <a:lnTo>
                  <a:pt x="1151" y="98"/>
                </a:lnTo>
                <a:lnTo>
                  <a:pt x="1160" y="88"/>
                </a:lnTo>
                <a:lnTo>
                  <a:pt x="1170" y="88"/>
                </a:lnTo>
                <a:lnTo>
                  <a:pt x="1180" y="88"/>
                </a:lnTo>
                <a:lnTo>
                  <a:pt x="1190" y="98"/>
                </a:lnTo>
                <a:lnTo>
                  <a:pt x="1199" y="98"/>
                </a:lnTo>
                <a:lnTo>
                  <a:pt x="1199" y="108"/>
                </a:lnTo>
                <a:lnTo>
                  <a:pt x="1209" y="108"/>
                </a:lnTo>
                <a:lnTo>
                  <a:pt x="1219" y="117"/>
                </a:lnTo>
                <a:lnTo>
                  <a:pt x="1219" y="127"/>
                </a:lnTo>
                <a:lnTo>
                  <a:pt x="1238" y="127"/>
                </a:lnTo>
                <a:lnTo>
                  <a:pt x="1238" y="137"/>
                </a:lnTo>
                <a:lnTo>
                  <a:pt x="1238" y="147"/>
                </a:lnTo>
                <a:lnTo>
                  <a:pt x="1248" y="147"/>
                </a:lnTo>
                <a:lnTo>
                  <a:pt x="1248" y="156"/>
                </a:lnTo>
                <a:lnTo>
                  <a:pt x="1258" y="156"/>
                </a:lnTo>
                <a:lnTo>
                  <a:pt x="1258" y="147"/>
                </a:lnTo>
                <a:lnTo>
                  <a:pt x="1248" y="137"/>
                </a:lnTo>
                <a:lnTo>
                  <a:pt x="1258" y="127"/>
                </a:lnTo>
                <a:lnTo>
                  <a:pt x="1258" y="137"/>
                </a:lnTo>
                <a:lnTo>
                  <a:pt x="1268" y="147"/>
                </a:lnTo>
                <a:lnTo>
                  <a:pt x="1268" y="156"/>
                </a:lnTo>
                <a:lnTo>
                  <a:pt x="1278" y="176"/>
                </a:lnTo>
                <a:lnTo>
                  <a:pt x="1287" y="166"/>
                </a:lnTo>
                <a:lnTo>
                  <a:pt x="1287" y="186"/>
                </a:lnTo>
                <a:lnTo>
                  <a:pt x="1287" y="205"/>
                </a:lnTo>
                <a:lnTo>
                  <a:pt x="1278" y="205"/>
                </a:lnTo>
                <a:lnTo>
                  <a:pt x="1278" y="195"/>
                </a:lnTo>
                <a:lnTo>
                  <a:pt x="1258" y="195"/>
                </a:lnTo>
                <a:lnTo>
                  <a:pt x="1258" y="186"/>
                </a:lnTo>
                <a:lnTo>
                  <a:pt x="1248" y="186"/>
                </a:lnTo>
                <a:lnTo>
                  <a:pt x="1248" y="195"/>
                </a:lnTo>
                <a:lnTo>
                  <a:pt x="1258" y="205"/>
                </a:lnTo>
                <a:lnTo>
                  <a:pt x="1258" y="215"/>
                </a:lnTo>
                <a:lnTo>
                  <a:pt x="1268" y="205"/>
                </a:lnTo>
                <a:lnTo>
                  <a:pt x="1278" y="215"/>
                </a:lnTo>
                <a:lnTo>
                  <a:pt x="1287" y="215"/>
                </a:lnTo>
                <a:lnTo>
                  <a:pt x="1297" y="234"/>
                </a:lnTo>
                <a:lnTo>
                  <a:pt x="1297" y="244"/>
                </a:lnTo>
                <a:lnTo>
                  <a:pt x="1287" y="264"/>
                </a:lnTo>
                <a:lnTo>
                  <a:pt x="1287" y="273"/>
                </a:lnTo>
                <a:lnTo>
                  <a:pt x="1278" y="283"/>
                </a:lnTo>
                <a:lnTo>
                  <a:pt x="1258" y="293"/>
                </a:lnTo>
                <a:lnTo>
                  <a:pt x="1258" y="303"/>
                </a:lnTo>
                <a:lnTo>
                  <a:pt x="1258" y="322"/>
                </a:lnTo>
                <a:lnTo>
                  <a:pt x="1229" y="322"/>
                </a:lnTo>
                <a:lnTo>
                  <a:pt x="1229" y="332"/>
                </a:lnTo>
                <a:lnTo>
                  <a:pt x="1209" y="342"/>
                </a:lnTo>
                <a:lnTo>
                  <a:pt x="1209" y="351"/>
                </a:lnTo>
                <a:lnTo>
                  <a:pt x="1199" y="361"/>
                </a:lnTo>
                <a:lnTo>
                  <a:pt x="1190" y="361"/>
                </a:lnTo>
                <a:lnTo>
                  <a:pt x="1180" y="371"/>
                </a:lnTo>
                <a:lnTo>
                  <a:pt x="1199" y="371"/>
                </a:lnTo>
                <a:lnTo>
                  <a:pt x="1199" y="381"/>
                </a:lnTo>
                <a:lnTo>
                  <a:pt x="1190" y="391"/>
                </a:lnTo>
                <a:lnTo>
                  <a:pt x="1170" y="410"/>
                </a:lnTo>
                <a:lnTo>
                  <a:pt x="1160" y="420"/>
                </a:lnTo>
                <a:lnTo>
                  <a:pt x="1151" y="430"/>
                </a:lnTo>
                <a:lnTo>
                  <a:pt x="1151" y="449"/>
                </a:lnTo>
                <a:lnTo>
                  <a:pt x="1131" y="449"/>
                </a:lnTo>
                <a:lnTo>
                  <a:pt x="1121" y="449"/>
                </a:lnTo>
                <a:lnTo>
                  <a:pt x="1112" y="459"/>
                </a:lnTo>
                <a:lnTo>
                  <a:pt x="1112" y="469"/>
                </a:lnTo>
                <a:lnTo>
                  <a:pt x="1112" y="478"/>
                </a:lnTo>
                <a:lnTo>
                  <a:pt x="1102" y="488"/>
                </a:lnTo>
                <a:lnTo>
                  <a:pt x="1082" y="488"/>
                </a:lnTo>
                <a:lnTo>
                  <a:pt x="1073" y="498"/>
                </a:lnTo>
                <a:lnTo>
                  <a:pt x="1073" y="527"/>
                </a:lnTo>
                <a:lnTo>
                  <a:pt x="1063" y="537"/>
                </a:lnTo>
                <a:lnTo>
                  <a:pt x="1043" y="556"/>
                </a:lnTo>
                <a:lnTo>
                  <a:pt x="1063" y="556"/>
                </a:lnTo>
                <a:lnTo>
                  <a:pt x="1073" y="556"/>
                </a:lnTo>
                <a:lnTo>
                  <a:pt x="1073" y="547"/>
                </a:lnTo>
                <a:lnTo>
                  <a:pt x="1082" y="537"/>
                </a:lnTo>
                <a:lnTo>
                  <a:pt x="1082" y="517"/>
                </a:lnTo>
                <a:lnTo>
                  <a:pt x="1082" y="508"/>
                </a:lnTo>
                <a:lnTo>
                  <a:pt x="1121" y="508"/>
                </a:lnTo>
                <a:lnTo>
                  <a:pt x="1141" y="508"/>
                </a:lnTo>
                <a:lnTo>
                  <a:pt x="1141" y="498"/>
                </a:lnTo>
                <a:lnTo>
                  <a:pt x="1151" y="498"/>
                </a:lnTo>
                <a:lnTo>
                  <a:pt x="1160" y="488"/>
                </a:lnTo>
                <a:lnTo>
                  <a:pt x="1170" y="478"/>
                </a:lnTo>
                <a:lnTo>
                  <a:pt x="1180" y="478"/>
                </a:lnTo>
                <a:lnTo>
                  <a:pt x="1180" y="459"/>
                </a:lnTo>
                <a:lnTo>
                  <a:pt x="1199" y="469"/>
                </a:lnTo>
                <a:lnTo>
                  <a:pt x="1209" y="459"/>
                </a:lnTo>
                <a:lnTo>
                  <a:pt x="1219" y="449"/>
                </a:lnTo>
                <a:lnTo>
                  <a:pt x="1219" y="439"/>
                </a:lnTo>
                <a:lnTo>
                  <a:pt x="1229" y="439"/>
                </a:lnTo>
                <a:lnTo>
                  <a:pt x="1229" y="420"/>
                </a:lnTo>
                <a:lnTo>
                  <a:pt x="1219" y="430"/>
                </a:lnTo>
                <a:lnTo>
                  <a:pt x="1209" y="430"/>
                </a:lnTo>
                <a:lnTo>
                  <a:pt x="1199" y="439"/>
                </a:lnTo>
                <a:lnTo>
                  <a:pt x="1190" y="430"/>
                </a:lnTo>
                <a:lnTo>
                  <a:pt x="1190" y="420"/>
                </a:lnTo>
                <a:lnTo>
                  <a:pt x="1199" y="410"/>
                </a:lnTo>
                <a:lnTo>
                  <a:pt x="1199" y="400"/>
                </a:lnTo>
                <a:lnTo>
                  <a:pt x="1209" y="391"/>
                </a:lnTo>
                <a:lnTo>
                  <a:pt x="1219" y="400"/>
                </a:lnTo>
                <a:lnTo>
                  <a:pt x="1229" y="410"/>
                </a:lnTo>
                <a:lnTo>
                  <a:pt x="1238" y="410"/>
                </a:lnTo>
                <a:lnTo>
                  <a:pt x="1248" y="410"/>
                </a:lnTo>
                <a:close/>
              </a:path>
            </a:pathLst>
          </a:custGeom>
          <a:solidFill>
            <a:srgbClr val="DBDBDB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645" name="Freeform 61"/>
          <p:cNvSpPr>
            <a:spLocks noChangeAspect="1"/>
          </p:cNvSpPr>
          <p:nvPr>
            <p:custDataLst>
              <p:tags r:id="rId211"/>
            </p:custDataLst>
          </p:nvPr>
        </p:nvSpPr>
        <p:spPr bwMode="auto">
          <a:xfrm>
            <a:off x="4848225" y="4062413"/>
            <a:ext cx="688975" cy="806450"/>
          </a:xfrm>
          <a:custGeom>
            <a:avLst/>
            <a:gdLst>
              <a:gd name="T0" fmla="*/ 584363 w 1034"/>
              <a:gd name="T1" fmla="*/ 103136 h 1298"/>
              <a:gd name="T2" fmla="*/ 578366 w 1034"/>
              <a:gd name="T3" fmla="*/ 188255 h 1298"/>
              <a:gd name="T4" fmla="*/ 571703 w 1034"/>
              <a:gd name="T5" fmla="*/ 212485 h 1298"/>
              <a:gd name="T6" fmla="*/ 578366 w 1034"/>
              <a:gd name="T7" fmla="*/ 242929 h 1298"/>
              <a:gd name="T8" fmla="*/ 597689 w 1034"/>
              <a:gd name="T9" fmla="*/ 291391 h 1298"/>
              <a:gd name="T10" fmla="*/ 597689 w 1034"/>
              <a:gd name="T11" fmla="*/ 327426 h 1298"/>
              <a:gd name="T12" fmla="*/ 578366 w 1034"/>
              <a:gd name="T13" fmla="*/ 382101 h 1298"/>
              <a:gd name="T14" fmla="*/ 610349 w 1034"/>
              <a:gd name="T15" fmla="*/ 382101 h 1298"/>
              <a:gd name="T16" fmla="*/ 668985 w 1034"/>
              <a:gd name="T17" fmla="*/ 394527 h 1298"/>
              <a:gd name="T18" fmla="*/ 688975 w 1034"/>
              <a:gd name="T19" fmla="*/ 411923 h 1298"/>
              <a:gd name="T20" fmla="*/ 623675 w 1034"/>
              <a:gd name="T21" fmla="*/ 418136 h 1298"/>
              <a:gd name="T22" fmla="*/ 617012 w 1034"/>
              <a:gd name="T23" fmla="*/ 423728 h 1298"/>
              <a:gd name="T24" fmla="*/ 617012 w 1034"/>
              <a:gd name="T25" fmla="*/ 454172 h 1298"/>
              <a:gd name="T26" fmla="*/ 610349 w 1034"/>
              <a:gd name="T27" fmla="*/ 490829 h 1298"/>
              <a:gd name="T28" fmla="*/ 623675 w 1034"/>
              <a:gd name="T29" fmla="*/ 551095 h 1298"/>
              <a:gd name="T30" fmla="*/ 591026 w 1034"/>
              <a:gd name="T31" fmla="*/ 599556 h 1298"/>
              <a:gd name="T32" fmla="*/ 571703 w 1034"/>
              <a:gd name="T33" fmla="*/ 623787 h 1298"/>
              <a:gd name="T34" fmla="*/ 565039 w 1034"/>
              <a:gd name="T35" fmla="*/ 648018 h 1298"/>
              <a:gd name="T36" fmla="*/ 591026 w 1034"/>
              <a:gd name="T37" fmla="*/ 678462 h 1298"/>
              <a:gd name="T38" fmla="*/ 591026 w 1034"/>
              <a:gd name="T39" fmla="*/ 715119 h 1298"/>
              <a:gd name="T40" fmla="*/ 597689 w 1034"/>
              <a:gd name="T41" fmla="*/ 744941 h 1298"/>
              <a:gd name="T42" fmla="*/ 584363 w 1034"/>
              <a:gd name="T43" fmla="*/ 781598 h 1298"/>
              <a:gd name="T44" fmla="*/ 565039 w 1034"/>
              <a:gd name="T45" fmla="*/ 793403 h 1298"/>
              <a:gd name="T46" fmla="*/ 513066 w 1034"/>
              <a:gd name="T47" fmla="*/ 769172 h 1298"/>
              <a:gd name="T48" fmla="*/ 480417 w 1034"/>
              <a:gd name="T49" fmla="*/ 757367 h 1298"/>
              <a:gd name="T50" fmla="*/ 467757 w 1034"/>
              <a:gd name="T51" fmla="*/ 733136 h 1298"/>
              <a:gd name="T52" fmla="*/ 402457 w 1034"/>
              <a:gd name="T53" fmla="*/ 720710 h 1298"/>
              <a:gd name="T54" fmla="*/ 350484 w 1034"/>
              <a:gd name="T55" fmla="*/ 720710 h 1298"/>
              <a:gd name="T56" fmla="*/ 285851 w 1034"/>
              <a:gd name="T57" fmla="*/ 720710 h 1298"/>
              <a:gd name="T58" fmla="*/ 233878 w 1034"/>
              <a:gd name="T59" fmla="*/ 726923 h 1298"/>
              <a:gd name="T60" fmla="*/ 194565 w 1034"/>
              <a:gd name="T61" fmla="*/ 726923 h 1298"/>
              <a:gd name="T62" fmla="*/ 207892 w 1034"/>
              <a:gd name="T63" fmla="*/ 660444 h 1298"/>
              <a:gd name="T64" fmla="*/ 181905 w 1034"/>
              <a:gd name="T65" fmla="*/ 623787 h 1298"/>
              <a:gd name="T66" fmla="*/ 129932 w 1034"/>
              <a:gd name="T67" fmla="*/ 611982 h 1298"/>
              <a:gd name="T68" fmla="*/ 116606 w 1034"/>
              <a:gd name="T69" fmla="*/ 611982 h 1298"/>
              <a:gd name="T70" fmla="*/ 97283 w 1034"/>
              <a:gd name="T71" fmla="*/ 630000 h 1298"/>
              <a:gd name="T72" fmla="*/ 71296 w 1034"/>
              <a:gd name="T73" fmla="*/ 642426 h 1298"/>
              <a:gd name="T74" fmla="*/ 38647 w 1034"/>
              <a:gd name="T75" fmla="*/ 611982 h 1298"/>
              <a:gd name="T76" fmla="*/ 12660 w 1034"/>
              <a:gd name="T77" fmla="*/ 526864 h 1298"/>
              <a:gd name="T78" fmla="*/ 90620 w 1034"/>
              <a:gd name="T79" fmla="*/ 484616 h 1298"/>
              <a:gd name="T80" fmla="*/ 90620 w 1034"/>
              <a:gd name="T81" fmla="*/ 436154 h 1298"/>
              <a:gd name="T82" fmla="*/ 103946 w 1034"/>
              <a:gd name="T83" fmla="*/ 394527 h 1298"/>
              <a:gd name="T84" fmla="*/ 71296 w 1034"/>
              <a:gd name="T85" fmla="*/ 375888 h 1298"/>
              <a:gd name="T86" fmla="*/ 51973 w 1034"/>
              <a:gd name="T87" fmla="*/ 370296 h 1298"/>
              <a:gd name="T88" fmla="*/ 25986 w 1034"/>
              <a:gd name="T89" fmla="*/ 351657 h 1298"/>
              <a:gd name="T90" fmla="*/ 12660 w 1034"/>
              <a:gd name="T91" fmla="*/ 267160 h 1298"/>
              <a:gd name="T92" fmla="*/ 64633 w 1034"/>
              <a:gd name="T93" fmla="*/ 224290 h 1298"/>
              <a:gd name="T94" fmla="*/ 103946 w 1034"/>
              <a:gd name="T95" fmla="*/ 188255 h 1298"/>
              <a:gd name="T96" fmla="*/ 142592 w 1034"/>
              <a:gd name="T97" fmla="*/ 151598 h 1298"/>
              <a:gd name="T98" fmla="*/ 168579 w 1034"/>
              <a:gd name="T99" fmla="*/ 115562 h 1298"/>
              <a:gd name="T100" fmla="*/ 207892 w 1034"/>
              <a:gd name="T101" fmla="*/ 103136 h 1298"/>
              <a:gd name="T102" fmla="*/ 239875 w 1034"/>
              <a:gd name="T103" fmla="*/ 54675 h 1298"/>
              <a:gd name="T104" fmla="*/ 292514 w 1034"/>
              <a:gd name="T105" fmla="*/ 18639 h 1298"/>
              <a:gd name="T106" fmla="*/ 331161 w 1034"/>
              <a:gd name="T107" fmla="*/ 6213 h 1298"/>
              <a:gd name="T108" fmla="*/ 396460 w 1034"/>
              <a:gd name="T109" fmla="*/ 18639 h 1298"/>
              <a:gd name="T110" fmla="*/ 428444 w 1034"/>
              <a:gd name="T111" fmla="*/ 30444 h 1298"/>
              <a:gd name="T112" fmla="*/ 461093 w 1034"/>
              <a:gd name="T113" fmla="*/ 42870 h 1298"/>
              <a:gd name="T114" fmla="*/ 506403 w 1034"/>
              <a:gd name="T115" fmla="*/ 30444 h 1298"/>
              <a:gd name="T116" fmla="*/ 552379 w 1034"/>
              <a:gd name="T117" fmla="*/ 24231 h 1298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034"/>
              <a:gd name="T178" fmla="*/ 0 h 1298"/>
              <a:gd name="T179" fmla="*/ 1034 w 1034"/>
              <a:gd name="T180" fmla="*/ 1298 h 1298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034" h="1298">
                <a:moveTo>
                  <a:pt x="838" y="59"/>
                </a:moveTo>
                <a:lnTo>
                  <a:pt x="858" y="69"/>
                </a:lnTo>
                <a:lnTo>
                  <a:pt x="868" y="108"/>
                </a:lnTo>
                <a:lnTo>
                  <a:pt x="877" y="166"/>
                </a:lnTo>
                <a:lnTo>
                  <a:pt x="877" y="225"/>
                </a:lnTo>
                <a:lnTo>
                  <a:pt x="887" y="283"/>
                </a:lnTo>
                <a:lnTo>
                  <a:pt x="877" y="303"/>
                </a:lnTo>
                <a:lnTo>
                  <a:pt x="868" y="303"/>
                </a:lnTo>
                <a:lnTo>
                  <a:pt x="858" y="313"/>
                </a:lnTo>
                <a:lnTo>
                  <a:pt x="848" y="322"/>
                </a:lnTo>
                <a:lnTo>
                  <a:pt x="838" y="342"/>
                </a:lnTo>
                <a:lnTo>
                  <a:pt x="858" y="342"/>
                </a:lnTo>
                <a:lnTo>
                  <a:pt x="868" y="352"/>
                </a:lnTo>
                <a:lnTo>
                  <a:pt x="877" y="371"/>
                </a:lnTo>
                <a:lnTo>
                  <a:pt x="868" y="391"/>
                </a:lnTo>
                <a:lnTo>
                  <a:pt x="868" y="410"/>
                </a:lnTo>
                <a:lnTo>
                  <a:pt x="887" y="420"/>
                </a:lnTo>
                <a:lnTo>
                  <a:pt x="897" y="439"/>
                </a:lnTo>
                <a:lnTo>
                  <a:pt x="897" y="469"/>
                </a:lnTo>
                <a:lnTo>
                  <a:pt x="907" y="488"/>
                </a:lnTo>
                <a:lnTo>
                  <a:pt x="916" y="498"/>
                </a:lnTo>
                <a:lnTo>
                  <a:pt x="916" y="508"/>
                </a:lnTo>
                <a:lnTo>
                  <a:pt x="897" y="527"/>
                </a:lnTo>
                <a:lnTo>
                  <a:pt x="877" y="547"/>
                </a:lnTo>
                <a:lnTo>
                  <a:pt x="877" y="576"/>
                </a:lnTo>
                <a:lnTo>
                  <a:pt x="868" y="596"/>
                </a:lnTo>
                <a:lnTo>
                  <a:pt x="868" y="615"/>
                </a:lnTo>
                <a:lnTo>
                  <a:pt x="887" y="615"/>
                </a:lnTo>
                <a:lnTo>
                  <a:pt x="907" y="625"/>
                </a:lnTo>
                <a:lnTo>
                  <a:pt x="907" y="615"/>
                </a:lnTo>
                <a:lnTo>
                  <a:pt x="916" y="615"/>
                </a:lnTo>
                <a:lnTo>
                  <a:pt x="926" y="625"/>
                </a:lnTo>
                <a:lnTo>
                  <a:pt x="955" y="635"/>
                </a:lnTo>
                <a:lnTo>
                  <a:pt x="965" y="625"/>
                </a:lnTo>
                <a:lnTo>
                  <a:pt x="1004" y="635"/>
                </a:lnTo>
                <a:lnTo>
                  <a:pt x="1004" y="625"/>
                </a:lnTo>
                <a:lnTo>
                  <a:pt x="1014" y="625"/>
                </a:lnTo>
                <a:lnTo>
                  <a:pt x="1024" y="635"/>
                </a:lnTo>
                <a:lnTo>
                  <a:pt x="1034" y="664"/>
                </a:lnTo>
                <a:lnTo>
                  <a:pt x="985" y="654"/>
                </a:lnTo>
                <a:lnTo>
                  <a:pt x="965" y="674"/>
                </a:lnTo>
                <a:lnTo>
                  <a:pt x="955" y="674"/>
                </a:lnTo>
                <a:lnTo>
                  <a:pt x="936" y="674"/>
                </a:lnTo>
                <a:lnTo>
                  <a:pt x="926" y="664"/>
                </a:lnTo>
                <a:lnTo>
                  <a:pt x="916" y="664"/>
                </a:lnTo>
                <a:lnTo>
                  <a:pt x="916" y="674"/>
                </a:lnTo>
                <a:lnTo>
                  <a:pt x="926" y="683"/>
                </a:lnTo>
                <a:lnTo>
                  <a:pt x="926" y="713"/>
                </a:lnTo>
                <a:lnTo>
                  <a:pt x="946" y="732"/>
                </a:lnTo>
                <a:lnTo>
                  <a:pt x="936" y="742"/>
                </a:lnTo>
                <a:lnTo>
                  <a:pt x="926" y="732"/>
                </a:lnTo>
                <a:lnTo>
                  <a:pt x="926" y="752"/>
                </a:lnTo>
                <a:lnTo>
                  <a:pt x="926" y="771"/>
                </a:lnTo>
                <a:lnTo>
                  <a:pt x="916" y="781"/>
                </a:lnTo>
                <a:lnTo>
                  <a:pt x="916" y="791"/>
                </a:lnTo>
                <a:lnTo>
                  <a:pt x="936" y="800"/>
                </a:lnTo>
                <a:lnTo>
                  <a:pt x="946" y="830"/>
                </a:lnTo>
                <a:lnTo>
                  <a:pt x="936" y="849"/>
                </a:lnTo>
                <a:lnTo>
                  <a:pt x="936" y="888"/>
                </a:lnTo>
                <a:lnTo>
                  <a:pt x="907" y="908"/>
                </a:lnTo>
                <a:lnTo>
                  <a:pt x="907" y="917"/>
                </a:lnTo>
                <a:lnTo>
                  <a:pt x="916" y="947"/>
                </a:lnTo>
                <a:lnTo>
                  <a:pt x="887" y="966"/>
                </a:lnTo>
                <a:lnTo>
                  <a:pt x="868" y="976"/>
                </a:lnTo>
                <a:lnTo>
                  <a:pt x="858" y="976"/>
                </a:lnTo>
                <a:lnTo>
                  <a:pt x="848" y="986"/>
                </a:lnTo>
                <a:lnTo>
                  <a:pt x="858" y="1005"/>
                </a:lnTo>
                <a:lnTo>
                  <a:pt x="848" y="1015"/>
                </a:lnTo>
                <a:lnTo>
                  <a:pt x="848" y="1035"/>
                </a:lnTo>
                <a:lnTo>
                  <a:pt x="848" y="1044"/>
                </a:lnTo>
                <a:lnTo>
                  <a:pt x="848" y="1054"/>
                </a:lnTo>
                <a:lnTo>
                  <a:pt x="848" y="1074"/>
                </a:lnTo>
                <a:lnTo>
                  <a:pt x="868" y="1093"/>
                </a:lnTo>
                <a:lnTo>
                  <a:pt x="887" y="1093"/>
                </a:lnTo>
                <a:lnTo>
                  <a:pt x="897" y="1103"/>
                </a:lnTo>
                <a:lnTo>
                  <a:pt x="907" y="1122"/>
                </a:lnTo>
                <a:lnTo>
                  <a:pt x="907" y="1142"/>
                </a:lnTo>
                <a:lnTo>
                  <a:pt x="887" y="1152"/>
                </a:lnTo>
                <a:lnTo>
                  <a:pt x="868" y="1161"/>
                </a:lnTo>
                <a:lnTo>
                  <a:pt x="868" y="1181"/>
                </a:lnTo>
                <a:lnTo>
                  <a:pt x="877" y="1181"/>
                </a:lnTo>
                <a:lnTo>
                  <a:pt x="897" y="1200"/>
                </a:lnTo>
                <a:lnTo>
                  <a:pt x="897" y="1210"/>
                </a:lnTo>
                <a:lnTo>
                  <a:pt x="907" y="1220"/>
                </a:lnTo>
                <a:lnTo>
                  <a:pt x="907" y="1230"/>
                </a:lnTo>
                <a:lnTo>
                  <a:pt x="877" y="1259"/>
                </a:lnTo>
                <a:lnTo>
                  <a:pt x="868" y="1269"/>
                </a:lnTo>
                <a:lnTo>
                  <a:pt x="877" y="1288"/>
                </a:lnTo>
                <a:lnTo>
                  <a:pt x="868" y="1298"/>
                </a:lnTo>
                <a:lnTo>
                  <a:pt x="848" y="1278"/>
                </a:lnTo>
                <a:lnTo>
                  <a:pt x="819" y="1278"/>
                </a:lnTo>
                <a:lnTo>
                  <a:pt x="819" y="1259"/>
                </a:lnTo>
                <a:lnTo>
                  <a:pt x="790" y="1259"/>
                </a:lnTo>
                <a:lnTo>
                  <a:pt x="770" y="1239"/>
                </a:lnTo>
                <a:lnTo>
                  <a:pt x="760" y="1259"/>
                </a:lnTo>
                <a:lnTo>
                  <a:pt x="741" y="1269"/>
                </a:lnTo>
                <a:lnTo>
                  <a:pt x="721" y="1220"/>
                </a:lnTo>
                <a:lnTo>
                  <a:pt x="731" y="1200"/>
                </a:lnTo>
                <a:lnTo>
                  <a:pt x="731" y="1181"/>
                </a:lnTo>
                <a:lnTo>
                  <a:pt x="721" y="1171"/>
                </a:lnTo>
                <a:lnTo>
                  <a:pt x="702" y="1181"/>
                </a:lnTo>
                <a:lnTo>
                  <a:pt x="692" y="1171"/>
                </a:lnTo>
                <a:lnTo>
                  <a:pt x="663" y="1161"/>
                </a:lnTo>
                <a:lnTo>
                  <a:pt x="634" y="1161"/>
                </a:lnTo>
                <a:lnTo>
                  <a:pt x="604" y="1161"/>
                </a:lnTo>
                <a:lnTo>
                  <a:pt x="565" y="1132"/>
                </a:lnTo>
                <a:lnTo>
                  <a:pt x="556" y="1132"/>
                </a:lnTo>
                <a:lnTo>
                  <a:pt x="546" y="1152"/>
                </a:lnTo>
                <a:lnTo>
                  <a:pt x="526" y="1161"/>
                </a:lnTo>
                <a:lnTo>
                  <a:pt x="497" y="1161"/>
                </a:lnTo>
                <a:lnTo>
                  <a:pt x="468" y="1161"/>
                </a:lnTo>
                <a:lnTo>
                  <a:pt x="448" y="1161"/>
                </a:lnTo>
                <a:lnTo>
                  <a:pt x="429" y="1161"/>
                </a:lnTo>
                <a:lnTo>
                  <a:pt x="419" y="1171"/>
                </a:lnTo>
                <a:lnTo>
                  <a:pt x="400" y="1181"/>
                </a:lnTo>
                <a:lnTo>
                  <a:pt x="351" y="1181"/>
                </a:lnTo>
                <a:lnTo>
                  <a:pt x="351" y="1171"/>
                </a:lnTo>
                <a:lnTo>
                  <a:pt x="331" y="1171"/>
                </a:lnTo>
                <a:lnTo>
                  <a:pt x="321" y="1181"/>
                </a:lnTo>
                <a:lnTo>
                  <a:pt x="312" y="1161"/>
                </a:lnTo>
                <a:lnTo>
                  <a:pt x="292" y="1171"/>
                </a:lnTo>
                <a:lnTo>
                  <a:pt x="292" y="1161"/>
                </a:lnTo>
                <a:lnTo>
                  <a:pt x="292" y="1103"/>
                </a:lnTo>
                <a:lnTo>
                  <a:pt x="302" y="1093"/>
                </a:lnTo>
                <a:lnTo>
                  <a:pt x="312" y="1064"/>
                </a:lnTo>
                <a:lnTo>
                  <a:pt x="312" y="1044"/>
                </a:lnTo>
                <a:lnTo>
                  <a:pt x="302" y="1025"/>
                </a:lnTo>
                <a:lnTo>
                  <a:pt x="282" y="1015"/>
                </a:lnTo>
                <a:lnTo>
                  <a:pt x="273" y="1005"/>
                </a:lnTo>
                <a:lnTo>
                  <a:pt x="243" y="1005"/>
                </a:lnTo>
                <a:lnTo>
                  <a:pt x="214" y="996"/>
                </a:lnTo>
                <a:lnTo>
                  <a:pt x="195" y="996"/>
                </a:lnTo>
                <a:lnTo>
                  <a:pt x="195" y="986"/>
                </a:lnTo>
                <a:lnTo>
                  <a:pt x="204" y="966"/>
                </a:lnTo>
                <a:lnTo>
                  <a:pt x="185" y="966"/>
                </a:lnTo>
                <a:lnTo>
                  <a:pt x="175" y="976"/>
                </a:lnTo>
                <a:lnTo>
                  <a:pt x="175" y="986"/>
                </a:lnTo>
                <a:lnTo>
                  <a:pt x="165" y="996"/>
                </a:lnTo>
                <a:lnTo>
                  <a:pt x="156" y="996"/>
                </a:lnTo>
                <a:lnTo>
                  <a:pt x="156" y="1005"/>
                </a:lnTo>
                <a:lnTo>
                  <a:pt x="146" y="1015"/>
                </a:lnTo>
                <a:lnTo>
                  <a:pt x="146" y="1005"/>
                </a:lnTo>
                <a:lnTo>
                  <a:pt x="126" y="1015"/>
                </a:lnTo>
                <a:lnTo>
                  <a:pt x="117" y="1025"/>
                </a:lnTo>
                <a:lnTo>
                  <a:pt x="107" y="1035"/>
                </a:lnTo>
                <a:lnTo>
                  <a:pt x="87" y="1035"/>
                </a:lnTo>
                <a:lnTo>
                  <a:pt x="87" y="1025"/>
                </a:lnTo>
                <a:lnTo>
                  <a:pt x="78" y="1005"/>
                </a:lnTo>
                <a:lnTo>
                  <a:pt x="58" y="986"/>
                </a:lnTo>
                <a:lnTo>
                  <a:pt x="39" y="947"/>
                </a:lnTo>
                <a:lnTo>
                  <a:pt x="58" y="917"/>
                </a:lnTo>
                <a:lnTo>
                  <a:pt x="58" y="888"/>
                </a:lnTo>
                <a:lnTo>
                  <a:pt x="19" y="849"/>
                </a:lnTo>
                <a:lnTo>
                  <a:pt x="78" y="830"/>
                </a:lnTo>
                <a:lnTo>
                  <a:pt x="87" y="810"/>
                </a:lnTo>
                <a:lnTo>
                  <a:pt x="107" y="791"/>
                </a:lnTo>
                <a:lnTo>
                  <a:pt x="136" y="781"/>
                </a:lnTo>
                <a:lnTo>
                  <a:pt x="146" y="742"/>
                </a:lnTo>
                <a:lnTo>
                  <a:pt x="146" y="722"/>
                </a:lnTo>
                <a:lnTo>
                  <a:pt x="136" y="722"/>
                </a:lnTo>
                <a:lnTo>
                  <a:pt x="136" y="703"/>
                </a:lnTo>
                <a:lnTo>
                  <a:pt x="156" y="693"/>
                </a:lnTo>
                <a:lnTo>
                  <a:pt x="165" y="674"/>
                </a:lnTo>
                <a:lnTo>
                  <a:pt x="165" y="654"/>
                </a:lnTo>
                <a:lnTo>
                  <a:pt x="156" y="635"/>
                </a:lnTo>
                <a:lnTo>
                  <a:pt x="146" y="615"/>
                </a:lnTo>
                <a:lnTo>
                  <a:pt x="126" y="615"/>
                </a:lnTo>
                <a:lnTo>
                  <a:pt x="117" y="615"/>
                </a:lnTo>
                <a:lnTo>
                  <a:pt x="107" y="605"/>
                </a:lnTo>
                <a:lnTo>
                  <a:pt x="107" y="586"/>
                </a:lnTo>
                <a:lnTo>
                  <a:pt x="97" y="576"/>
                </a:lnTo>
                <a:lnTo>
                  <a:pt x="87" y="596"/>
                </a:lnTo>
                <a:lnTo>
                  <a:pt x="78" y="596"/>
                </a:lnTo>
                <a:lnTo>
                  <a:pt x="78" y="586"/>
                </a:lnTo>
                <a:lnTo>
                  <a:pt x="78" y="576"/>
                </a:lnTo>
                <a:lnTo>
                  <a:pt x="68" y="576"/>
                </a:lnTo>
                <a:lnTo>
                  <a:pt x="39" y="566"/>
                </a:lnTo>
                <a:lnTo>
                  <a:pt x="19" y="556"/>
                </a:lnTo>
                <a:lnTo>
                  <a:pt x="39" y="478"/>
                </a:lnTo>
                <a:lnTo>
                  <a:pt x="0" y="469"/>
                </a:lnTo>
                <a:lnTo>
                  <a:pt x="19" y="430"/>
                </a:lnTo>
                <a:lnTo>
                  <a:pt x="48" y="420"/>
                </a:lnTo>
                <a:lnTo>
                  <a:pt x="58" y="381"/>
                </a:lnTo>
                <a:lnTo>
                  <a:pt x="68" y="371"/>
                </a:lnTo>
                <a:lnTo>
                  <a:pt x="97" y="361"/>
                </a:lnTo>
                <a:lnTo>
                  <a:pt x="107" y="352"/>
                </a:lnTo>
                <a:lnTo>
                  <a:pt x="126" y="332"/>
                </a:lnTo>
                <a:lnTo>
                  <a:pt x="146" y="313"/>
                </a:lnTo>
                <a:lnTo>
                  <a:pt x="156" y="303"/>
                </a:lnTo>
                <a:lnTo>
                  <a:pt x="165" y="283"/>
                </a:lnTo>
                <a:lnTo>
                  <a:pt x="175" y="264"/>
                </a:lnTo>
                <a:lnTo>
                  <a:pt x="185" y="264"/>
                </a:lnTo>
                <a:lnTo>
                  <a:pt x="214" y="244"/>
                </a:lnTo>
                <a:lnTo>
                  <a:pt x="224" y="225"/>
                </a:lnTo>
                <a:lnTo>
                  <a:pt x="234" y="215"/>
                </a:lnTo>
                <a:lnTo>
                  <a:pt x="243" y="205"/>
                </a:lnTo>
                <a:lnTo>
                  <a:pt x="253" y="186"/>
                </a:lnTo>
                <a:lnTo>
                  <a:pt x="263" y="176"/>
                </a:lnTo>
                <a:lnTo>
                  <a:pt x="273" y="166"/>
                </a:lnTo>
                <a:lnTo>
                  <a:pt x="282" y="166"/>
                </a:lnTo>
                <a:lnTo>
                  <a:pt x="312" y="166"/>
                </a:lnTo>
                <a:lnTo>
                  <a:pt x="331" y="147"/>
                </a:lnTo>
                <a:lnTo>
                  <a:pt x="341" y="127"/>
                </a:lnTo>
                <a:lnTo>
                  <a:pt x="360" y="117"/>
                </a:lnTo>
                <a:lnTo>
                  <a:pt x="360" y="88"/>
                </a:lnTo>
                <a:lnTo>
                  <a:pt x="370" y="69"/>
                </a:lnTo>
                <a:lnTo>
                  <a:pt x="380" y="69"/>
                </a:lnTo>
                <a:lnTo>
                  <a:pt x="409" y="59"/>
                </a:lnTo>
                <a:lnTo>
                  <a:pt x="439" y="30"/>
                </a:lnTo>
                <a:lnTo>
                  <a:pt x="458" y="30"/>
                </a:lnTo>
                <a:lnTo>
                  <a:pt x="468" y="20"/>
                </a:lnTo>
                <a:lnTo>
                  <a:pt x="487" y="20"/>
                </a:lnTo>
                <a:lnTo>
                  <a:pt x="497" y="10"/>
                </a:lnTo>
                <a:lnTo>
                  <a:pt x="536" y="20"/>
                </a:lnTo>
                <a:lnTo>
                  <a:pt x="565" y="0"/>
                </a:lnTo>
                <a:lnTo>
                  <a:pt x="575" y="10"/>
                </a:lnTo>
                <a:lnTo>
                  <a:pt x="595" y="30"/>
                </a:lnTo>
                <a:lnTo>
                  <a:pt x="585" y="49"/>
                </a:lnTo>
                <a:lnTo>
                  <a:pt x="595" y="49"/>
                </a:lnTo>
                <a:lnTo>
                  <a:pt x="604" y="39"/>
                </a:lnTo>
                <a:lnTo>
                  <a:pt x="643" y="49"/>
                </a:lnTo>
                <a:lnTo>
                  <a:pt x="663" y="39"/>
                </a:lnTo>
                <a:lnTo>
                  <a:pt x="673" y="49"/>
                </a:lnTo>
                <a:lnTo>
                  <a:pt x="673" y="59"/>
                </a:lnTo>
                <a:lnTo>
                  <a:pt x="692" y="69"/>
                </a:lnTo>
                <a:lnTo>
                  <a:pt x="721" y="69"/>
                </a:lnTo>
                <a:lnTo>
                  <a:pt x="741" y="78"/>
                </a:lnTo>
                <a:lnTo>
                  <a:pt x="760" y="59"/>
                </a:lnTo>
                <a:lnTo>
                  <a:pt x="760" y="49"/>
                </a:lnTo>
                <a:lnTo>
                  <a:pt x="799" y="49"/>
                </a:lnTo>
                <a:lnTo>
                  <a:pt x="799" y="59"/>
                </a:lnTo>
                <a:lnTo>
                  <a:pt x="809" y="69"/>
                </a:lnTo>
                <a:lnTo>
                  <a:pt x="829" y="39"/>
                </a:lnTo>
                <a:lnTo>
                  <a:pt x="848" y="39"/>
                </a:lnTo>
                <a:lnTo>
                  <a:pt x="838" y="59"/>
                </a:lnTo>
                <a:close/>
              </a:path>
            </a:pathLst>
          </a:custGeom>
          <a:solidFill>
            <a:srgbClr val="C0C0C0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646" name="Freeform 56"/>
          <p:cNvSpPr>
            <a:spLocks noChangeAspect="1"/>
          </p:cNvSpPr>
          <p:nvPr>
            <p:custDataLst>
              <p:tags r:id="rId212"/>
            </p:custDataLst>
          </p:nvPr>
        </p:nvSpPr>
        <p:spPr bwMode="auto">
          <a:xfrm>
            <a:off x="7054850" y="3400425"/>
            <a:ext cx="469900" cy="814388"/>
          </a:xfrm>
          <a:custGeom>
            <a:avLst/>
            <a:gdLst>
              <a:gd name="T0" fmla="*/ 58821 w 703"/>
              <a:gd name="T1" fmla="*/ 152036 h 1307"/>
              <a:gd name="T2" fmla="*/ 117642 w 703"/>
              <a:gd name="T3" fmla="*/ 97203 h 1307"/>
              <a:gd name="T4" fmla="*/ 182479 w 703"/>
              <a:gd name="T5" fmla="*/ 79133 h 1307"/>
              <a:gd name="T6" fmla="*/ 228600 w 703"/>
              <a:gd name="T7" fmla="*/ 139574 h 1307"/>
              <a:gd name="T8" fmla="*/ 300121 w 703"/>
              <a:gd name="T9" fmla="*/ 115273 h 1307"/>
              <a:gd name="T10" fmla="*/ 326189 w 703"/>
              <a:gd name="T11" fmla="*/ 54832 h 1307"/>
              <a:gd name="T12" fmla="*/ 358942 w 703"/>
              <a:gd name="T13" fmla="*/ 6231 h 1307"/>
              <a:gd name="T14" fmla="*/ 404395 w 703"/>
              <a:gd name="T15" fmla="*/ 6231 h 1307"/>
              <a:gd name="T16" fmla="*/ 411079 w 703"/>
              <a:gd name="T17" fmla="*/ 36140 h 1307"/>
              <a:gd name="T18" fmla="*/ 417763 w 703"/>
              <a:gd name="T19" fmla="*/ 54832 h 1307"/>
              <a:gd name="T20" fmla="*/ 417763 w 703"/>
              <a:gd name="T21" fmla="*/ 72902 h 1307"/>
              <a:gd name="T22" fmla="*/ 423779 w 703"/>
              <a:gd name="T23" fmla="*/ 97203 h 1307"/>
              <a:gd name="T24" fmla="*/ 430463 w 703"/>
              <a:gd name="T25" fmla="*/ 109042 h 1307"/>
              <a:gd name="T26" fmla="*/ 437147 w 703"/>
              <a:gd name="T27" fmla="*/ 139574 h 1307"/>
              <a:gd name="T28" fmla="*/ 437147 w 703"/>
              <a:gd name="T29" fmla="*/ 170105 h 1307"/>
              <a:gd name="T30" fmla="*/ 469900 w 703"/>
              <a:gd name="T31" fmla="*/ 194406 h 1307"/>
              <a:gd name="T32" fmla="*/ 417763 w 703"/>
              <a:gd name="T33" fmla="*/ 200637 h 1307"/>
              <a:gd name="T34" fmla="*/ 385011 w 703"/>
              <a:gd name="T35" fmla="*/ 231169 h 1307"/>
              <a:gd name="T36" fmla="*/ 371642 w 703"/>
              <a:gd name="T37" fmla="*/ 279770 h 1307"/>
              <a:gd name="T38" fmla="*/ 385011 w 703"/>
              <a:gd name="T39" fmla="*/ 304071 h 1307"/>
              <a:gd name="T40" fmla="*/ 371642 w 703"/>
              <a:gd name="T41" fmla="*/ 315910 h 1307"/>
              <a:gd name="T42" fmla="*/ 352258 w 703"/>
              <a:gd name="T43" fmla="*/ 340211 h 1307"/>
              <a:gd name="T44" fmla="*/ 358942 w 703"/>
              <a:gd name="T45" fmla="*/ 370742 h 1307"/>
              <a:gd name="T46" fmla="*/ 339558 w 703"/>
              <a:gd name="T47" fmla="*/ 376973 h 1307"/>
              <a:gd name="T48" fmla="*/ 326189 w 703"/>
              <a:gd name="T49" fmla="*/ 395043 h 1307"/>
              <a:gd name="T50" fmla="*/ 339558 w 703"/>
              <a:gd name="T51" fmla="*/ 425575 h 1307"/>
              <a:gd name="T52" fmla="*/ 371642 w 703"/>
              <a:gd name="T53" fmla="*/ 443645 h 1307"/>
              <a:gd name="T54" fmla="*/ 371642 w 703"/>
              <a:gd name="T55" fmla="*/ 461714 h 1307"/>
              <a:gd name="T56" fmla="*/ 404395 w 703"/>
              <a:gd name="T57" fmla="*/ 529009 h 1307"/>
              <a:gd name="T58" fmla="*/ 437147 w 703"/>
              <a:gd name="T59" fmla="*/ 516547 h 1307"/>
              <a:gd name="T60" fmla="*/ 456532 w 703"/>
              <a:gd name="T61" fmla="*/ 492246 h 1307"/>
              <a:gd name="T62" fmla="*/ 456532 w 703"/>
              <a:gd name="T63" fmla="*/ 540848 h 1307"/>
              <a:gd name="T64" fmla="*/ 404395 w 703"/>
              <a:gd name="T65" fmla="*/ 583841 h 1307"/>
              <a:gd name="T66" fmla="*/ 430463 w 703"/>
              <a:gd name="T67" fmla="*/ 632443 h 1307"/>
              <a:gd name="T68" fmla="*/ 385011 w 703"/>
              <a:gd name="T69" fmla="*/ 686652 h 1307"/>
              <a:gd name="T70" fmla="*/ 411079 w 703"/>
              <a:gd name="T71" fmla="*/ 717184 h 1307"/>
              <a:gd name="T72" fmla="*/ 404395 w 703"/>
              <a:gd name="T73" fmla="*/ 772016 h 1307"/>
              <a:gd name="T74" fmla="*/ 365626 w 703"/>
              <a:gd name="T75" fmla="*/ 814387 h 1307"/>
              <a:gd name="T76" fmla="*/ 326189 w 703"/>
              <a:gd name="T77" fmla="*/ 753947 h 1307"/>
              <a:gd name="T78" fmla="*/ 326189 w 703"/>
              <a:gd name="T79" fmla="*/ 717184 h 1307"/>
              <a:gd name="T80" fmla="*/ 280737 w 703"/>
              <a:gd name="T81" fmla="*/ 674813 h 1307"/>
              <a:gd name="T82" fmla="*/ 293437 w 703"/>
              <a:gd name="T83" fmla="*/ 644282 h 1307"/>
              <a:gd name="T84" fmla="*/ 306805 w 703"/>
              <a:gd name="T85" fmla="*/ 583841 h 1307"/>
              <a:gd name="T86" fmla="*/ 286753 w 703"/>
              <a:gd name="T87" fmla="*/ 540848 h 1307"/>
              <a:gd name="T88" fmla="*/ 274053 w 703"/>
              <a:gd name="T89" fmla="*/ 486015 h 1307"/>
              <a:gd name="T90" fmla="*/ 254668 w 703"/>
              <a:gd name="T91" fmla="*/ 419344 h 1307"/>
              <a:gd name="T92" fmla="*/ 254668 w 703"/>
              <a:gd name="T93" fmla="*/ 370742 h 1307"/>
              <a:gd name="T94" fmla="*/ 247984 w 703"/>
              <a:gd name="T95" fmla="*/ 340211 h 1307"/>
              <a:gd name="T96" fmla="*/ 215232 w 703"/>
              <a:gd name="T97" fmla="*/ 322141 h 1307"/>
              <a:gd name="T98" fmla="*/ 182479 w 703"/>
              <a:gd name="T99" fmla="*/ 279770 h 1307"/>
              <a:gd name="T100" fmla="*/ 189163 w 703"/>
              <a:gd name="T101" fmla="*/ 249239 h 1307"/>
              <a:gd name="T102" fmla="*/ 163095 w 703"/>
              <a:gd name="T103" fmla="*/ 279770 h 1307"/>
              <a:gd name="T104" fmla="*/ 163095 w 703"/>
              <a:gd name="T105" fmla="*/ 309679 h 1307"/>
              <a:gd name="T106" fmla="*/ 202532 w 703"/>
              <a:gd name="T107" fmla="*/ 333980 h 1307"/>
              <a:gd name="T108" fmla="*/ 189163 w 703"/>
              <a:gd name="T109" fmla="*/ 352673 h 1307"/>
              <a:gd name="T110" fmla="*/ 156411 w 703"/>
              <a:gd name="T111" fmla="*/ 333980 h 1307"/>
              <a:gd name="T112" fmla="*/ 104274 w 703"/>
              <a:gd name="T113" fmla="*/ 297840 h 1307"/>
              <a:gd name="T114" fmla="*/ 72189 w 703"/>
              <a:gd name="T115" fmla="*/ 255470 h 1307"/>
              <a:gd name="T116" fmla="*/ 32753 w 703"/>
              <a:gd name="T117" fmla="*/ 236777 h 1307"/>
              <a:gd name="T118" fmla="*/ 0 w 703"/>
              <a:gd name="T119" fmla="*/ 194406 h 1307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703"/>
              <a:gd name="T181" fmla="*/ 0 h 1307"/>
              <a:gd name="T182" fmla="*/ 703 w 703"/>
              <a:gd name="T183" fmla="*/ 1307 h 1307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703" h="1307">
                <a:moveTo>
                  <a:pt x="49" y="244"/>
                </a:moveTo>
                <a:lnTo>
                  <a:pt x="59" y="234"/>
                </a:lnTo>
                <a:lnTo>
                  <a:pt x="69" y="234"/>
                </a:lnTo>
                <a:lnTo>
                  <a:pt x="78" y="224"/>
                </a:lnTo>
                <a:lnTo>
                  <a:pt x="88" y="224"/>
                </a:lnTo>
                <a:lnTo>
                  <a:pt x="88" y="244"/>
                </a:lnTo>
                <a:lnTo>
                  <a:pt x="108" y="244"/>
                </a:lnTo>
                <a:lnTo>
                  <a:pt x="108" y="224"/>
                </a:lnTo>
                <a:lnTo>
                  <a:pt x="127" y="205"/>
                </a:lnTo>
                <a:lnTo>
                  <a:pt x="137" y="175"/>
                </a:lnTo>
                <a:lnTo>
                  <a:pt x="156" y="175"/>
                </a:lnTo>
                <a:lnTo>
                  <a:pt x="176" y="156"/>
                </a:lnTo>
                <a:lnTo>
                  <a:pt x="176" y="146"/>
                </a:lnTo>
                <a:lnTo>
                  <a:pt x="195" y="136"/>
                </a:lnTo>
                <a:lnTo>
                  <a:pt x="215" y="136"/>
                </a:lnTo>
                <a:lnTo>
                  <a:pt x="244" y="146"/>
                </a:lnTo>
                <a:lnTo>
                  <a:pt x="264" y="146"/>
                </a:lnTo>
                <a:lnTo>
                  <a:pt x="273" y="127"/>
                </a:lnTo>
                <a:lnTo>
                  <a:pt x="303" y="127"/>
                </a:lnTo>
                <a:lnTo>
                  <a:pt x="312" y="136"/>
                </a:lnTo>
                <a:lnTo>
                  <a:pt x="312" y="156"/>
                </a:lnTo>
                <a:lnTo>
                  <a:pt x="322" y="195"/>
                </a:lnTo>
                <a:lnTo>
                  <a:pt x="322" y="224"/>
                </a:lnTo>
                <a:lnTo>
                  <a:pt x="342" y="224"/>
                </a:lnTo>
                <a:lnTo>
                  <a:pt x="342" y="205"/>
                </a:lnTo>
                <a:lnTo>
                  <a:pt x="371" y="195"/>
                </a:lnTo>
                <a:lnTo>
                  <a:pt x="400" y="175"/>
                </a:lnTo>
                <a:lnTo>
                  <a:pt x="420" y="166"/>
                </a:lnTo>
                <a:lnTo>
                  <a:pt x="429" y="175"/>
                </a:lnTo>
                <a:lnTo>
                  <a:pt x="449" y="185"/>
                </a:lnTo>
                <a:lnTo>
                  <a:pt x="459" y="185"/>
                </a:lnTo>
                <a:lnTo>
                  <a:pt x="468" y="175"/>
                </a:lnTo>
                <a:lnTo>
                  <a:pt x="468" y="146"/>
                </a:lnTo>
                <a:lnTo>
                  <a:pt x="468" y="127"/>
                </a:lnTo>
                <a:lnTo>
                  <a:pt x="488" y="107"/>
                </a:lnTo>
                <a:lnTo>
                  <a:pt x="488" y="88"/>
                </a:lnTo>
                <a:lnTo>
                  <a:pt x="498" y="68"/>
                </a:lnTo>
                <a:lnTo>
                  <a:pt x="508" y="68"/>
                </a:lnTo>
                <a:lnTo>
                  <a:pt x="517" y="49"/>
                </a:lnTo>
                <a:lnTo>
                  <a:pt x="517" y="19"/>
                </a:lnTo>
                <a:lnTo>
                  <a:pt x="527" y="10"/>
                </a:lnTo>
                <a:lnTo>
                  <a:pt x="537" y="10"/>
                </a:lnTo>
                <a:lnTo>
                  <a:pt x="547" y="0"/>
                </a:lnTo>
                <a:lnTo>
                  <a:pt x="547" y="19"/>
                </a:lnTo>
                <a:lnTo>
                  <a:pt x="556" y="19"/>
                </a:lnTo>
                <a:lnTo>
                  <a:pt x="576" y="10"/>
                </a:lnTo>
                <a:lnTo>
                  <a:pt x="595" y="10"/>
                </a:lnTo>
                <a:lnTo>
                  <a:pt x="605" y="10"/>
                </a:lnTo>
                <a:lnTo>
                  <a:pt x="615" y="10"/>
                </a:lnTo>
                <a:lnTo>
                  <a:pt x="615" y="29"/>
                </a:lnTo>
                <a:lnTo>
                  <a:pt x="605" y="29"/>
                </a:lnTo>
                <a:lnTo>
                  <a:pt x="605" y="39"/>
                </a:lnTo>
                <a:lnTo>
                  <a:pt x="615" y="39"/>
                </a:lnTo>
                <a:lnTo>
                  <a:pt x="615" y="58"/>
                </a:lnTo>
                <a:lnTo>
                  <a:pt x="605" y="58"/>
                </a:lnTo>
                <a:lnTo>
                  <a:pt x="605" y="68"/>
                </a:lnTo>
                <a:lnTo>
                  <a:pt x="605" y="78"/>
                </a:lnTo>
                <a:lnTo>
                  <a:pt x="615" y="78"/>
                </a:lnTo>
                <a:lnTo>
                  <a:pt x="615" y="88"/>
                </a:lnTo>
                <a:lnTo>
                  <a:pt x="625" y="88"/>
                </a:lnTo>
                <a:lnTo>
                  <a:pt x="625" y="97"/>
                </a:lnTo>
                <a:lnTo>
                  <a:pt x="625" y="107"/>
                </a:lnTo>
                <a:lnTo>
                  <a:pt x="615" y="107"/>
                </a:lnTo>
                <a:lnTo>
                  <a:pt x="605" y="117"/>
                </a:lnTo>
                <a:lnTo>
                  <a:pt x="625" y="117"/>
                </a:lnTo>
                <a:lnTo>
                  <a:pt x="634" y="117"/>
                </a:lnTo>
                <a:lnTo>
                  <a:pt x="634" y="136"/>
                </a:lnTo>
                <a:lnTo>
                  <a:pt x="634" y="146"/>
                </a:lnTo>
                <a:lnTo>
                  <a:pt x="625" y="156"/>
                </a:lnTo>
                <a:lnTo>
                  <a:pt x="634" y="156"/>
                </a:lnTo>
                <a:lnTo>
                  <a:pt x="644" y="156"/>
                </a:lnTo>
                <a:lnTo>
                  <a:pt x="634" y="166"/>
                </a:lnTo>
                <a:lnTo>
                  <a:pt x="644" y="175"/>
                </a:lnTo>
                <a:lnTo>
                  <a:pt x="654" y="175"/>
                </a:lnTo>
                <a:lnTo>
                  <a:pt x="644" y="175"/>
                </a:lnTo>
                <a:lnTo>
                  <a:pt x="644" y="185"/>
                </a:lnTo>
                <a:lnTo>
                  <a:pt x="654" y="195"/>
                </a:lnTo>
                <a:lnTo>
                  <a:pt x="644" y="195"/>
                </a:lnTo>
                <a:lnTo>
                  <a:pt x="644" y="205"/>
                </a:lnTo>
                <a:lnTo>
                  <a:pt x="654" y="205"/>
                </a:lnTo>
                <a:lnTo>
                  <a:pt x="654" y="224"/>
                </a:lnTo>
                <a:lnTo>
                  <a:pt x="654" y="234"/>
                </a:lnTo>
                <a:lnTo>
                  <a:pt x="654" y="244"/>
                </a:lnTo>
                <a:lnTo>
                  <a:pt x="654" y="263"/>
                </a:lnTo>
                <a:lnTo>
                  <a:pt x="664" y="273"/>
                </a:lnTo>
                <a:lnTo>
                  <a:pt x="654" y="273"/>
                </a:lnTo>
                <a:lnTo>
                  <a:pt x="664" y="273"/>
                </a:lnTo>
                <a:lnTo>
                  <a:pt x="673" y="283"/>
                </a:lnTo>
                <a:lnTo>
                  <a:pt x="673" y="293"/>
                </a:lnTo>
                <a:lnTo>
                  <a:pt x="683" y="302"/>
                </a:lnTo>
                <a:lnTo>
                  <a:pt x="693" y="302"/>
                </a:lnTo>
                <a:lnTo>
                  <a:pt x="703" y="312"/>
                </a:lnTo>
                <a:lnTo>
                  <a:pt x="703" y="322"/>
                </a:lnTo>
                <a:lnTo>
                  <a:pt x="683" y="322"/>
                </a:lnTo>
                <a:lnTo>
                  <a:pt x="673" y="322"/>
                </a:lnTo>
                <a:lnTo>
                  <a:pt x="654" y="322"/>
                </a:lnTo>
                <a:lnTo>
                  <a:pt x="644" y="322"/>
                </a:lnTo>
                <a:lnTo>
                  <a:pt x="625" y="322"/>
                </a:lnTo>
                <a:lnTo>
                  <a:pt x="615" y="332"/>
                </a:lnTo>
                <a:lnTo>
                  <a:pt x="605" y="322"/>
                </a:lnTo>
                <a:lnTo>
                  <a:pt x="595" y="332"/>
                </a:lnTo>
                <a:lnTo>
                  <a:pt x="595" y="351"/>
                </a:lnTo>
                <a:lnTo>
                  <a:pt x="586" y="361"/>
                </a:lnTo>
                <a:lnTo>
                  <a:pt x="576" y="371"/>
                </a:lnTo>
                <a:lnTo>
                  <a:pt x="566" y="400"/>
                </a:lnTo>
                <a:lnTo>
                  <a:pt x="566" y="410"/>
                </a:lnTo>
                <a:lnTo>
                  <a:pt x="566" y="429"/>
                </a:lnTo>
                <a:lnTo>
                  <a:pt x="566" y="449"/>
                </a:lnTo>
                <a:lnTo>
                  <a:pt x="556" y="449"/>
                </a:lnTo>
                <a:lnTo>
                  <a:pt x="566" y="458"/>
                </a:lnTo>
                <a:lnTo>
                  <a:pt x="566" y="478"/>
                </a:lnTo>
                <a:lnTo>
                  <a:pt x="566" y="488"/>
                </a:lnTo>
                <a:lnTo>
                  <a:pt x="576" y="488"/>
                </a:lnTo>
                <a:lnTo>
                  <a:pt x="576" y="507"/>
                </a:lnTo>
                <a:lnTo>
                  <a:pt x="586" y="507"/>
                </a:lnTo>
                <a:lnTo>
                  <a:pt x="586" y="517"/>
                </a:lnTo>
                <a:lnTo>
                  <a:pt x="576" y="527"/>
                </a:lnTo>
                <a:lnTo>
                  <a:pt x="566" y="517"/>
                </a:lnTo>
                <a:lnTo>
                  <a:pt x="556" y="507"/>
                </a:lnTo>
                <a:lnTo>
                  <a:pt x="537" y="497"/>
                </a:lnTo>
                <a:lnTo>
                  <a:pt x="527" y="488"/>
                </a:lnTo>
                <a:lnTo>
                  <a:pt x="527" y="478"/>
                </a:lnTo>
                <a:lnTo>
                  <a:pt x="517" y="478"/>
                </a:lnTo>
                <a:lnTo>
                  <a:pt x="517" y="536"/>
                </a:lnTo>
                <a:lnTo>
                  <a:pt x="527" y="546"/>
                </a:lnTo>
                <a:lnTo>
                  <a:pt x="517" y="556"/>
                </a:lnTo>
                <a:lnTo>
                  <a:pt x="527" y="556"/>
                </a:lnTo>
                <a:lnTo>
                  <a:pt x="537" y="566"/>
                </a:lnTo>
                <a:lnTo>
                  <a:pt x="547" y="576"/>
                </a:lnTo>
                <a:lnTo>
                  <a:pt x="547" y="585"/>
                </a:lnTo>
                <a:lnTo>
                  <a:pt x="537" y="595"/>
                </a:lnTo>
                <a:lnTo>
                  <a:pt x="527" y="585"/>
                </a:lnTo>
                <a:lnTo>
                  <a:pt x="508" y="585"/>
                </a:lnTo>
                <a:lnTo>
                  <a:pt x="498" y="595"/>
                </a:lnTo>
                <a:lnTo>
                  <a:pt x="508" y="605"/>
                </a:lnTo>
                <a:lnTo>
                  <a:pt x="498" y="615"/>
                </a:lnTo>
                <a:lnTo>
                  <a:pt x="478" y="615"/>
                </a:lnTo>
                <a:lnTo>
                  <a:pt x="478" y="624"/>
                </a:lnTo>
                <a:lnTo>
                  <a:pt x="498" y="624"/>
                </a:lnTo>
                <a:lnTo>
                  <a:pt x="488" y="634"/>
                </a:lnTo>
                <a:lnTo>
                  <a:pt x="488" y="644"/>
                </a:lnTo>
                <a:lnTo>
                  <a:pt x="488" y="654"/>
                </a:lnTo>
                <a:lnTo>
                  <a:pt x="498" y="663"/>
                </a:lnTo>
                <a:lnTo>
                  <a:pt x="508" y="663"/>
                </a:lnTo>
                <a:lnTo>
                  <a:pt x="508" y="673"/>
                </a:lnTo>
                <a:lnTo>
                  <a:pt x="508" y="683"/>
                </a:lnTo>
                <a:lnTo>
                  <a:pt x="527" y="683"/>
                </a:lnTo>
                <a:lnTo>
                  <a:pt x="537" y="693"/>
                </a:lnTo>
                <a:lnTo>
                  <a:pt x="527" y="693"/>
                </a:lnTo>
                <a:lnTo>
                  <a:pt x="527" y="702"/>
                </a:lnTo>
                <a:lnTo>
                  <a:pt x="547" y="702"/>
                </a:lnTo>
                <a:lnTo>
                  <a:pt x="556" y="712"/>
                </a:lnTo>
                <a:lnTo>
                  <a:pt x="537" y="712"/>
                </a:lnTo>
                <a:lnTo>
                  <a:pt x="537" y="722"/>
                </a:lnTo>
                <a:lnTo>
                  <a:pt x="556" y="722"/>
                </a:lnTo>
                <a:lnTo>
                  <a:pt x="556" y="732"/>
                </a:lnTo>
                <a:lnTo>
                  <a:pt x="556" y="741"/>
                </a:lnTo>
                <a:lnTo>
                  <a:pt x="566" y="751"/>
                </a:lnTo>
                <a:lnTo>
                  <a:pt x="566" y="761"/>
                </a:lnTo>
                <a:lnTo>
                  <a:pt x="566" y="790"/>
                </a:lnTo>
                <a:lnTo>
                  <a:pt x="586" y="819"/>
                </a:lnTo>
                <a:lnTo>
                  <a:pt x="595" y="829"/>
                </a:lnTo>
                <a:lnTo>
                  <a:pt x="605" y="849"/>
                </a:lnTo>
                <a:lnTo>
                  <a:pt x="625" y="849"/>
                </a:lnTo>
                <a:lnTo>
                  <a:pt x="634" y="849"/>
                </a:lnTo>
                <a:lnTo>
                  <a:pt x="644" y="839"/>
                </a:lnTo>
                <a:lnTo>
                  <a:pt x="654" y="849"/>
                </a:lnTo>
                <a:lnTo>
                  <a:pt x="654" y="839"/>
                </a:lnTo>
                <a:lnTo>
                  <a:pt x="654" y="829"/>
                </a:lnTo>
                <a:lnTo>
                  <a:pt x="644" y="829"/>
                </a:lnTo>
                <a:lnTo>
                  <a:pt x="634" y="810"/>
                </a:lnTo>
                <a:lnTo>
                  <a:pt x="644" y="810"/>
                </a:lnTo>
                <a:lnTo>
                  <a:pt x="654" y="810"/>
                </a:lnTo>
                <a:lnTo>
                  <a:pt x="673" y="790"/>
                </a:lnTo>
                <a:lnTo>
                  <a:pt x="683" y="790"/>
                </a:lnTo>
                <a:lnTo>
                  <a:pt x="683" y="800"/>
                </a:lnTo>
                <a:lnTo>
                  <a:pt x="703" y="810"/>
                </a:lnTo>
                <a:lnTo>
                  <a:pt x="703" y="819"/>
                </a:lnTo>
                <a:lnTo>
                  <a:pt x="703" y="829"/>
                </a:lnTo>
                <a:lnTo>
                  <a:pt x="703" y="849"/>
                </a:lnTo>
                <a:lnTo>
                  <a:pt x="683" y="868"/>
                </a:lnTo>
                <a:lnTo>
                  <a:pt x="673" y="878"/>
                </a:lnTo>
                <a:lnTo>
                  <a:pt x="664" y="888"/>
                </a:lnTo>
                <a:lnTo>
                  <a:pt x="664" y="907"/>
                </a:lnTo>
                <a:lnTo>
                  <a:pt x="654" y="907"/>
                </a:lnTo>
                <a:lnTo>
                  <a:pt x="625" y="917"/>
                </a:lnTo>
                <a:lnTo>
                  <a:pt x="605" y="937"/>
                </a:lnTo>
                <a:lnTo>
                  <a:pt x="605" y="946"/>
                </a:lnTo>
                <a:lnTo>
                  <a:pt x="605" y="956"/>
                </a:lnTo>
                <a:lnTo>
                  <a:pt x="615" y="976"/>
                </a:lnTo>
                <a:lnTo>
                  <a:pt x="615" y="995"/>
                </a:lnTo>
                <a:lnTo>
                  <a:pt x="625" y="1005"/>
                </a:lnTo>
                <a:lnTo>
                  <a:pt x="644" y="1015"/>
                </a:lnTo>
                <a:lnTo>
                  <a:pt x="644" y="1034"/>
                </a:lnTo>
                <a:lnTo>
                  <a:pt x="625" y="1063"/>
                </a:lnTo>
                <a:lnTo>
                  <a:pt x="615" y="1093"/>
                </a:lnTo>
                <a:lnTo>
                  <a:pt x="605" y="1093"/>
                </a:lnTo>
                <a:lnTo>
                  <a:pt x="586" y="1093"/>
                </a:lnTo>
                <a:lnTo>
                  <a:pt x="576" y="1102"/>
                </a:lnTo>
                <a:lnTo>
                  <a:pt x="576" y="1122"/>
                </a:lnTo>
                <a:lnTo>
                  <a:pt x="576" y="1141"/>
                </a:lnTo>
                <a:lnTo>
                  <a:pt x="576" y="1151"/>
                </a:lnTo>
                <a:lnTo>
                  <a:pt x="586" y="1161"/>
                </a:lnTo>
                <a:lnTo>
                  <a:pt x="595" y="1161"/>
                </a:lnTo>
                <a:lnTo>
                  <a:pt x="615" y="1151"/>
                </a:lnTo>
                <a:lnTo>
                  <a:pt x="634" y="1141"/>
                </a:lnTo>
                <a:lnTo>
                  <a:pt x="644" y="1141"/>
                </a:lnTo>
                <a:lnTo>
                  <a:pt x="644" y="1210"/>
                </a:lnTo>
                <a:lnTo>
                  <a:pt x="625" y="1219"/>
                </a:lnTo>
                <a:lnTo>
                  <a:pt x="615" y="1229"/>
                </a:lnTo>
                <a:lnTo>
                  <a:pt x="605" y="1239"/>
                </a:lnTo>
                <a:lnTo>
                  <a:pt x="595" y="1249"/>
                </a:lnTo>
                <a:lnTo>
                  <a:pt x="595" y="1278"/>
                </a:lnTo>
                <a:lnTo>
                  <a:pt x="586" y="1288"/>
                </a:lnTo>
                <a:lnTo>
                  <a:pt x="566" y="1288"/>
                </a:lnTo>
                <a:lnTo>
                  <a:pt x="556" y="1298"/>
                </a:lnTo>
                <a:lnTo>
                  <a:pt x="547" y="1307"/>
                </a:lnTo>
                <a:lnTo>
                  <a:pt x="527" y="1288"/>
                </a:lnTo>
                <a:lnTo>
                  <a:pt x="527" y="1278"/>
                </a:lnTo>
                <a:lnTo>
                  <a:pt x="517" y="1258"/>
                </a:lnTo>
                <a:lnTo>
                  <a:pt x="508" y="1249"/>
                </a:lnTo>
                <a:lnTo>
                  <a:pt x="498" y="1229"/>
                </a:lnTo>
                <a:lnTo>
                  <a:pt x="488" y="1210"/>
                </a:lnTo>
                <a:lnTo>
                  <a:pt x="488" y="1200"/>
                </a:lnTo>
                <a:lnTo>
                  <a:pt x="488" y="1190"/>
                </a:lnTo>
                <a:lnTo>
                  <a:pt x="478" y="1171"/>
                </a:lnTo>
                <a:lnTo>
                  <a:pt x="468" y="1161"/>
                </a:lnTo>
                <a:lnTo>
                  <a:pt x="488" y="1151"/>
                </a:lnTo>
                <a:lnTo>
                  <a:pt x="468" y="1141"/>
                </a:lnTo>
                <a:lnTo>
                  <a:pt x="468" y="1122"/>
                </a:lnTo>
                <a:lnTo>
                  <a:pt x="459" y="1112"/>
                </a:lnTo>
                <a:lnTo>
                  <a:pt x="439" y="1102"/>
                </a:lnTo>
                <a:lnTo>
                  <a:pt x="429" y="1093"/>
                </a:lnTo>
                <a:lnTo>
                  <a:pt x="420" y="1083"/>
                </a:lnTo>
                <a:lnTo>
                  <a:pt x="429" y="1083"/>
                </a:lnTo>
                <a:lnTo>
                  <a:pt x="439" y="1073"/>
                </a:lnTo>
                <a:lnTo>
                  <a:pt x="449" y="1073"/>
                </a:lnTo>
                <a:lnTo>
                  <a:pt x="449" y="1054"/>
                </a:lnTo>
                <a:lnTo>
                  <a:pt x="439" y="1044"/>
                </a:lnTo>
                <a:lnTo>
                  <a:pt x="439" y="1034"/>
                </a:lnTo>
                <a:lnTo>
                  <a:pt x="449" y="1024"/>
                </a:lnTo>
                <a:lnTo>
                  <a:pt x="459" y="1015"/>
                </a:lnTo>
                <a:lnTo>
                  <a:pt x="449" y="995"/>
                </a:lnTo>
                <a:lnTo>
                  <a:pt x="449" y="985"/>
                </a:lnTo>
                <a:lnTo>
                  <a:pt x="449" y="946"/>
                </a:lnTo>
                <a:lnTo>
                  <a:pt x="459" y="937"/>
                </a:lnTo>
                <a:lnTo>
                  <a:pt x="449" y="927"/>
                </a:lnTo>
                <a:lnTo>
                  <a:pt x="449" y="907"/>
                </a:lnTo>
                <a:lnTo>
                  <a:pt x="449" y="897"/>
                </a:lnTo>
                <a:lnTo>
                  <a:pt x="449" y="888"/>
                </a:lnTo>
                <a:lnTo>
                  <a:pt x="429" y="878"/>
                </a:lnTo>
                <a:lnTo>
                  <a:pt x="429" y="868"/>
                </a:lnTo>
                <a:lnTo>
                  <a:pt x="420" y="849"/>
                </a:lnTo>
                <a:lnTo>
                  <a:pt x="420" y="839"/>
                </a:lnTo>
                <a:lnTo>
                  <a:pt x="420" y="819"/>
                </a:lnTo>
                <a:lnTo>
                  <a:pt x="420" y="810"/>
                </a:lnTo>
                <a:lnTo>
                  <a:pt x="420" y="800"/>
                </a:lnTo>
                <a:lnTo>
                  <a:pt x="410" y="780"/>
                </a:lnTo>
                <a:lnTo>
                  <a:pt x="410" y="761"/>
                </a:lnTo>
                <a:lnTo>
                  <a:pt x="410" y="751"/>
                </a:lnTo>
                <a:lnTo>
                  <a:pt x="400" y="741"/>
                </a:lnTo>
                <a:lnTo>
                  <a:pt x="400" y="712"/>
                </a:lnTo>
                <a:lnTo>
                  <a:pt x="400" y="693"/>
                </a:lnTo>
                <a:lnTo>
                  <a:pt x="381" y="673"/>
                </a:lnTo>
                <a:lnTo>
                  <a:pt x="371" y="654"/>
                </a:lnTo>
                <a:lnTo>
                  <a:pt x="381" y="634"/>
                </a:lnTo>
                <a:lnTo>
                  <a:pt x="381" y="624"/>
                </a:lnTo>
                <a:lnTo>
                  <a:pt x="381" y="615"/>
                </a:lnTo>
                <a:lnTo>
                  <a:pt x="381" y="605"/>
                </a:lnTo>
                <a:lnTo>
                  <a:pt x="381" y="595"/>
                </a:lnTo>
                <a:lnTo>
                  <a:pt x="390" y="595"/>
                </a:lnTo>
                <a:lnTo>
                  <a:pt x="390" y="585"/>
                </a:lnTo>
                <a:lnTo>
                  <a:pt x="390" y="566"/>
                </a:lnTo>
                <a:lnTo>
                  <a:pt x="371" y="566"/>
                </a:lnTo>
                <a:lnTo>
                  <a:pt x="371" y="556"/>
                </a:lnTo>
                <a:lnTo>
                  <a:pt x="371" y="546"/>
                </a:lnTo>
                <a:lnTo>
                  <a:pt x="371" y="536"/>
                </a:lnTo>
                <a:lnTo>
                  <a:pt x="361" y="527"/>
                </a:lnTo>
                <a:lnTo>
                  <a:pt x="351" y="527"/>
                </a:lnTo>
                <a:lnTo>
                  <a:pt x="342" y="527"/>
                </a:lnTo>
                <a:lnTo>
                  <a:pt x="332" y="517"/>
                </a:lnTo>
                <a:lnTo>
                  <a:pt x="322" y="517"/>
                </a:lnTo>
                <a:lnTo>
                  <a:pt x="322" y="497"/>
                </a:lnTo>
                <a:lnTo>
                  <a:pt x="312" y="497"/>
                </a:lnTo>
                <a:lnTo>
                  <a:pt x="303" y="488"/>
                </a:lnTo>
                <a:lnTo>
                  <a:pt x="293" y="478"/>
                </a:lnTo>
                <a:lnTo>
                  <a:pt x="273" y="458"/>
                </a:lnTo>
                <a:lnTo>
                  <a:pt x="273" y="449"/>
                </a:lnTo>
                <a:lnTo>
                  <a:pt x="273" y="429"/>
                </a:lnTo>
                <a:lnTo>
                  <a:pt x="283" y="410"/>
                </a:lnTo>
                <a:lnTo>
                  <a:pt x="293" y="410"/>
                </a:lnTo>
                <a:lnTo>
                  <a:pt x="293" y="400"/>
                </a:lnTo>
                <a:lnTo>
                  <a:pt x="293" y="390"/>
                </a:lnTo>
                <a:lnTo>
                  <a:pt x="283" y="400"/>
                </a:lnTo>
                <a:lnTo>
                  <a:pt x="273" y="410"/>
                </a:lnTo>
                <a:lnTo>
                  <a:pt x="264" y="410"/>
                </a:lnTo>
                <a:lnTo>
                  <a:pt x="254" y="410"/>
                </a:lnTo>
                <a:lnTo>
                  <a:pt x="244" y="429"/>
                </a:lnTo>
                <a:lnTo>
                  <a:pt x="244" y="449"/>
                </a:lnTo>
                <a:lnTo>
                  <a:pt x="234" y="458"/>
                </a:lnTo>
                <a:lnTo>
                  <a:pt x="225" y="458"/>
                </a:lnTo>
                <a:lnTo>
                  <a:pt x="225" y="478"/>
                </a:lnTo>
                <a:lnTo>
                  <a:pt x="234" y="488"/>
                </a:lnTo>
                <a:lnTo>
                  <a:pt x="244" y="488"/>
                </a:lnTo>
                <a:lnTo>
                  <a:pt x="244" y="497"/>
                </a:lnTo>
                <a:lnTo>
                  <a:pt x="254" y="507"/>
                </a:lnTo>
                <a:lnTo>
                  <a:pt x="264" y="507"/>
                </a:lnTo>
                <a:lnTo>
                  <a:pt x="273" y="517"/>
                </a:lnTo>
                <a:lnTo>
                  <a:pt x="273" y="527"/>
                </a:lnTo>
                <a:lnTo>
                  <a:pt x="283" y="536"/>
                </a:lnTo>
                <a:lnTo>
                  <a:pt x="303" y="536"/>
                </a:lnTo>
                <a:lnTo>
                  <a:pt x="312" y="536"/>
                </a:lnTo>
                <a:lnTo>
                  <a:pt x="312" y="556"/>
                </a:lnTo>
                <a:lnTo>
                  <a:pt x="303" y="556"/>
                </a:lnTo>
                <a:lnTo>
                  <a:pt x="293" y="556"/>
                </a:lnTo>
                <a:lnTo>
                  <a:pt x="283" y="566"/>
                </a:lnTo>
                <a:lnTo>
                  <a:pt x="283" y="576"/>
                </a:lnTo>
                <a:lnTo>
                  <a:pt x="254" y="556"/>
                </a:lnTo>
                <a:lnTo>
                  <a:pt x="264" y="536"/>
                </a:lnTo>
                <a:lnTo>
                  <a:pt x="254" y="536"/>
                </a:lnTo>
                <a:lnTo>
                  <a:pt x="234" y="536"/>
                </a:lnTo>
                <a:lnTo>
                  <a:pt x="234" y="527"/>
                </a:lnTo>
                <a:lnTo>
                  <a:pt x="225" y="517"/>
                </a:lnTo>
                <a:lnTo>
                  <a:pt x="215" y="497"/>
                </a:lnTo>
                <a:lnTo>
                  <a:pt x="195" y="488"/>
                </a:lnTo>
                <a:lnTo>
                  <a:pt x="156" y="478"/>
                </a:lnTo>
                <a:lnTo>
                  <a:pt x="156" y="449"/>
                </a:lnTo>
                <a:lnTo>
                  <a:pt x="127" y="449"/>
                </a:lnTo>
                <a:lnTo>
                  <a:pt x="127" y="439"/>
                </a:lnTo>
                <a:lnTo>
                  <a:pt x="127" y="429"/>
                </a:lnTo>
                <a:lnTo>
                  <a:pt x="117" y="410"/>
                </a:lnTo>
                <a:lnTo>
                  <a:pt x="108" y="410"/>
                </a:lnTo>
                <a:lnTo>
                  <a:pt x="98" y="410"/>
                </a:lnTo>
                <a:lnTo>
                  <a:pt x="78" y="410"/>
                </a:lnTo>
                <a:lnTo>
                  <a:pt x="78" y="400"/>
                </a:lnTo>
                <a:lnTo>
                  <a:pt x="78" y="390"/>
                </a:lnTo>
                <a:lnTo>
                  <a:pt x="59" y="380"/>
                </a:lnTo>
                <a:lnTo>
                  <a:pt x="49" y="380"/>
                </a:lnTo>
                <a:lnTo>
                  <a:pt x="59" y="371"/>
                </a:lnTo>
                <a:lnTo>
                  <a:pt x="49" y="351"/>
                </a:lnTo>
                <a:lnTo>
                  <a:pt x="30" y="351"/>
                </a:lnTo>
                <a:lnTo>
                  <a:pt x="20" y="332"/>
                </a:lnTo>
                <a:lnTo>
                  <a:pt x="10" y="322"/>
                </a:lnTo>
                <a:lnTo>
                  <a:pt x="0" y="312"/>
                </a:lnTo>
                <a:lnTo>
                  <a:pt x="20" y="293"/>
                </a:lnTo>
                <a:lnTo>
                  <a:pt x="30" y="273"/>
                </a:lnTo>
                <a:lnTo>
                  <a:pt x="39" y="263"/>
                </a:lnTo>
                <a:lnTo>
                  <a:pt x="59" y="263"/>
                </a:lnTo>
                <a:lnTo>
                  <a:pt x="49" y="244"/>
                </a:lnTo>
                <a:close/>
              </a:path>
            </a:pathLst>
          </a:custGeom>
          <a:solidFill>
            <a:srgbClr val="969696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grpSp>
        <p:nvGrpSpPr>
          <p:cNvPr id="18647" name="Group 53"/>
          <p:cNvGrpSpPr>
            <a:grpSpLocks noChangeAspect="1"/>
          </p:cNvGrpSpPr>
          <p:nvPr>
            <p:custDataLst>
              <p:tags r:id="rId213"/>
            </p:custDataLst>
          </p:nvPr>
        </p:nvGrpSpPr>
        <p:grpSpPr bwMode="auto">
          <a:xfrm>
            <a:off x="7054850" y="3400425"/>
            <a:ext cx="469900" cy="814388"/>
            <a:chOff x="8086" y="888"/>
            <a:chExt cx="703" cy="1307"/>
          </a:xfrm>
        </p:grpSpPr>
        <p:sp>
          <p:nvSpPr>
            <p:cNvPr id="18740" name="Freeform 55"/>
            <p:cNvSpPr>
              <a:spLocks noChangeAspect="1"/>
            </p:cNvSpPr>
            <p:nvPr/>
          </p:nvSpPr>
          <p:spPr bwMode="auto">
            <a:xfrm>
              <a:off x="8086" y="888"/>
              <a:ext cx="703" cy="1307"/>
            </a:xfrm>
            <a:custGeom>
              <a:avLst/>
              <a:gdLst>
                <a:gd name="T0" fmla="*/ 88 w 703"/>
                <a:gd name="T1" fmla="*/ 244 h 1307"/>
                <a:gd name="T2" fmla="*/ 176 w 703"/>
                <a:gd name="T3" fmla="*/ 166 h 1307"/>
                <a:gd name="T4" fmla="*/ 273 w 703"/>
                <a:gd name="T5" fmla="*/ 127 h 1307"/>
                <a:gd name="T6" fmla="*/ 342 w 703"/>
                <a:gd name="T7" fmla="*/ 215 h 1307"/>
                <a:gd name="T8" fmla="*/ 449 w 703"/>
                <a:gd name="T9" fmla="*/ 185 h 1307"/>
                <a:gd name="T10" fmla="*/ 488 w 703"/>
                <a:gd name="T11" fmla="*/ 88 h 1307"/>
                <a:gd name="T12" fmla="*/ 537 w 703"/>
                <a:gd name="T13" fmla="*/ 10 h 1307"/>
                <a:gd name="T14" fmla="*/ 605 w 703"/>
                <a:gd name="T15" fmla="*/ 10 h 1307"/>
                <a:gd name="T16" fmla="*/ 615 w 703"/>
                <a:gd name="T17" fmla="*/ 58 h 1307"/>
                <a:gd name="T18" fmla="*/ 625 w 703"/>
                <a:gd name="T19" fmla="*/ 88 h 1307"/>
                <a:gd name="T20" fmla="*/ 625 w 703"/>
                <a:gd name="T21" fmla="*/ 117 h 1307"/>
                <a:gd name="T22" fmla="*/ 634 w 703"/>
                <a:gd name="T23" fmla="*/ 156 h 1307"/>
                <a:gd name="T24" fmla="*/ 644 w 703"/>
                <a:gd name="T25" fmla="*/ 175 h 1307"/>
                <a:gd name="T26" fmla="*/ 654 w 703"/>
                <a:gd name="T27" fmla="*/ 215 h 1307"/>
                <a:gd name="T28" fmla="*/ 654 w 703"/>
                <a:gd name="T29" fmla="*/ 273 h 1307"/>
                <a:gd name="T30" fmla="*/ 703 w 703"/>
                <a:gd name="T31" fmla="*/ 312 h 1307"/>
                <a:gd name="T32" fmla="*/ 625 w 703"/>
                <a:gd name="T33" fmla="*/ 332 h 1307"/>
                <a:gd name="T34" fmla="*/ 576 w 703"/>
                <a:gd name="T35" fmla="*/ 371 h 1307"/>
                <a:gd name="T36" fmla="*/ 556 w 703"/>
                <a:gd name="T37" fmla="*/ 449 h 1307"/>
                <a:gd name="T38" fmla="*/ 576 w 703"/>
                <a:gd name="T39" fmla="*/ 488 h 1307"/>
                <a:gd name="T40" fmla="*/ 556 w 703"/>
                <a:gd name="T41" fmla="*/ 507 h 1307"/>
                <a:gd name="T42" fmla="*/ 527 w 703"/>
                <a:gd name="T43" fmla="*/ 546 h 1307"/>
                <a:gd name="T44" fmla="*/ 537 w 703"/>
                <a:gd name="T45" fmla="*/ 595 h 1307"/>
                <a:gd name="T46" fmla="*/ 508 w 703"/>
                <a:gd name="T47" fmla="*/ 605 h 1307"/>
                <a:gd name="T48" fmla="*/ 488 w 703"/>
                <a:gd name="T49" fmla="*/ 634 h 1307"/>
                <a:gd name="T50" fmla="*/ 508 w 703"/>
                <a:gd name="T51" fmla="*/ 683 h 1307"/>
                <a:gd name="T52" fmla="*/ 556 w 703"/>
                <a:gd name="T53" fmla="*/ 712 h 1307"/>
                <a:gd name="T54" fmla="*/ 556 w 703"/>
                <a:gd name="T55" fmla="*/ 741 h 1307"/>
                <a:gd name="T56" fmla="*/ 605 w 703"/>
                <a:gd name="T57" fmla="*/ 849 h 1307"/>
                <a:gd name="T58" fmla="*/ 654 w 703"/>
                <a:gd name="T59" fmla="*/ 829 h 1307"/>
                <a:gd name="T60" fmla="*/ 683 w 703"/>
                <a:gd name="T61" fmla="*/ 790 h 1307"/>
                <a:gd name="T62" fmla="*/ 683 w 703"/>
                <a:gd name="T63" fmla="*/ 868 h 1307"/>
                <a:gd name="T64" fmla="*/ 605 w 703"/>
                <a:gd name="T65" fmla="*/ 937 h 1307"/>
                <a:gd name="T66" fmla="*/ 644 w 703"/>
                <a:gd name="T67" fmla="*/ 1024 h 1307"/>
                <a:gd name="T68" fmla="*/ 576 w 703"/>
                <a:gd name="T69" fmla="*/ 1102 h 1307"/>
                <a:gd name="T70" fmla="*/ 615 w 703"/>
                <a:gd name="T71" fmla="*/ 1151 h 1307"/>
                <a:gd name="T72" fmla="*/ 605 w 703"/>
                <a:gd name="T73" fmla="*/ 1239 h 1307"/>
                <a:gd name="T74" fmla="*/ 547 w 703"/>
                <a:gd name="T75" fmla="*/ 1307 h 1307"/>
                <a:gd name="T76" fmla="*/ 488 w 703"/>
                <a:gd name="T77" fmla="*/ 1210 h 1307"/>
                <a:gd name="T78" fmla="*/ 488 w 703"/>
                <a:gd name="T79" fmla="*/ 1151 h 1307"/>
                <a:gd name="T80" fmla="*/ 420 w 703"/>
                <a:gd name="T81" fmla="*/ 1083 h 1307"/>
                <a:gd name="T82" fmla="*/ 439 w 703"/>
                <a:gd name="T83" fmla="*/ 1034 h 1307"/>
                <a:gd name="T84" fmla="*/ 459 w 703"/>
                <a:gd name="T85" fmla="*/ 937 h 1307"/>
                <a:gd name="T86" fmla="*/ 429 w 703"/>
                <a:gd name="T87" fmla="*/ 868 h 1307"/>
                <a:gd name="T88" fmla="*/ 410 w 703"/>
                <a:gd name="T89" fmla="*/ 780 h 1307"/>
                <a:gd name="T90" fmla="*/ 381 w 703"/>
                <a:gd name="T91" fmla="*/ 683 h 1307"/>
                <a:gd name="T92" fmla="*/ 381 w 703"/>
                <a:gd name="T93" fmla="*/ 595 h 1307"/>
                <a:gd name="T94" fmla="*/ 371 w 703"/>
                <a:gd name="T95" fmla="*/ 546 h 1307"/>
                <a:gd name="T96" fmla="*/ 322 w 703"/>
                <a:gd name="T97" fmla="*/ 517 h 1307"/>
                <a:gd name="T98" fmla="*/ 273 w 703"/>
                <a:gd name="T99" fmla="*/ 449 h 1307"/>
                <a:gd name="T100" fmla="*/ 283 w 703"/>
                <a:gd name="T101" fmla="*/ 400 h 1307"/>
                <a:gd name="T102" fmla="*/ 244 w 703"/>
                <a:gd name="T103" fmla="*/ 449 h 1307"/>
                <a:gd name="T104" fmla="*/ 244 w 703"/>
                <a:gd name="T105" fmla="*/ 497 h 1307"/>
                <a:gd name="T106" fmla="*/ 303 w 703"/>
                <a:gd name="T107" fmla="*/ 536 h 1307"/>
                <a:gd name="T108" fmla="*/ 283 w 703"/>
                <a:gd name="T109" fmla="*/ 566 h 1307"/>
                <a:gd name="T110" fmla="*/ 234 w 703"/>
                <a:gd name="T111" fmla="*/ 536 h 1307"/>
                <a:gd name="T112" fmla="*/ 156 w 703"/>
                <a:gd name="T113" fmla="*/ 478 h 1307"/>
                <a:gd name="T114" fmla="*/ 108 w 703"/>
                <a:gd name="T115" fmla="*/ 410 h 1307"/>
                <a:gd name="T116" fmla="*/ 49 w 703"/>
                <a:gd name="T117" fmla="*/ 380 h 1307"/>
                <a:gd name="T118" fmla="*/ 0 w 703"/>
                <a:gd name="T119" fmla="*/ 312 h 1307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703"/>
                <a:gd name="T181" fmla="*/ 0 h 1307"/>
                <a:gd name="T182" fmla="*/ 703 w 703"/>
                <a:gd name="T183" fmla="*/ 1307 h 1307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703" h="1307">
                  <a:moveTo>
                    <a:pt x="49" y="244"/>
                  </a:moveTo>
                  <a:lnTo>
                    <a:pt x="59" y="234"/>
                  </a:lnTo>
                  <a:lnTo>
                    <a:pt x="69" y="234"/>
                  </a:lnTo>
                  <a:lnTo>
                    <a:pt x="78" y="224"/>
                  </a:lnTo>
                  <a:lnTo>
                    <a:pt x="88" y="224"/>
                  </a:lnTo>
                  <a:lnTo>
                    <a:pt x="88" y="244"/>
                  </a:lnTo>
                  <a:lnTo>
                    <a:pt x="108" y="244"/>
                  </a:lnTo>
                  <a:lnTo>
                    <a:pt x="108" y="215"/>
                  </a:lnTo>
                  <a:lnTo>
                    <a:pt x="127" y="205"/>
                  </a:lnTo>
                  <a:lnTo>
                    <a:pt x="137" y="175"/>
                  </a:lnTo>
                  <a:lnTo>
                    <a:pt x="156" y="175"/>
                  </a:lnTo>
                  <a:lnTo>
                    <a:pt x="176" y="166"/>
                  </a:lnTo>
                  <a:lnTo>
                    <a:pt x="176" y="146"/>
                  </a:lnTo>
                  <a:lnTo>
                    <a:pt x="195" y="136"/>
                  </a:lnTo>
                  <a:lnTo>
                    <a:pt x="215" y="136"/>
                  </a:lnTo>
                  <a:lnTo>
                    <a:pt x="244" y="146"/>
                  </a:lnTo>
                  <a:lnTo>
                    <a:pt x="264" y="146"/>
                  </a:lnTo>
                  <a:lnTo>
                    <a:pt x="273" y="127"/>
                  </a:lnTo>
                  <a:lnTo>
                    <a:pt x="303" y="127"/>
                  </a:lnTo>
                  <a:lnTo>
                    <a:pt x="312" y="136"/>
                  </a:lnTo>
                  <a:lnTo>
                    <a:pt x="312" y="156"/>
                  </a:lnTo>
                  <a:lnTo>
                    <a:pt x="322" y="195"/>
                  </a:lnTo>
                  <a:lnTo>
                    <a:pt x="322" y="215"/>
                  </a:lnTo>
                  <a:lnTo>
                    <a:pt x="342" y="215"/>
                  </a:lnTo>
                  <a:lnTo>
                    <a:pt x="342" y="205"/>
                  </a:lnTo>
                  <a:lnTo>
                    <a:pt x="371" y="195"/>
                  </a:lnTo>
                  <a:lnTo>
                    <a:pt x="400" y="175"/>
                  </a:lnTo>
                  <a:lnTo>
                    <a:pt x="410" y="166"/>
                  </a:lnTo>
                  <a:lnTo>
                    <a:pt x="429" y="175"/>
                  </a:lnTo>
                  <a:lnTo>
                    <a:pt x="449" y="185"/>
                  </a:lnTo>
                  <a:lnTo>
                    <a:pt x="459" y="185"/>
                  </a:lnTo>
                  <a:lnTo>
                    <a:pt x="468" y="175"/>
                  </a:lnTo>
                  <a:lnTo>
                    <a:pt x="468" y="146"/>
                  </a:lnTo>
                  <a:lnTo>
                    <a:pt x="468" y="127"/>
                  </a:lnTo>
                  <a:lnTo>
                    <a:pt x="488" y="107"/>
                  </a:lnTo>
                  <a:lnTo>
                    <a:pt x="488" y="88"/>
                  </a:lnTo>
                  <a:lnTo>
                    <a:pt x="498" y="68"/>
                  </a:lnTo>
                  <a:lnTo>
                    <a:pt x="508" y="68"/>
                  </a:lnTo>
                  <a:lnTo>
                    <a:pt x="517" y="49"/>
                  </a:lnTo>
                  <a:lnTo>
                    <a:pt x="517" y="19"/>
                  </a:lnTo>
                  <a:lnTo>
                    <a:pt x="527" y="10"/>
                  </a:lnTo>
                  <a:lnTo>
                    <a:pt x="537" y="10"/>
                  </a:lnTo>
                  <a:lnTo>
                    <a:pt x="547" y="0"/>
                  </a:lnTo>
                  <a:lnTo>
                    <a:pt x="547" y="19"/>
                  </a:lnTo>
                  <a:lnTo>
                    <a:pt x="556" y="19"/>
                  </a:lnTo>
                  <a:lnTo>
                    <a:pt x="576" y="10"/>
                  </a:lnTo>
                  <a:lnTo>
                    <a:pt x="595" y="10"/>
                  </a:lnTo>
                  <a:lnTo>
                    <a:pt x="605" y="10"/>
                  </a:lnTo>
                  <a:lnTo>
                    <a:pt x="615" y="10"/>
                  </a:lnTo>
                  <a:lnTo>
                    <a:pt x="615" y="29"/>
                  </a:lnTo>
                  <a:lnTo>
                    <a:pt x="605" y="29"/>
                  </a:lnTo>
                  <a:lnTo>
                    <a:pt x="605" y="39"/>
                  </a:lnTo>
                  <a:lnTo>
                    <a:pt x="615" y="49"/>
                  </a:lnTo>
                  <a:lnTo>
                    <a:pt x="615" y="58"/>
                  </a:lnTo>
                  <a:lnTo>
                    <a:pt x="605" y="58"/>
                  </a:lnTo>
                  <a:lnTo>
                    <a:pt x="605" y="68"/>
                  </a:lnTo>
                  <a:lnTo>
                    <a:pt x="605" y="78"/>
                  </a:lnTo>
                  <a:lnTo>
                    <a:pt x="615" y="78"/>
                  </a:lnTo>
                  <a:lnTo>
                    <a:pt x="615" y="88"/>
                  </a:lnTo>
                  <a:lnTo>
                    <a:pt x="625" y="88"/>
                  </a:lnTo>
                  <a:lnTo>
                    <a:pt x="625" y="97"/>
                  </a:lnTo>
                  <a:lnTo>
                    <a:pt x="625" y="107"/>
                  </a:lnTo>
                  <a:lnTo>
                    <a:pt x="615" y="107"/>
                  </a:lnTo>
                  <a:lnTo>
                    <a:pt x="605" y="117"/>
                  </a:lnTo>
                  <a:lnTo>
                    <a:pt x="625" y="117"/>
                  </a:lnTo>
                  <a:lnTo>
                    <a:pt x="634" y="127"/>
                  </a:lnTo>
                  <a:lnTo>
                    <a:pt x="634" y="136"/>
                  </a:lnTo>
                  <a:lnTo>
                    <a:pt x="634" y="146"/>
                  </a:lnTo>
                  <a:lnTo>
                    <a:pt x="625" y="156"/>
                  </a:lnTo>
                  <a:lnTo>
                    <a:pt x="634" y="156"/>
                  </a:lnTo>
                  <a:lnTo>
                    <a:pt x="644" y="156"/>
                  </a:lnTo>
                  <a:lnTo>
                    <a:pt x="644" y="166"/>
                  </a:lnTo>
                  <a:lnTo>
                    <a:pt x="634" y="166"/>
                  </a:lnTo>
                  <a:lnTo>
                    <a:pt x="644" y="175"/>
                  </a:lnTo>
                  <a:lnTo>
                    <a:pt x="654" y="175"/>
                  </a:lnTo>
                  <a:lnTo>
                    <a:pt x="644" y="175"/>
                  </a:lnTo>
                  <a:lnTo>
                    <a:pt x="644" y="185"/>
                  </a:lnTo>
                  <a:lnTo>
                    <a:pt x="654" y="195"/>
                  </a:lnTo>
                  <a:lnTo>
                    <a:pt x="644" y="195"/>
                  </a:lnTo>
                  <a:lnTo>
                    <a:pt x="644" y="205"/>
                  </a:lnTo>
                  <a:lnTo>
                    <a:pt x="654" y="205"/>
                  </a:lnTo>
                  <a:lnTo>
                    <a:pt x="654" y="215"/>
                  </a:lnTo>
                  <a:lnTo>
                    <a:pt x="654" y="224"/>
                  </a:lnTo>
                  <a:lnTo>
                    <a:pt x="654" y="234"/>
                  </a:lnTo>
                  <a:lnTo>
                    <a:pt x="654" y="244"/>
                  </a:lnTo>
                  <a:lnTo>
                    <a:pt x="654" y="263"/>
                  </a:lnTo>
                  <a:lnTo>
                    <a:pt x="664" y="273"/>
                  </a:lnTo>
                  <a:lnTo>
                    <a:pt x="654" y="273"/>
                  </a:lnTo>
                  <a:lnTo>
                    <a:pt x="664" y="273"/>
                  </a:lnTo>
                  <a:lnTo>
                    <a:pt x="673" y="283"/>
                  </a:lnTo>
                  <a:lnTo>
                    <a:pt x="673" y="293"/>
                  </a:lnTo>
                  <a:lnTo>
                    <a:pt x="683" y="302"/>
                  </a:lnTo>
                  <a:lnTo>
                    <a:pt x="693" y="302"/>
                  </a:lnTo>
                  <a:lnTo>
                    <a:pt x="703" y="312"/>
                  </a:lnTo>
                  <a:lnTo>
                    <a:pt x="703" y="322"/>
                  </a:lnTo>
                  <a:lnTo>
                    <a:pt x="683" y="322"/>
                  </a:lnTo>
                  <a:lnTo>
                    <a:pt x="673" y="332"/>
                  </a:lnTo>
                  <a:lnTo>
                    <a:pt x="654" y="332"/>
                  </a:lnTo>
                  <a:lnTo>
                    <a:pt x="644" y="322"/>
                  </a:lnTo>
                  <a:lnTo>
                    <a:pt x="625" y="332"/>
                  </a:lnTo>
                  <a:lnTo>
                    <a:pt x="615" y="332"/>
                  </a:lnTo>
                  <a:lnTo>
                    <a:pt x="605" y="332"/>
                  </a:lnTo>
                  <a:lnTo>
                    <a:pt x="595" y="332"/>
                  </a:lnTo>
                  <a:lnTo>
                    <a:pt x="595" y="351"/>
                  </a:lnTo>
                  <a:lnTo>
                    <a:pt x="586" y="361"/>
                  </a:lnTo>
                  <a:lnTo>
                    <a:pt x="576" y="371"/>
                  </a:lnTo>
                  <a:lnTo>
                    <a:pt x="566" y="400"/>
                  </a:lnTo>
                  <a:lnTo>
                    <a:pt x="566" y="410"/>
                  </a:lnTo>
                  <a:lnTo>
                    <a:pt x="566" y="429"/>
                  </a:lnTo>
                  <a:lnTo>
                    <a:pt x="566" y="449"/>
                  </a:lnTo>
                  <a:lnTo>
                    <a:pt x="556" y="449"/>
                  </a:lnTo>
                  <a:lnTo>
                    <a:pt x="556" y="458"/>
                  </a:lnTo>
                  <a:lnTo>
                    <a:pt x="556" y="468"/>
                  </a:lnTo>
                  <a:lnTo>
                    <a:pt x="566" y="478"/>
                  </a:lnTo>
                  <a:lnTo>
                    <a:pt x="566" y="488"/>
                  </a:lnTo>
                  <a:lnTo>
                    <a:pt x="576" y="488"/>
                  </a:lnTo>
                  <a:lnTo>
                    <a:pt x="576" y="507"/>
                  </a:lnTo>
                  <a:lnTo>
                    <a:pt x="586" y="507"/>
                  </a:lnTo>
                  <a:lnTo>
                    <a:pt x="586" y="527"/>
                  </a:lnTo>
                  <a:lnTo>
                    <a:pt x="576" y="527"/>
                  </a:lnTo>
                  <a:lnTo>
                    <a:pt x="566" y="517"/>
                  </a:lnTo>
                  <a:lnTo>
                    <a:pt x="556" y="507"/>
                  </a:lnTo>
                  <a:lnTo>
                    <a:pt x="537" y="497"/>
                  </a:lnTo>
                  <a:lnTo>
                    <a:pt x="527" y="488"/>
                  </a:lnTo>
                  <a:lnTo>
                    <a:pt x="527" y="478"/>
                  </a:lnTo>
                  <a:lnTo>
                    <a:pt x="517" y="478"/>
                  </a:lnTo>
                  <a:lnTo>
                    <a:pt x="517" y="536"/>
                  </a:lnTo>
                  <a:lnTo>
                    <a:pt x="527" y="546"/>
                  </a:lnTo>
                  <a:lnTo>
                    <a:pt x="517" y="556"/>
                  </a:lnTo>
                  <a:lnTo>
                    <a:pt x="527" y="556"/>
                  </a:lnTo>
                  <a:lnTo>
                    <a:pt x="537" y="566"/>
                  </a:lnTo>
                  <a:lnTo>
                    <a:pt x="547" y="576"/>
                  </a:lnTo>
                  <a:lnTo>
                    <a:pt x="547" y="585"/>
                  </a:lnTo>
                  <a:lnTo>
                    <a:pt x="537" y="595"/>
                  </a:lnTo>
                  <a:lnTo>
                    <a:pt x="527" y="585"/>
                  </a:lnTo>
                  <a:lnTo>
                    <a:pt x="508" y="585"/>
                  </a:lnTo>
                  <a:lnTo>
                    <a:pt x="498" y="595"/>
                  </a:lnTo>
                  <a:lnTo>
                    <a:pt x="498" y="605"/>
                  </a:lnTo>
                  <a:lnTo>
                    <a:pt x="508" y="605"/>
                  </a:lnTo>
                  <a:lnTo>
                    <a:pt x="498" y="615"/>
                  </a:lnTo>
                  <a:lnTo>
                    <a:pt x="478" y="624"/>
                  </a:lnTo>
                  <a:lnTo>
                    <a:pt x="498" y="624"/>
                  </a:lnTo>
                  <a:lnTo>
                    <a:pt x="488" y="634"/>
                  </a:lnTo>
                  <a:lnTo>
                    <a:pt x="488" y="644"/>
                  </a:lnTo>
                  <a:lnTo>
                    <a:pt x="488" y="654"/>
                  </a:lnTo>
                  <a:lnTo>
                    <a:pt x="498" y="663"/>
                  </a:lnTo>
                  <a:lnTo>
                    <a:pt x="508" y="663"/>
                  </a:lnTo>
                  <a:lnTo>
                    <a:pt x="508" y="673"/>
                  </a:lnTo>
                  <a:lnTo>
                    <a:pt x="508" y="683"/>
                  </a:lnTo>
                  <a:lnTo>
                    <a:pt x="527" y="683"/>
                  </a:lnTo>
                  <a:lnTo>
                    <a:pt x="537" y="693"/>
                  </a:lnTo>
                  <a:lnTo>
                    <a:pt x="527" y="693"/>
                  </a:lnTo>
                  <a:lnTo>
                    <a:pt x="527" y="702"/>
                  </a:lnTo>
                  <a:lnTo>
                    <a:pt x="547" y="702"/>
                  </a:lnTo>
                  <a:lnTo>
                    <a:pt x="556" y="712"/>
                  </a:lnTo>
                  <a:lnTo>
                    <a:pt x="537" y="712"/>
                  </a:lnTo>
                  <a:lnTo>
                    <a:pt x="537" y="722"/>
                  </a:lnTo>
                  <a:lnTo>
                    <a:pt x="556" y="722"/>
                  </a:lnTo>
                  <a:lnTo>
                    <a:pt x="556" y="732"/>
                  </a:lnTo>
                  <a:lnTo>
                    <a:pt x="556" y="741"/>
                  </a:lnTo>
                  <a:lnTo>
                    <a:pt x="556" y="751"/>
                  </a:lnTo>
                  <a:lnTo>
                    <a:pt x="556" y="761"/>
                  </a:lnTo>
                  <a:lnTo>
                    <a:pt x="566" y="790"/>
                  </a:lnTo>
                  <a:lnTo>
                    <a:pt x="586" y="819"/>
                  </a:lnTo>
                  <a:lnTo>
                    <a:pt x="595" y="829"/>
                  </a:lnTo>
                  <a:lnTo>
                    <a:pt x="605" y="849"/>
                  </a:lnTo>
                  <a:lnTo>
                    <a:pt x="625" y="849"/>
                  </a:lnTo>
                  <a:lnTo>
                    <a:pt x="634" y="849"/>
                  </a:lnTo>
                  <a:lnTo>
                    <a:pt x="644" y="839"/>
                  </a:lnTo>
                  <a:lnTo>
                    <a:pt x="654" y="849"/>
                  </a:lnTo>
                  <a:lnTo>
                    <a:pt x="654" y="839"/>
                  </a:lnTo>
                  <a:lnTo>
                    <a:pt x="654" y="829"/>
                  </a:lnTo>
                  <a:lnTo>
                    <a:pt x="644" y="829"/>
                  </a:lnTo>
                  <a:lnTo>
                    <a:pt x="634" y="810"/>
                  </a:lnTo>
                  <a:lnTo>
                    <a:pt x="644" y="810"/>
                  </a:lnTo>
                  <a:lnTo>
                    <a:pt x="654" y="810"/>
                  </a:lnTo>
                  <a:lnTo>
                    <a:pt x="673" y="790"/>
                  </a:lnTo>
                  <a:lnTo>
                    <a:pt x="683" y="790"/>
                  </a:lnTo>
                  <a:lnTo>
                    <a:pt x="683" y="800"/>
                  </a:lnTo>
                  <a:lnTo>
                    <a:pt x="703" y="810"/>
                  </a:lnTo>
                  <a:lnTo>
                    <a:pt x="703" y="819"/>
                  </a:lnTo>
                  <a:lnTo>
                    <a:pt x="703" y="829"/>
                  </a:lnTo>
                  <a:lnTo>
                    <a:pt x="703" y="849"/>
                  </a:lnTo>
                  <a:lnTo>
                    <a:pt x="683" y="868"/>
                  </a:lnTo>
                  <a:lnTo>
                    <a:pt x="673" y="878"/>
                  </a:lnTo>
                  <a:lnTo>
                    <a:pt x="664" y="888"/>
                  </a:lnTo>
                  <a:lnTo>
                    <a:pt x="664" y="907"/>
                  </a:lnTo>
                  <a:lnTo>
                    <a:pt x="654" y="907"/>
                  </a:lnTo>
                  <a:lnTo>
                    <a:pt x="625" y="917"/>
                  </a:lnTo>
                  <a:lnTo>
                    <a:pt x="605" y="937"/>
                  </a:lnTo>
                  <a:lnTo>
                    <a:pt x="605" y="946"/>
                  </a:lnTo>
                  <a:lnTo>
                    <a:pt x="605" y="956"/>
                  </a:lnTo>
                  <a:lnTo>
                    <a:pt x="615" y="976"/>
                  </a:lnTo>
                  <a:lnTo>
                    <a:pt x="615" y="995"/>
                  </a:lnTo>
                  <a:lnTo>
                    <a:pt x="625" y="1005"/>
                  </a:lnTo>
                  <a:lnTo>
                    <a:pt x="644" y="1024"/>
                  </a:lnTo>
                  <a:lnTo>
                    <a:pt x="644" y="1034"/>
                  </a:lnTo>
                  <a:lnTo>
                    <a:pt x="625" y="1063"/>
                  </a:lnTo>
                  <a:lnTo>
                    <a:pt x="615" y="1093"/>
                  </a:lnTo>
                  <a:lnTo>
                    <a:pt x="605" y="1093"/>
                  </a:lnTo>
                  <a:lnTo>
                    <a:pt x="586" y="1102"/>
                  </a:lnTo>
                  <a:lnTo>
                    <a:pt x="576" y="1102"/>
                  </a:lnTo>
                  <a:lnTo>
                    <a:pt x="576" y="1122"/>
                  </a:lnTo>
                  <a:lnTo>
                    <a:pt x="576" y="1141"/>
                  </a:lnTo>
                  <a:lnTo>
                    <a:pt x="576" y="1151"/>
                  </a:lnTo>
                  <a:lnTo>
                    <a:pt x="586" y="1161"/>
                  </a:lnTo>
                  <a:lnTo>
                    <a:pt x="595" y="1161"/>
                  </a:lnTo>
                  <a:lnTo>
                    <a:pt x="615" y="1151"/>
                  </a:lnTo>
                  <a:lnTo>
                    <a:pt x="634" y="1141"/>
                  </a:lnTo>
                  <a:lnTo>
                    <a:pt x="644" y="1141"/>
                  </a:lnTo>
                  <a:lnTo>
                    <a:pt x="644" y="1219"/>
                  </a:lnTo>
                  <a:lnTo>
                    <a:pt x="625" y="1219"/>
                  </a:lnTo>
                  <a:lnTo>
                    <a:pt x="615" y="1229"/>
                  </a:lnTo>
                  <a:lnTo>
                    <a:pt x="605" y="1239"/>
                  </a:lnTo>
                  <a:lnTo>
                    <a:pt x="595" y="1249"/>
                  </a:lnTo>
                  <a:lnTo>
                    <a:pt x="595" y="1278"/>
                  </a:lnTo>
                  <a:lnTo>
                    <a:pt x="586" y="1288"/>
                  </a:lnTo>
                  <a:lnTo>
                    <a:pt x="566" y="1288"/>
                  </a:lnTo>
                  <a:lnTo>
                    <a:pt x="556" y="1298"/>
                  </a:lnTo>
                  <a:lnTo>
                    <a:pt x="547" y="1307"/>
                  </a:lnTo>
                  <a:lnTo>
                    <a:pt x="527" y="1288"/>
                  </a:lnTo>
                  <a:lnTo>
                    <a:pt x="527" y="1278"/>
                  </a:lnTo>
                  <a:lnTo>
                    <a:pt x="517" y="1258"/>
                  </a:lnTo>
                  <a:lnTo>
                    <a:pt x="508" y="1249"/>
                  </a:lnTo>
                  <a:lnTo>
                    <a:pt x="498" y="1229"/>
                  </a:lnTo>
                  <a:lnTo>
                    <a:pt x="488" y="1210"/>
                  </a:lnTo>
                  <a:lnTo>
                    <a:pt x="488" y="1200"/>
                  </a:lnTo>
                  <a:lnTo>
                    <a:pt x="488" y="1190"/>
                  </a:lnTo>
                  <a:lnTo>
                    <a:pt x="478" y="1180"/>
                  </a:lnTo>
                  <a:lnTo>
                    <a:pt x="468" y="1161"/>
                  </a:lnTo>
                  <a:lnTo>
                    <a:pt x="488" y="1161"/>
                  </a:lnTo>
                  <a:lnTo>
                    <a:pt x="488" y="1151"/>
                  </a:lnTo>
                  <a:lnTo>
                    <a:pt x="468" y="1141"/>
                  </a:lnTo>
                  <a:lnTo>
                    <a:pt x="468" y="1122"/>
                  </a:lnTo>
                  <a:lnTo>
                    <a:pt x="459" y="1112"/>
                  </a:lnTo>
                  <a:lnTo>
                    <a:pt x="439" y="1102"/>
                  </a:lnTo>
                  <a:lnTo>
                    <a:pt x="429" y="1102"/>
                  </a:lnTo>
                  <a:lnTo>
                    <a:pt x="420" y="1083"/>
                  </a:lnTo>
                  <a:lnTo>
                    <a:pt x="429" y="1083"/>
                  </a:lnTo>
                  <a:lnTo>
                    <a:pt x="439" y="1073"/>
                  </a:lnTo>
                  <a:lnTo>
                    <a:pt x="449" y="1073"/>
                  </a:lnTo>
                  <a:lnTo>
                    <a:pt x="449" y="1054"/>
                  </a:lnTo>
                  <a:lnTo>
                    <a:pt x="439" y="1044"/>
                  </a:lnTo>
                  <a:lnTo>
                    <a:pt x="439" y="1034"/>
                  </a:lnTo>
                  <a:lnTo>
                    <a:pt x="459" y="1024"/>
                  </a:lnTo>
                  <a:lnTo>
                    <a:pt x="459" y="1015"/>
                  </a:lnTo>
                  <a:lnTo>
                    <a:pt x="459" y="995"/>
                  </a:lnTo>
                  <a:lnTo>
                    <a:pt x="459" y="985"/>
                  </a:lnTo>
                  <a:lnTo>
                    <a:pt x="459" y="946"/>
                  </a:lnTo>
                  <a:lnTo>
                    <a:pt x="459" y="937"/>
                  </a:lnTo>
                  <a:lnTo>
                    <a:pt x="459" y="927"/>
                  </a:lnTo>
                  <a:lnTo>
                    <a:pt x="459" y="907"/>
                  </a:lnTo>
                  <a:lnTo>
                    <a:pt x="449" y="897"/>
                  </a:lnTo>
                  <a:lnTo>
                    <a:pt x="449" y="888"/>
                  </a:lnTo>
                  <a:lnTo>
                    <a:pt x="429" y="878"/>
                  </a:lnTo>
                  <a:lnTo>
                    <a:pt x="429" y="868"/>
                  </a:lnTo>
                  <a:lnTo>
                    <a:pt x="420" y="849"/>
                  </a:lnTo>
                  <a:lnTo>
                    <a:pt x="420" y="839"/>
                  </a:lnTo>
                  <a:lnTo>
                    <a:pt x="420" y="819"/>
                  </a:lnTo>
                  <a:lnTo>
                    <a:pt x="410" y="810"/>
                  </a:lnTo>
                  <a:lnTo>
                    <a:pt x="410" y="800"/>
                  </a:lnTo>
                  <a:lnTo>
                    <a:pt x="410" y="780"/>
                  </a:lnTo>
                  <a:lnTo>
                    <a:pt x="410" y="761"/>
                  </a:lnTo>
                  <a:lnTo>
                    <a:pt x="410" y="751"/>
                  </a:lnTo>
                  <a:lnTo>
                    <a:pt x="400" y="741"/>
                  </a:lnTo>
                  <a:lnTo>
                    <a:pt x="400" y="712"/>
                  </a:lnTo>
                  <a:lnTo>
                    <a:pt x="400" y="693"/>
                  </a:lnTo>
                  <a:lnTo>
                    <a:pt x="381" y="683"/>
                  </a:lnTo>
                  <a:lnTo>
                    <a:pt x="371" y="663"/>
                  </a:lnTo>
                  <a:lnTo>
                    <a:pt x="381" y="634"/>
                  </a:lnTo>
                  <a:lnTo>
                    <a:pt x="381" y="624"/>
                  </a:lnTo>
                  <a:lnTo>
                    <a:pt x="381" y="615"/>
                  </a:lnTo>
                  <a:lnTo>
                    <a:pt x="381" y="605"/>
                  </a:lnTo>
                  <a:lnTo>
                    <a:pt x="381" y="595"/>
                  </a:lnTo>
                  <a:lnTo>
                    <a:pt x="390" y="595"/>
                  </a:lnTo>
                  <a:lnTo>
                    <a:pt x="390" y="585"/>
                  </a:lnTo>
                  <a:lnTo>
                    <a:pt x="390" y="566"/>
                  </a:lnTo>
                  <a:lnTo>
                    <a:pt x="371" y="566"/>
                  </a:lnTo>
                  <a:lnTo>
                    <a:pt x="371" y="556"/>
                  </a:lnTo>
                  <a:lnTo>
                    <a:pt x="371" y="546"/>
                  </a:lnTo>
                  <a:lnTo>
                    <a:pt x="371" y="536"/>
                  </a:lnTo>
                  <a:lnTo>
                    <a:pt x="361" y="527"/>
                  </a:lnTo>
                  <a:lnTo>
                    <a:pt x="351" y="527"/>
                  </a:lnTo>
                  <a:lnTo>
                    <a:pt x="342" y="527"/>
                  </a:lnTo>
                  <a:lnTo>
                    <a:pt x="332" y="517"/>
                  </a:lnTo>
                  <a:lnTo>
                    <a:pt x="322" y="517"/>
                  </a:lnTo>
                  <a:lnTo>
                    <a:pt x="322" y="497"/>
                  </a:lnTo>
                  <a:lnTo>
                    <a:pt x="312" y="497"/>
                  </a:lnTo>
                  <a:lnTo>
                    <a:pt x="303" y="488"/>
                  </a:lnTo>
                  <a:lnTo>
                    <a:pt x="293" y="478"/>
                  </a:lnTo>
                  <a:lnTo>
                    <a:pt x="273" y="468"/>
                  </a:lnTo>
                  <a:lnTo>
                    <a:pt x="273" y="449"/>
                  </a:lnTo>
                  <a:lnTo>
                    <a:pt x="273" y="429"/>
                  </a:lnTo>
                  <a:lnTo>
                    <a:pt x="283" y="410"/>
                  </a:lnTo>
                  <a:lnTo>
                    <a:pt x="293" y="410"/>
                  </a:lnTo>
                  <a:lnTo>
                    <a:pt x="293" y="400"/>
                  </a:lnTo>
                  <a:lnTo>
                    <a:pt x="293" y="390"/>
                  </a:lnTo>
                  <a:lnTo>
                    <a:pt x="283" y="400"/>
                  </a:lnTo>
                  <a:lnTo>
                    <a:pt x="273" y="410"/>
                  </a:lnTo>
                  <a:lnTo>
                    <a:pt x="264" y="410"/>
                  </a:lnTo>
                  <a:lnTo>
                    <a:pt x="254" y="410"/>
                  </a:lnTo>
                  <a:lnTo>
                    <a:pt x="244" y="429"/>
                  </a:lnTo>
                  <a:lnTo>
                    <a:pt x="244" y="449"/>
                  </a:lnTo>
                  <a:lnTo>
                    <a:pt x="234" y="458"/>
                  </a:lnTo>
                  <a:lnTo>
                    <a:pt x="225" y="468"/>
                  </a:lnTo>
                  <a:lnTo>
                    <a:pt x="225" y="478"/>
                  </a:lnTo>
                  <a:lnTo>
                    <a:pt x="234" y="488"/>
                  </a:lnTo>
                  <a:lnTo>
                    <a:pt x="244" y="488"/>
                  </a:lnTo>
                  <a:lnTo>
                    <a:pt x="244" y="497"/>
                  </a:lnTo>
                  <a:lnTo>
                    <a:pt x="254" y="507"/>
                  </a:lnTo>
                  <a:lnTo>
                    <a:pt x="264" y="507"/>
                  </a:lnTo>
                  <a:lnTo>
                    <a:pt x="273" y="517"/>
                  </a:lnTo>
                  <a:lnTo>
                    <a:pt x="273" y="527"/>
                  </a:lnTo>
                  <a:lnTo>
                    <a:pt x="283" y="536"/>
                  </a:lnTo>
                  <a:lnTo>
                    <a:pt x="303" y="536"/>
                  </a:lnTo>
                  <a:lnTo>
                    <a:pt x="312" y="536"/>
                  </a:lnTo>
                  <a:lnTo>
                    <a:pt x="312" y="556"/>
                  </a:lnTo>
                  <a:lnTo>
                    <a:pt x="303" y="556"/>
                  </a:lnTo>
                  <a:lnTo>
                    <a:pt x="293" y="556"/>
                  </a:lnTo>
                  <a:lnTo>
                    <a:pt x="283" y="566"/>
                  </a:lnTo>
                  <a:lnTo>
                    <a:pt x="283" y="576"/>
                  </a:lnTo>
                  <a:lnTo>
                    <a:pt x="254" y="556"/>
                  </a:lnTo>
                  <a:lnTo>
                    <a:pt x="264" y="546"/>
                  </a:lnTo>
                  <a:lnTo>
                    <a:pt x="254" y="536"/>
                  </a:lnTo>
                  <a:lnTo>
                    <a:pt x="234" y="546"/>
                  </a:lnTo>
                  <a:lnTo>
                    <a:pt x="234" y="536"/>
                  </a:lnTo>
                  <a:lnTo>
                    <a:pt x="234" y="527"/>
                  </a:lnTo>
                  <a:lnTo>
                    <a:pt x="225" y="517"/>
                  </a:lnTo>
                  <a:lnTo>
                    <a:pt x="215" y="497"/>
                  </a:lnTo>
                  <a:lnTo>
                    <a:pt x="195" y="488"/>
                  </a:lnTo>
                  <a:lnTo>
                    <a:pt x="166" y="478"/>
                  </a:lnTo>
                  <a:lnTo>
                    <a:pt x="156" y="478"/>
                  </a:lnTo>
                  <a:lnTo>
                    <a:pt x="156" y="449"/>
                  </a:lnTo>
                  <a:lnTo>
                    <a:pt x="127" y="449"/>
                  </a:lnTo>
                  <a:lnTo>
                    <a:pt x="127" y="439"/>
                  </a:lnTo>
                  <a:lnTo>
                    <a:pt x="127" y="429"/>
                  </a:lnTo>
                  <a:lnTo>
                    <a:pt x="117" y="410"/>
                  </a:lnTo>
                  <a:lnTo>
                    <a:pt x="108" y="410"/>
                  </a:lnTo>
                  <a:lnTo>
                    <a:pt x="98" y="410"/>
                  </a:lnTo>
                  <a:lnTo>
                    <a:pt x="78" y="410"/>
                  </a:lnTo>
                  <a:lnTo>
                    <a:pt x="78" y="400"/>
                  </a:lnTo>
                  <a:lnTo>
                    <a:pt x="78" y="390"/>
                  </a:lnTo>
                  <a:lnTo>
                    <a:pt x="69" y="380"/>
                  </a:lnTo>
                  <a:lnTo>
                    <a:pt x="49" y="380"/>
                  </a:lnTo>
                  <a:lnTo>
                    <a:pt x="59" y="371"/>
                  </a:lnTo>
                  <a:lnTo>
                    <a:pt x="49" y="351"/>
                  </a:lnTo>
                  <a:lnTo>
                    <a:pt x="30" y="351"/>
                  </a:lnTo>
                  <a:lnTo>
                    <a:pt x="20" y="332"/>
                  </a:lnTo>
                  <a:lnTo>
                    <a:pt x="10" y="322"/>
                  </a:lnTo>
                  <a:lnTo>
                    <a:pt x="0" y="312"/>
                  </a:lnTo>
                  <a:lnTo>
                    <a:pt x="20" y="293"/>
                  </a:lnTo>
                  <a:lnTo>
                    <a:pt x="30" y="273"/>
                  </a:lnTo>
                  <a:lnTo>
                    <a:pt x="39" y="263"/>
                  </a:lnTo>
                  <a:lnTo>
                    <a:pt x="59" y="263"/>
                  </a:lnTo>
                  <a:lnTo>
                    <a:pt x="49" y="244"/>
                  </a:lnTo>
                  <a:close/>
                </a:path>
              </a:pathLst>
            </a:custGeom>
            <a:solidFill>
              <a:srgbClr val="96969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8741" name="Freeform 54"/>
            <p:cNvSpPr>
              <a:spLocks noChangeAspect="1"/>
            </p:cNvSpPr>
            <p:nvPr/>
          </p:nvSpPr>
          <p:spPr bwMode="auto">
            <a:xfrm>
              <a:off x="8086" y="888"/>
              <a:ext cx="703" cy="1307"/>
            </a:xfrm>
            <a:custGeom>
              <a:avLst/>
              <a:gdLst>
                <a:gd name="T0" fmla="*/ 88 w 703"/>
                <a:gd name="T1" fmla="*/ 244 h 1307"/>
                <a:gd name="T2" fmla="*/ 176 w 703"/>
                <a:gd name="T3" fmla="*/ 166 h 1307"/>
                <a:gd name="T4" fmla="*/ 273 w 703"/>
                <a:gd name="T5" fmla="*/ 127 h 1307"/>
                <a:gd name="T6" fmla="*/ 342 w 703"/>
                <a:gd name="T7" fmla="*/ 215 h 1307"/>
                <a:gd name="T8" fmla="*/ 449 w 703"/>
                <a:gd name="T9" fmla="*/ 185 h 1307"/>
                <a:gd name="T10" fmla="*/ 488 w 703"/>
                <a:gd name="T11" fmla="*/ 88 h 1307"/>
                <a:gd name="T12" fmla="*/ 537 w 703"/>
                <a:gd name="T13" fmla="*/ 10 h 1307"/>
                <a:gd name="T14" fmla="*/ 605 w 703"/>
                <a:gd name="T15" fmla="*/ 10 h 1307"/>
                <a:gd name="T16" fmla="*/ 615 w 703"/>
                <a:gd name="T17" fmla="*/ 58 h 1307"/>
                <a:gd name="T18" fmla="*/ 625 w 703"/>
                <a:gd name="T19" fmla="*/ 88 h 1307"/>
                <a:gd name="T20" fmla="*/ 625 w 703"/>
                <a:gd name="T21" fmla="*/ 117 h 1307"/>
                <a:gd name="T22" fmla="*/ 634 w 703"/>
                <a:gd name="T23" fmla="*/ 156 h 1307"/>
                <a:gd name="T24" fmla="*/ 644 w 703"/>
                <a:gd name="T25" fmla="*/ 175 h 1307"/>
                <a:gd name="T26" fmla="*/ 654 w 703"/>
                <a:gd name="T27" fmla="*/ 215 h 1307"/>
                <a:gd name="T28" fmla="*/ 654 w 703"/>
                <a:gd name="T29" fmla="*/ 273 h 1307"/>
                <a:gd name="T30" fmla="*/ 703 w 703"/>
                <a:gd name="T31" fmla="*/ 312 h 1307"/>
                <a:gd name="T32" fmla="*/ 625 w 703"/>
                <a:gd name="T33" fmla="*/ 332 h 1307"/>
                <a:gd name="T34" fmla="*/ 576 w 703"/>
                <a:gd name="T35" fmla="*/ 371 h 1307"/>
                <a:gd name="T36" fmla="*/ 556 w 703"/>
                <a:gd name="T37" fmla="*/ 449 h 1307"/>
                <a:gd name="T38" fmla="*/ 576 w 703"/>
                <a:gd name="T39" fmla="*/ 488 h 1307"/>
                <a:gd name="T40" fmla="*/ 556 w 703"/>
                <a:gd name="T41" fmla="*/ 507 h 1307"/>
                <a:gd name="T42" fmla="*/ 527 w 703"/>
                <a:gd name="T43" fmla="*/ 546 h 1307"/>
                <a:gd name="T44" fmla="*/ 537 w 703"/>
                <a:gd name="T45" fmla="*/ 595 h 1307"/>
                <a:gd name="T46" fmla="*/ 508 w 703"/>
                <a:gd name="T47" fmla="*/ 605 h 1307"/>
                <a:gd name="T48" fmla="*/ 488 w 703"/>
                <a:gd name="T49" fmla="*/ 634 h 1307"/>
                <a:gd name="T50" fmla="*/ 508 w 703"/>
                <a:gd name="T51" fmla="*/ 683 h 1307"/>
                <a:gd name="T52" fmla="*/ 556 w 703"/>
                <a:gd name="T53" fmla="*/ 712 h 1307"/>
                <a:gd name="T54" fmla="*/ 556 w 703"/>
                <a:gd name="T55" fmla="*/ 741 h 1307"/>
                <a:gd name="T56" fmla="*/ 605 w 703"/>
                <a:gd name="T57" fmla="*/ 849 h 1307"/>
                <a:gd name="T58" fmla="*/ 654 w 703"/>
                <a:gd name="T59" fmla="*/ 829 h 1307"/>
                <a:gd name="T60" fmla="*/ 683 w 703"/>
                <a:gd name="T61" fmla="*/ 790 h 1307"/>
                <a:gd name="T62" fmla="*/ 683 w 703"/>
                <a:gd name="T63" fmla="*/ 868 h 1307"/>
                <a:gd name="T64" fmla="*/ 605 w 703"/>
                <a:gd name="T65" fmla="*/ 937 h 1307"/>
                <a:gd name="T66" fmla="*/ 644 w 703"/>
                <a:gd name="T67" fmla="*/ 1024 h 1307"/>
                <a:gd name="T68" fmla="*/ 576 w 703"/>
                <a:gd name="T69" fmla="*/ 1102 h 1307"/>
                <a:gd name="T70" fmla="*/ 615 w 703"/>
                <a:gd name="T71" fmla="*/ 1151 h 1307"/>
                <a:gd name="T72" fmla="*/ 605 w 703"/>
                <a:gd name="T73" fmla="*/ 1239 h 1307"/>
                <a:gd name="T74" fmla="*/ 547 w 703"/>
                <a:gd name="T75" fmla="*/ 1307 h 1307"/>
                <a:gd name="T76" fmla="*/ 488 w 703"/>
                <a:gd name="T77" fmla="*/ 1210 h 1307"/>
                <a:gd name="T78" fmla="*/ 488 w 703"/>
                <a:gd name="T79" fmla="*/ 1151 h 1307"/>
                <a:gd name="T80" fmla="*/ 420 w 703"/>
                <a:gd name="T81" fmla="*/ 1083 h 1307"/>
                <a:gd name="T82" fmla="*/ 439 w 703"/>
                <a:gd name="T83" fmla="*/ 1034 h 1307"/>
                <a:gd name="T84" fmla="*/ 459 w 703"/>
                <a:gd name="T85" fmla="*/ 937 h 1307"/>
                <a:gd name="T86" fmla="*/ 429 w 703"/>
                <a:gd name="T87" fmla="*/ 868 h 1307"/>
                <a:gd name="T88" fmla="*/ 410 w 703"/>
                <a:gd name="T89" fmla="*/ 780 h 1307"/>
                <a:gd name="T90" fmla="*/ 381 w 703"/>
                <a:gd name="T91" fmla="*/ 683 h 1307"/>
                <a:gd name="T92" fmla="*/ 381 w 703"/>
                <a:gd name="T93" fmla="*/ 595 h 1307"/>
                <a:gd name="T94" fmla="*/ 371 w 703"/>
                <a:gd name="T95" fmla="*/ 546 h 1307"/>
                <a:gd name="T96" fmla="*/ 322 w 703"/>
                <a:gd name="T97" fmla="*/ 517 h 1307"/>
                <a:gd name="T98" fmla="*/ 273 w 703"/>
                <a:gd name="T99" fmla="*/ 449 h 1307"/>
                <a:gd name="T100" fmla="*/ 283 w 703"/>
                <a:gd name="T101" fmla="*/ 400 h 1307"/>
                <a:gd name="T102" fmla="*/ 244 w 703"/>
                <a:gd name="T103" fmla="*/ 449 h 1307"/>
                <a:gd name="T104" fmla="*/ 244 w 703"/>
                <a:gd name="T105" fmla="*/ 497 h 1307"/>
                <a:gd name="T106" fmla="*/ 303 w 703"/>
                <a:gd name="T107" fmla="*/ 536 h 1307"/>
                <a:gd name="T108" fmla="*/ 283 w 703"/>
                <a:gd name="T109" fmla="*/ 566 h 1307"/>
                <a:gd name="T110" fmla="*/ 234 w 703"/>
                <a:gd name="T111" fmla="*/ 536 h 1307"/>
                <a:gd name="T112" fmla="*/ 156 w 703"/>
                <a:gd name="T113" fmla="*/ 478 h 1307"/>
                <a:gd name="T114" fmla="*/ 108 w 703"/>
                <a:gd name="T115" fmla="*/ 410 h 1307"/>
                <a:gd name="T116" fmla="*/ 49 w 703"/>
                <a:gd name="T117" fmla="*/ 380 h 1307"/>
                <a:gd name="T118" fmla="*/ 0 w 703"/>
                <a:gd name="T119" fmla="*/ 312 h 1307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703"/>
                <a:gd name="T181" fmla="*/ 0 h 1307"/>
                <a:gd name="T182" fmla="*/ 703 w 703"/>
                <a:gd name="T183" fmla="*/ 1307 h 1307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703" h="1307">
                  <a:moveTo>
                    <a:pt x="49" y="244"/>
                  </a:moveTo>
                  <a:lnTo>
                    <a:pt x="59" y="234"/>
                  </a:lnTo>
                  <a:lnTo>
                    <a:pt x="69" y="234"/>
                  </a:lnTo>
                  <a:lnTo>
                    <a:pt x="78" y="224"/>
                  </a:lnTo>
                  <a:lnTo>
                    <a:pt x="88" y="224"/>
                  </a:lnTo>
                  <a:lnTo>
                    <a:pt x="88" y="244"/>
                  </a:lnTo>
                  <a:lnTo>
                    <a:pt x="108" y="244"/>
                  </a:lnTo>
                  <a:lnTo>
                    <a:pt x="108" y="215"/>
                  </a:lnTo>
                  <a:lnTo>
                    <a:pt x="127" y="205"/>
                  </a:lnTo>
                  <a:lnTo>
                    <a:pt x="137" y="175"/>
                  </a:lnTo>
                  <a:lnTo>
                    <a:pt x="156" y="175"/>
                  </a:lnTo>
                  <a:lnTo>
                    <a:pt x="176" y="166"/>
                  </a:lnTo>
                  <a:lnTo>
                    <a:pt x="176" y="146"/>
                  </a:lnTo>
                  <a:lnTo>
                    <a:pt x="195" y="136"/>
                  </a:lnTo>
                  <a:lnTo>
                    <a:pt x="215" y="136"/>
                  </a:lnTo>
                  <a:lnTo>
                    <a:pt x="244" y="146"/>
                  </a:lnTo>
                  <a:lnTo>
                    <a:pt x="264" y="146"/>
                  </a:lnTo>
                  <a:lnTo>
                    <a:pt x="273" y="127"/>
                  </a:lnTo>
                  <a:lnTo>
                    <a:pt x="303" y="127"/>
                  </a:lnTo>
                  <a:lnTo>
                    <a:pt x="312" y="136"/>
                  </a:lnTo>
                  <a:lnTo>
                    <a:pt x="312" y="156"/>
                  </a:lnTo>
                  <a:lnTo>
                    <a:pt x="322" y="195"/>
                  </a:lnTo>
                  <a:lnTo>
                    <a:pt x="322" y="215"/>
                  </a:lnTo>
                  <a:lnTo>
                    <a:pt x="342" y="215"/>
                  </a:lnTo>
                  <a:lnTo>
                    <a:pt x="342" y="205"/>
                  </a:lnTo>
                  <a:lnTo>
                    <a:pt x="371" y="195"/>
                  </a:lnTo>
                  <a:lnTo>
                    <a:pt x="400" y="175"/>
                  </a:lnTo>
                  <a:lnTo>
                    <a:pt x="410" y="166"/>
                  </a:lnTo>
                  <a:lnTo>
                    <a:pt x="429" y="175"/>
                  </a:lnTo>
                  <a:lnTo>
                    <a:pt x="449" y="185"/>
                  </a:lnTo>
                  <a:lnTo>
                    <a:pt x="459" y="185"/>
                  </a:lnTo>
                  <a:lnTo>
                    <a:pt x="468" y="175"/>
                  </a:lnTo>
                  <a:lnTo>
                    <a:pt x="468" y="146"/>
                  </a:lnTo>
                  <a:lnTo>
                    <a:pt x="468" y="127"/>
                  </a:lnTo>
                  <a:lnTo>
                    <a:pt x="488" y="107"/>
                  </a:lnTo>
                  <a:lnTo>
                    <a:pt x="488" y="88"/>
                  </a:lnTo>
                  <a:lnTo>
                    <a:pt x="498" y="68"/>
                  </a:lnTo>
                  <a:lnTo>
                    <a:pt x="508" y="68"/>
                  </a:lnTo>
                  <a:lnTo>
                    <a:pt x="517" y="49"/>
                  </a:lnTo>
                  <a:lnTo>
                    <a:pt x="517" y="19"/>
                  </a:lnTo>
                  <a:lnTo>
                    <a:pt x="527" y="10"/>
                  </a:lnTo>
                  <a:lnTo>
                    <a:pt x="537" y="10"/>
                  </a:lnTo>
                  <a:lnTo>
                    <a:pt x="547" y="0"/>
                  </a:lnTo>
                  <a:lnTo>
                    <a:pt x="547" y="19"/>
                  </a:lnTo>
                  <a:lnTo>
                    <a:pt x="556" y="19"/>
                  </a:lnTo>
                  <a:lnTo>
                    <a:pt x="576" y="10"/>
                  </a:lnTo>
                  <a:lnTo>
                    <a:pt x="595" y="10"/>
                  </a:lnTo>
                  <a:lnTo>
                    <a:pt x="605" y="10"/>
                  </a:lnTo>
                  <a:lnTo>
                    <a:pt x="615" y="10"/>
                  </a:lnTo>
                  <a:lnTo>
                    <a:pt x="615" y="29"/>
                  </a:lnTo>
                  <a:lnTo>
                    <a:pt x="605" y="29"/>
                  </a:lnTo>
                  <a:lnTo>
                    <a:pt x="605" y="39"/>
                  </a:lnTo>
                  <a:lnTo>
                    <a:pt x="615" y="49"/>
                  </a:lnTo>
                  <a:lnTo>
                    <a:pt x="615" y="58"/>
                  </a:lnTo>
                  <a:lnTo>
                    <a:pt x="605" y="58"/>
                  </a:lnTo>
                  <a:lnTo>
                    <a:pt x="605" y="68"/>
                  </a:lnTo>
                  <a:lnTo>
                    <a:pt x="605" y="78"/>
                  </a:lnTo>
                  <a:lnTo>
                    <a:pt x="615" y="78"/>
                  </a:lnTo>
                  <a:lnTo>
                    <a:pt x="615" y="88"/>
                  </a:lnTo>
                  <a:lnTo>
                    <a:pt x="625" y="88"/>
                  </a:lnTo>
                  <a:lnTo>
                    <a:pt x="625" y="97"/>
                  </a:lnTo>
                  <a:lnTo>
                    <a:pt x="625" y="107"/>
                  </a:lnTo>
                  <a:lnTo>
                    <a:pt x="615" y="107"/>
                  </a:lnTo>
                  <a:lnTo>
                    <a:pt x="605" y="117"/>
                  </a:lnTo>
                  <a:lnTo>
                    <a:pt x="625" y="117"/>
                  </a:lnTo>
                  <a:lnTo>
                    <a:pt x="634" y="127"/>
                  </a:lnTo>
                  <a:lnTo>
                    <a:pt x="634" y="136"/>
                  </a:lnTo>
                  <a:lnTo>
                    <a:pt x="634" y="146"/>
                  </a:lnTo>
                  <a:lnTo>
                    <a:pt x="625" y="156"/>
                  </a:lnTo>
                  <a:lnTo>
                    <a:pt x="634" y="156"/>
                  </a:lnTo>
                  <a:lnTo>
                    <a:pt x="644" y="156"/>
                  </a:lnTo>
                  <a:lnTo>
                    <a:pt x="644" y="166"/>
                  </a:lnTo>
                  <a:lnTo>
                    <a:pt x="634" y="166"/>
                  </a:lnTo>
                  <a:lnTo>
                    <a:pt x="644" y="175"/>
                  </a:lnTo>
                  <a:lnTo>
                    <a:pt x="654" y="175"/>
                  </a:lnTo>
                  <a:lnTo>
                    <a:pt x="644" y="175"/>
                  </a:lnTo>
                  <a:lnTo>
                    <a:pt x="644" y="185"/>
                  </a:lnTo>
                  <a:lnTo>
                    <a:pt x="654" y="195"/>
                  </a:lnTo>
                  <a:lnTo>
                    <a:pt x="644" y="195"/>
                  </a:lnTo>
                  <a:lnTo>
                    <a:pt x="644" y="205"/>
                  </a:lnTo>
                  <a:lnTo>
                    <a:pt x="654" y="205"/>
                  </a:lnTo>
                  <a:lnTo>
                    <a:pt x="654" y="215"/>
                  </a:lnTo>
                  <a:lnTo>
                    <a:pt x="654" y="224"/>
                  </a:lnTo>
                  <a:lnTo>
                    <a:pt x="654" y="234"/>
                  </a:lnTo>
                  <a:lnTo>
                    <a:pt x="654" y="244"/>
                  </a:lnTo>
                  <a:lnTo>
                    <a:pt x="654" y="263"/>
                  </a:lnTo>
                  <a:lnTo>
                    <a:pt x="664" y="273"/>
                  </a:lnTo>
                  <a:lnTo>
                    <a:pt x="654" y="273"/>
                  </a:lnTo>
                  <a:lnTo>
                    <a:pt x="664" y="273"/>
                  </a:lnTo>
                  <a:lnTo>
                    <a:pt x="673" y="283"/>
                  </a:lnTo>
                  <a:lnTo>
                    <a:pt x="673" y="293"/>
                  </a:lnTo>
                  <a:lnTo>
                    <a:pt x="683" y="302"/>
                  </a:lnTo>
                  <a:lnTo>
                    <a:pt x="693" y="302"/>
                  </a:lnTo>
                  <a:lnTo>
                    <a:pt x="703" y="312"/>
                  </a:lnTo>
                  <a:lnTo>
                    <a:pt x="703" y="322"/>
                  </a:lnTo>
                  <a:lnTo>
                    <a:pt x="683" y="322"/>
                  </a:lnTo>
                  <a:lnTo>
                    <a:pt x="673" y="332"/>
                  </a:lnTo>
                  <a:lnTo>
                    <a:pt x="654" y="332"/>
                  </a:lnTo>
                  <a:lnTo>
                    <a:pt x="644" y="322"/>
                  </a:lnTo>
                  <a:lnTo>
                    <a:pt x="625" y="332"/>
                  </a:lnTo>
                  <a:lnTo>
                    <a:pt x="615" y="332"/>
                  </a:lnTo>
                  <a:lnTo>
                    <a:pt x="605" y="332"/>
                  </a:lnTo>
                  <a:lnTo>
                    <a:pt x="595" y="332"/>
                  </a:lnTo>
                  <a:lnTo>
                    <a:pt x="595" y="351"/>
                  </a:lnTo>
                  <a:lnTo>
                    <a:pt x="586" y="361"/>
                  </a:lnTo>
                  <a:lnTo>
                    <a:pt x="576" y="371"/>
                  </a:lnTo>
                  <a:lnTo>
                    <a:pt x="566" y="400"/>
                  </a:lnTo>
                  <a:lnTo>
                    <a:pt x="566" y="410"/>
                  </a:lnTo>
                  <a:lnTo>
                    <a:pt x="566" y="429"/>
                  </a:lnTo>
                  <a:lnTo>
                    <a:pt x="566" y="449"/>
                  </a:lnTo>
                  <a:lnTo>
                    <a:pt x="556" y="449"/>
                  </a:lnTo>
                  <a:lnTo>
                    <a:pt x="556" y="458"/>
                  </a:lnTo>
                  <a:lnTo>
                    <a:pt x="556" y="468"/>
                  </a:lnTo>
                  <a:lnTo>
                    <a:pt x="566" y="478"/>
                  </a:lnTo>
                  <a:lnTo>
                    <a:pt x="566" y="488"/>
                  </a:lnTo>
                  <a:lnTo>
                    <a:pt x="576" y="488"/>
                  </a:lnTo>
                  <a:lnTo>
                    <a:pt x="576" y="507"/>
                  </a:lnTo>
                  <a:lnTo>
                    <a:pt x="586" y="507"/>
                  </a:lnTo>
                  <a:lnTo>
                    <a:pt x="586" y="527"/>
                  </a:lnTo>
                  <a:lnTo>
                    <a:pt x="576" y="527"/>
                  </a:lnTo>
                  <a:lnTo>
                    <a:pt x="566" y="517"/>
                  </a:lnTo>
                  <a:lnTo>
                    <a:pt x="556" y="507"/>
                  </a:lnTo>
                  <a:lnTo>
                    <a:pt x="537" y="497"/>
                  </a:lnTo>
                  <a:lnTo>
                    <a:pt x="527" y="488"/>
                  </a:lnTo>
                  <a:lnTo>
                    <a:pt x="527" y="478"/>
                  </a:lnTo>
                  <a:lnTo>
                    <a:pt x="517" y="478"/>
                  </a:lnTo>
                  <a:lnTo>
                    <a:pt x="517" y="536"/>
                  </a:lnTo>
                  <a:lnTo>
                    <a:pt x="527" y="546"/>
                  </a:lnTo>
                  <a:lnTo>
                    <a:pt x="517" y="556"/>
                  </a:lnTo>
                  <a:lnTo>
                    <a:pt x="527" y="556"/>
                  </a:lnTo>
                  <a:lnTo>
                    <a:pt x="537" y="566"/>
                  </a:lnTo>
                  <a:lnTo>
                    <a:pt x="547" y="576"/>
                  </a:lnTo>
                  <a:lnTo>
                    <a:pt x="547" y="585"/>
                  </a:lnTo>
                  <a:lnTo>
                    <a:pt x="537" y="595"/>
                  </a:lnTo>
                  <a:lnTo>
                    <a:pt x="527" y="585"/>
                  </a:lnTo>
                  <a:lnTo>
                    <a:pt x="508" y="585"/>
                  </a:lnTo>
                  <a:lnTo>
                    <a:pt x="498" y="595"/>
                  </a:lnTo>
                  <a:lnTo>
                    <a:pt x="498" y="605"/>
                  </a:lnTo>
                  <a:lnTo>
                    <a:pt x="508" y="605"/>
                  </a:lnTo>
                  <a:lnTo>
                    <a:pt x="498" y="615"/>
                  </a:lnTo>
                  <a:lnTo>
                    <a:pt x="478" y="624"/>
                  </a:lnTo>
                  <a:lnTo>
                    <a:pt x="498" y="624"/>
                  </a:lnTo>
                  <a:lnTo>
                    <a:pt x="488" y="634"/>
                  </a:lnTo>
                  <a:lnTo>
                    <a:pt x="488" y="644"/>
                  </a:lnTo>
                  <a:lnTo>
                    <a:pt x="488" y="654"/>
                  </a:lnTo>
                  <a:lnTo>
                    <a:pt x="498" y="663"/>
                  </a:lnTo>
                  <a:lnTo>
                    <a:pt x="508" y="663"/>
                  </a:lnTo>
                  <a:lnTo>
                    <a:pt x="508" y="673"/>
                  </a:lnTo>
                  <a:lnTo>
                    <a:pt x="508" y="683"/>
                  </a:lnTo>
                  <a:lnTo>
                    <a:pt x="527" y="683"/>
                  </a:lnTo>
                  <a:lnTo>
                    <a:pt x="537" y="693"/>
                  </a:lnTo>
                  <a:lnTo>
                    <a:pt x="527" y="693"/>
                  </a:lnTo>
                  <a:lnTo>
                    <a:pt x="527" y="702"/>
                  </a:lnTo>
                  <a:lnTo>
                    <a:pt x="547" y="702"/>
                  </a:lnTo>
                  <a:lnTo>
                    <a:pt x="556" y="712"/>
                  </a:lnTo>
                  <a:lnTo>
                    <a:pt x="537" y="712"/>
                  </a:lnTo>
                  <a:lnTo>
                    <a:pt x="537" y="722"/>
                  </a:lnTo>
                  <a:lnTo>
                    <a:pt x="556" y="722"/>
                  </a:lnTo>
                  <a:lnTo>
                    <a:pt x="556" y="732"/>
                  </a:lnTo>
                  <a:lnTo>
                    <a:pt x="556" y="741"/>
                  </a:lnTo>
                  <a:lnTo>
                    <a:pt x="556" y="751"/>
                  </a:lnTo>
                  <a:lnTo>
                    <a:pt x="556" y="761"/>
                  </a:lnTo>
                  <a:lnTo>
                    <a:pt x="566" y="790"/>
                  </a:lnTo>
                  <a:lnTo>
                    <a:pt x="586" y="819"/>
                  </a:lnTo>
                  <a:lnTo>
                    <a:pt x="595" y="829"/>
                  </a:lnTo>
                  <a:lnTo>
                    <a:pt x="605" y="849"/>
                  </a:lnTo>
                  <a:lnTo>
                    <a:pt x="625" y="849"/>
                  </a:lnTo>
                  <a:lnTo>
                    <a:pt x="634" y="849"/>
                  </a:lnTo>
                  <a:lnTo>
                    <a:pt x="644" y="839"/>
                  </a:lnTo>
                  <a:lnTo>
                    <a:pt x="654" y="849"/>
                  </a:lnTo>
                  <a:lnTo>
                    <a:pt x="654" y="839"/>
                  </a:lnTo>
                  <a:lnTo>
                    <a:pt x="654" y="829"/>
                  </a:lnTo>
                  <a:lnTo>
                    <a:pt x="644" y="829"/>
                  </a:lnTo>
                  <a:lnTo>
                    <a:pt x="634" y="810"/>
                  </a:lnTo>
                  <a:lnTo>
                    <a:pt x="644" y="810"/>
                  </a:lnTo>
                  <a:lnTo>
                    <a:pt x="654" y="810"/>
                  </a:lnTo>
                  <a:lnTo>
                    <a:pt x="673" y="790"/>
                  </a:lnTo>
                  <a:lnTo>
                    <a:pt x="683" y="790"/>
                  </a:lnTo>
                  <a:lnTo>
                    <a:pt x="683" y="800"/>
                  </a:lnTo>
                  <a:lnTo>
                    <a:pt x="703" y="810"/>
                  </a:lnTo>
                  <a:lnTo>
                    <a:pt x="703" y="819"/>
                  </a:lnTo>
                  <a:lnTo>
                    <a:pt x="703" y="829"/>
                  </a:lnTo>
                  <a:lnTo>
                    <a:pt x="703" y="849"/>
                  </a:lnTo>
                  <a:lnTo>
                    <a:pt x="683" y="868"/>
                  </a:lnTo>
                  <a:lnTo>
                    <a:pt x="673" y="878"/>
                  </a:lnTo>
                  <a:lnTo>
                    <a:pt x="664" y="888"/>
                  </a:lnTo>
                  <a:lnTo>
                    <a:pt x="664" y="907"/>
                  </a:lnTo>
                  <a:lnTo>
                    <a:pt x="654" y="907"/>
                  </a:lnTo>
                  <a:lnTo>
                    <a:pt x="625" y="917"/>
                  </a:lnTo>
                  <a:lnTo>
                    <a:pt x="605" y="937"/>
                  </a:lnTo>
                  <a:lnTo>
                    <a:pt x="605" y="946"/>
                  </a:lnTo>
                  <a:lnTo>
                    <a:pt x="605" y="956"/>
                  </a:lnTo>
                  <a:lnTo>
                    <a:pt x="615" y="976"/>
                  </a:lnTo>
                  <a:lnTo>
                    <a:pt x="615" y="995"/>
                  </a:lnTo>
                  <a:lnTo>
                    <a:pt x="625" y="1005"/>
                  </a:lnTo>
                  <a:lnTo>
                    <a:pt x="644" y="1024"/>
                  </a:lnTo>
                  <a:lnTo>
                    <a:pt x="644" y="1034"/>
                  </a:lnTo>
                  <a:lnTo>
                    <a:pt x="625" y="1063"/>
                  </a:lnTo>
                  <a:lnTo>
                    <a:pt x="615" y="1093"/>
                  </a:lnTo>
                  <a:lnTo>
                    <a:pt x="605" y="1093"/>
                  </a:lnTo>
                  <a:lnTo>
                    <a:pt x="586" y="1102"/>
                  </a:lnTo>
                  <a:lnTo>
                    <a:pt x="576" y="1102"/>
                  </a:lnTo>
                  <a:lnTo>
                    <a:pt x="576" y="1122"/>
                  </a:lnTo>
                  <a:lnTo>
                    <a:pt x="576" y="1141"/>
                  </a:lnTo>
                  <a:lnTo>
                    <a:pt x="576" y="1151"/>
                  </a:lnTo>
                  <a:lnTo>
                    <a:pt x="586" y="1161"/>
                  </a:lnTo>
                  <a:lnTo>
                    <a:pt x="595" y="1161"/>
                  </a:lnTo>
                  <a:lnTo>
                    <a:pt x="615" y="1151"/>
                  </a:lnTo>
                  <a:lnTo>
                    <a:pt x="634" y="1141"/>
                  </a:lnTo>
                  <a:lnTo>
                    <a:pt x="644" y="1141"/>
                  </a:lnTo>
                  <a:lnTo>
                    <a:pt x="644" y="1219"/>
                  </a:lnTo>
                  <a:lnTo>
                    <a:pt x="625" y="1219"/>
                  </a:lnTo>
                  <a:lnTo>
                    <a:pt x="615" y="1229"/>
                  </a:lnTo>
                  <a:lnTo>
                    <a:pt x="605" y="1239"/>
                  </a:lnTo>
                  <a:lnTo>
                    <a:pt x="595" y="1249"/>
                  </a:lnTo>
                  <a:lnTo>
                    <a:pt x="595" y="1278"/>
                  </a:lnTo>
                  <a:lnTo>
                    <a:pt x="586" y="1288"/>
                  </a:lnTo>
                  <a:lnTo>
                    <a:pt x="566" y="1288"/>
                  </a:lnTo>
                  <a:lnTo>
                    <a:pt x="556" y="1298"/>
                  </a:lnTo>
                  <a:lnTo>
                    <a:pt x="547" y="1307"/>
                  </a:lnTo>
                  <a:lnTo>
                    <a:pt x="527" y="1288"/>
                  </a:lnTo>
                  <a:lnTo>
                    <a:pt x="527" y="1278"/>
                  </a:lnTo>
                  <a:lnTo>
                    <a:pt x="517" y="1258"/>
                  </a:lnTo>
                  <a:lnTo>
                    <a:pt x="508" y="1249"/>
                  </a:lnTo>
                  <a:lnTo>
                    <a:pt x="498" y="1229"/>
                  </a:lnTo>
                  <a:lnTo>
                    <a:pt x="488" y="1210"/>
                  </a:lnTo>
                  <a:lnTo>
                    <a:pt x="488" y="1200"/>
                  </a:lnTo>
                  <a:lnTo>
                    <a:pt x="488" y="1190"/>
                  </a:lnTo>
                  <a:lnTo>
                    <a:pt x="478" y="1180"/>
                  </a:lnTo>
                  <a:lnTo>
                    <a:pt x="468" y="1161"/>
                  </a:lnTo>
                  <a:lnTo>
                    <a:pt x="488" y="1161"/>
                  </a:lnTo>
                  <a:lnTo>
                    <a:pt x="488" y="1151"/>
                  </a:lnTo>
                  <a:lnTo>
                    <a:pt x="468" y="1141"/>
                  </a:lnTo>
                  <a:lnTo>
                    <a:pt x="468" y="1122"/>
                  </a:lnTo>
                  <a:lnTo>
                    <a:pt x="459" y="1112"/>
                  </a:lnTo>
                  <a:lnTo>
                    <a:pt x="439" y="1102"/>
                  </a:lnTo>
                  <a:lnTo>
                    <a:pt x="429" y="1102"/>
                  </a:lnTo>
                  <a:lnTo>
                    <a:pt x="420" y="1083"/>
                  </a:lnTo>
                  <a:lnTo>
                    <a:pt x="429" y="1083"/>
                  </a:lnTo>
                  <a:lnTo>
                    <a:pt x="439" y="1073"/>
                  </a:lnTo>
                  <a:lnTo>
                    <a:pt x="449" y="1073"/>
                  </a:lnTo>
                  <a:lnTo>
                    <a:pt x="449" y="1054"/>
                  </a:lnTo>
                  <a:lnTo>
                    <a:pt x="439" y="1044"/>
                  </a:lnTo>
                  <a:lnTo>
                    <a:pt x="439" y="1034"/>
                  </a:lnTo>
                  <a:lnTo>
                    <a:pt x="459" y="1024"/>
                  </a:lnTo>
                  <a:lnTo>
                    <a:pt x="459" y="1015"/>
                  </a:lnTo>
                  <a:lnTo>
                    <a:pt x="459" y="995"/>
                  </a:lnTo>
                  <a:lnTo>
                    <a:pt x="459" y="985"/>
                  </a:lnTo>
                  <a:lnTo>
                    <a:pt x="459" y="946"/>
                  </a:lnTo>
                  <a:lnTo>
                    <a:pt x="459" y="937"/>
                  </a:lnTo>
                  <a:lnTo>
                    <a:pt x="459" y="927"/>
                  </a:lnTo>
                  <a:lnTo>
                    <a:pt x="459" y="907"/>
                  </a:lnTo>
                  <a:lnTo>
                    <a:pt x="449" y="897"/>
                  </a:lnTo>
                  <a:lnTo>
                    <a:pt x="449" y="888"/>
                  </a:lnTo>
                  <a:lnTo>
                    <a:pt x="429" y="878"/>
                  </a:lnTo>
                  <a:lnTo>
                    <a:pt x="429" y="868"/>
                  </a:lnTo>
                  <a:lnTo>
                    <a:pt x="420" y="849"/>
                  </a:lnTo>
                  <a:lnTo>
                    <a:pt x="420" y="839"/>
                  </a:lnTo>
                  <a:lnTo>
                    <a:pt x="420" y="819"/>
                  </a:lnTo>
                  <a:lnTo>
                    <a:pt x="410" y="810"/>
                  </a:lnTo>
                  <a:lnTo>
                    <a:pt x="410" y="800"/>
                  </a:lnTo>
                  <a:lnTo>
                    <a:pt x="410" y="780"/>
                  </a:lnTo>
                  <a:lnTo>
                    <a:pt x="410" y="761"/>
                  </a:lnTo>
                  <a:lnTo>
                    <a:pt x="410" y="751"/>
                  </a:lnTo>
                  <a:lnTo>
                    <a:pt x="400" y="741"/>
                  </a:lnTo>
                  <a:lnTo>
                    <a:pt x="400" y="712"/>
                  </a:lnTo>
                  <a:lnTo>
                    <a:pt x="400" y="693"/>
                  </a:lnTo>
                  <a:lnTo>
                    <a:pt x="381" y="683"/>
                  </a:lnTo>
                  <a:lnTo>
                    <a:pt x="371" y="663"/>
                  </a:lnTo>
                  <a:lnTo>
                    <a:pt x="381" y="634"/>
                  </a:lnTo>
                  <a:lnTo>
                    <a:pt x="381" y="624"/>
                  </a:lnTo>
                  <a:lnTo>
                    <a:pt x="381" y="615"/>
                  </a:lnTo>
                  <a:lnTo>
                    <a:pt x="381" y="605"/>
                  </a:lnTo>
                  <a:lnTo>
                    <a:pt x="381" y="595"/>
                  </a:lnTo>
                  <a:lnTo>
                    <a:pt x="390" y="595"/>
                  </a:lnTo>
                  <a:lnTo>
                    <a:pt x="390" y="585"/>
                  </a:lnTo>
                  <a:lnTo>
                    <a:pt x="390" y="566"/>
                  </a:lnTo>
                  <a:lnTo>
                    <a:pt x="371" y="566"/>
                  </a:lnTo>
                  <a:lnTo>
                    <a:pt x="371" y="556"/>
                  </a:lnTo>
                  <a:lnTo>
                    <a:pt x="371" y="546"/>
                  </a:lnTo>
                  <a:lnTo>
                    <a:pt x="371" y="536"/>
                  </a:lnTo>
                  <a:lnTo>
                    <a:pt x="361" y="527"/>
                  </a:lnTo>
                  <a:lnTo>
                    <a:pt x="351" y="527"/>
                  </a:lnTo>
                  <a:lnTo>
                    <a:pt x="342" y="527"/>
                  </a:lnTo>
                  <a:lnTo>
                    <a:pt x="332" y="517"/>
                  </a:lnTo>
                  <a:lnTo>
                    <a:pt x="322" y="517"/>
                  </a:lnTo>
                  <a:lnTo>
                    <a:pt x="322" y="497"/>
                  </a:lnTo>
                  <a:lnTo>
                    <a:pt x="312" y="497"/>
                  </a:lnTo>
                  <a:lnTo>
                    <a:pt x="303" y="488"/>
                  </a:lnTo>
                  <a:lnTo>
                    <a:pt x="293" y="478"/>
                  </a:lnTo>
                  <a:lnTo>
                    <a:pt x="273" y="468"/>
                  </a:lnTo>
                  <a:lnTo>
                    <a:pt x="273" y="449"/>
                  </a:lnTo>
                  <a:lnTo>
                    <a:pt x="273" y="429"/>
                  </a:lnTo>
                  <a:lnTo>
                    <a:pt x="283" y="410"/>
                  </a:lnTo>
                  <a:lnTo>
                    <a:pt x="293" y="410"/>
                  </a:lnTo>
                  <a:lnTo>
                    <a:pt x="293" y="400"/>
                  </a:lnTo>
                  <a:lnTo>
                    <a:pt x="293" y="390"/>
                  </a:lnTo>
                  <a:lnTo>
                    <a:pt x="283" y="400"/>
                  </a:lnTo>
                  <a:lnTo>
                    <a:pt x="273" y="410"/>
                  </a:lnTo>
                  <a:lnTo>
                    <a:pt x="264" y="410"/>
                  </a:lnTo>
                  <a:lnTo>
                    <a:pt x="254" y="410"/>
                  </a:lnTo>
                  <a:lnTo>
                    <a:pt x="244" y="429"/>
                  </a:lnTo>
                  <a:lnTo>
                    <a:pt x="244" y="449"/>
                  </a:lnTo>
                  <a:lnTo>
                    <a:pt x="234" y="458"/>
                  </a:lnTo>
                  <a:lnTo>
                    <a:pt x="225" y="468"/>
                  </a:lnTo>
                  <a:lnTo>
                    <a:pt x="225" y="478"/>
                  </a:lnTo>
                  <a:lnTo>
                    <a:pt x="234" y="488"/>
                  </a:lnTo>
                  <a:lnTo>
                    <a:pt x="244" y="488"/>
                  </a:lnTo>
                  <a:lnTo>
                    <a:pt x="244" y="497"/>
                  </a:lnTo>
                  <a:lnTo>
                    <a:pt x="254" y="507"/>
                  </a:lnTo>
                  <a:lnTo>
                    <a:pt x="264" y="507"/>
                  </a:lnTo>
                  <a:lnTo>
                    <a:pt x="273" y="517"/>
                  </a:lnTo>
                  <a:lnTo>
                    <a:pt x="273" y="527"/>
                  </a:lnTo>
                  <a:lnTo>
                    <a:pt x="283" y="536"/>
                  </a:lnTo>
                  <a:lnTo>
                    <a:pt x="303" y="536"/>
                  </a:lnTo>
                  <a:lnTo>
                    <a:pt x="312" y="536"/>
                  </a:lnTo>
                  <a:lnTo>
                    <a:pt x="312" y="556"/>
                  </a:lnTo>
                  <a:lnTo>
                    <a:pt x="303" y="556"/>
                  </a:lnTo>
                  <a:lnTo>
                    <a:pt x="293" y="556"/>
                  </a:lnTo>
                  <a:lnTo>
                    <a:pt x="283" y="566"/>
                  </a:lnTo>
                  <a:lnTo>
                    <a:pt x="283" y="576"/>
                  </a:lnTo>
                  <a:lnTo>
                    <a:pt x="254" y="556"/>
                  </a:lnTo>
                  <a:lnTo>
                    <a:pt x="264" y="546"/>
                  </a:lnTo>
                  <a:lnTo>
                    <a:pt x="254" y="536"/>
                  </a:lnTo>
                  <a:lnTo>
                    <a:pt x="234" y="546"/>
                  </a:lnTo>
                  <a:lnTo>
                    <a:pt x="234" y="536"/>
                  </a:lnTo>
                  <a:lnTo>
                    <a:pt x="234" y="527"/>
                  </a:lnTo>
                  <a:lnTo>
                    <a:pt x="225" y="517"/>
                  </a:lnTo>
                  <a:lnTo>
                    <a:pt x="215" y="497"/>
                  </a:lnTo>
                  <a:lnTo>
                    <a:pt x="195" y="488"/>
                  </a:lnTo>
                  <a:lnTo>
                    <a:pt x="166" y="478"/>
                  </a:lnTo>
                  <a:lnTo>
                    <a:pt x="156" y="478"/>
                  </a:lnTo>
                  <a:lnTo>
                    <a:pt x="156" y="449"/>
                  </a:lnTo>
                  <a:lnTo>
                    <a:pt x="127" y="449"/>
                  </a:lnTo>
                  <a:lnTo>
                    <a:pt x="127" y="439"/>
                  </a:lnTo>
                  <a:lnTo>
                    <a:pt x="127" y="429"/>
                  </a:lnTo>
                  <a:lnTo>
                    <a:pt x="117" y="410"/>
                  </a:lnTo>
                  <a:lnTo>
                    <a:pt x="108" y="410"/>
                  </a:lnTo>
                  <a:lnTo>
                    <a:pt x="98" y="410"/>
                  </a:lnTo>
                  <a:lnTo>
                    <a:pt x="78" y="410"/>
                  </a:lnTo>
                  <a:lnTo>
                    <a:pt x="78" y="400"/>
                  </a:lnTo>
                  <a:lnTo>
                    <a:pt x="78" y="390"/>
                  </a:lnTo>
                  <a:lnTo>
                    <a:pt x="69" y="380"/>
                  </a:lnTo>
                  <a:lnTo>
                    <a:pt x="49" y="380"/>
                  </a:lnTo>
                  <a:lnTo>
                    <a:pt x="59" y="371"/>
                  </a:lnTo>
                  <a:lnTo>
                    <a:pt x="49" y="351"/>
                  </a:lnTo>
                  <a:lnTo>
                    <a:pt x="30" y="351"/>
                  </a:lnTo>
                  <a:lnTo>
                    <a:pt x="20" y="332"/>
                  </a:lnTo>
                  <a:lnTo>
                    <a:pt x="10" y="322"/>
                  </a:lnTo>
                  <a:lnTo>
                    <a:pt x="0" y="312"/>
                  </a:lnTo>
                  <a:lnTo>
                    <a:pt x="20" y="293"/>
                  </a:lnTo>
                  <a:lnTo>
                    <a:pt x="30" y="273"/>
                  </a:lnTo>
                  <a:lnTo>
                    <a:pt x="39" y="263"/>
                  </a:lnTo>
                  <a:lnTo>
                    <a:pt x="59" y="263"/>
                  </a:lnTo>
                </a:path>
              </a:pathLst>
            </a:custGeom>
            <a:solidFill>
              <a:srgbClr val="969696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18648" name="Freeform 44"/>
          <p:cNvSpPr>
            <a:spLocks noChangeAspect="1"/>
          </p:cNvSpPr>
          <p:nvPr>
            <p:custDataLst>
              <p:tags r:id="rId214"/>
            </p:custDataLst>
          </p:nvPr>
        </p:nvSpPr>
        <p:spPr bwMode="auto">
          <a:xfrm>
            <a:off x="2162175" y="4500563"/>
            <a:ext cx="90488" cy="114300"/>
          </a:xfrm>
          <a:custGeom>
            <a:avLst/>
            <a:gdLst>
              <a:gd name="T0" fmla="*/ 32602 w 136"/>
              <a:gd name="T1" fmla="*/ 84026 h 185"/>
              <a:gd name="T2" fmla="*/ 38590 w 136"/>
              <a:gd name="T3" fmla="*/ 78465 h 185"/>
              <a:gd name="T4" fmla="*/ 45244 w 136"/>
              <a:gd name="T5" fmla="*/ 72287 h 185"/>
              <a:gd name="T6" fmla="*/ 58551 w 136"/>
              <a:gd name="T7" fmla="*/ 66109 h 185"/>
              <a:gd name="T8" fmla="*/ 64539 w 136"/>
              <a:gd name="T9" fmla="*/ 59930 h 185"/>
              <a:gd name="T10" fmla="*/ 64539 w 136"/>
              <a:gd name="T11" fmla="*/ 54370 h 185"/>
              <a:gd name="T12" fmla="*/ 64539 w 136"/>
              <a:gd name="T13" fmla="*/ 48191 h 185"/>
              <a:gd name="T14" fmla="*/ 51898 w 136"/>
              <a:gd name="T15" fmla="*/ 30274 h 185"/>
              <a:gd name="T16" fmla="*/ 45244 w 136"/>
              <a:gd name="T17" fmla="*/ 30274 h 185"/>
              <a:gd name="T18" fmla="*/ 38590 w 136"/>
              <a:gd name="T19" fmla="*/ 24096 h 185"/>
              <a:gd name="T20" fmla="*/ 32602 w 136"/>
              <a:gd name="T21" fmla="*/ 17917 h 185"/>
              <a:gd name="T22" fmla="*/ 32602 w 136"/>
              <a:gd name="T23" fmla="*/ 11739 h 185"/>
              <a:gd name="T24" fmla="*/ 25949 w 136"/>
              <a:gd name="T25" fmla="*/ 6178 h 185"/>
              <a:gd name="T26" fmla="*/ 32602 w 136"/>
              <a:gd name="T27" fmla="*/ 0 h 185"/>
              <a:gd name="T28" fmla="*/ 32602 w 136"/>
              <a:gd name="T29" fmla="*/ 6178 h 185"/>
              <a:gd name="T30" fmla="*/ 45244 w 136"/>
              <a:gd name="T31" fmla="*/ 17917 h 185"/>
              <a:gd name="T32" fmla="*/ 51898 w 136"/>
              <a:gd name="T33" fmla="*/ 24096 h 185"/>
              <a:gd name="T34" fmla="*/ 58551 w 136"/>
              <a:gd name="T35" fmla="*/ 30274 h 185"/>
              <a:gd name="T36" fmla="*/ 71193 w 136"/>
              <a:gd name="T37" fmla="*/ 30274 h 185"/>
              <a:gd name="T38" fmla="*/ 77846 w 136"/>
              <a:gd name="T39" fmla="*/ 30274 h 185"/>
              <a:gd name="T40" fmla="*/ 77846 w 136"/>
              <a:gd name="T41" fmla="*/ 42013 h 185"/>
              <a:gd name="T42" fmla="*/ 90488 w 136"/>
              <a:gd name="T43" fmla="*/ 59930 h 185"/>
              <a:gd name="T44" fmla="*/ 84500 w 136"/>
              <a:gd name="T45" fmla="*/ 72287 h 185"/>
              <a:gd name="T46" fmla="*/ 84500 w 136"/>
              <a:gd name="T47" fmla="*/ 78465 h 185"/>
              <a:gd name="T48" fmla="*/ 84500 w 136"/>
              <a:gd name="T49" fmla="*/ 90204 h 185"/>
              <a:gd name="T50" fmla="*/ 71193 w 136"/>
              <a:gd name="T51" fmla="*/ 102561 h 185"/>
              <a:gd name="T52" fmla="*/ 64539 w 136"/>
              <a:gd name="T53" fmla="*/ 108122 h 185"/>
              <a:gd name="T54" fmla="*/ 58551 w 136"/>
              <a:gd name="T55" fmla="*/ 108122 h 185"/>
              <a:gd name="T56" fmla="*/ 58551 w 136"/>
              <a:gd name="T57" fmla="*/ 102561 h 185"/>
              <a:gd name="T58" fmla="*/ 58551 w 136"/>
              <a:gd name="T59" fmla="*/ 96383 h 185"/>
              <a:gd name="T60" fmla="*/ 64539 w 136"/>
              <a:gd name="T61" fmla="*/ 90204 h 185"/>
              <a:gd name="T62" fmla="*/ 71193 w 136"/>
              <a:gd name="T63" fmla="*/ 84026 h 185"/>
              <a:gd name="T64" fmla="*/ 64539 w 136"/>
              <a:gd name="T65" fmla="*/ 84026 h 185"/>
              <a:gd name="T66" fmla="*/ 58551 w 136"/>
              <a:gd name="T67" fmla="*/ 84026 h 185"/>
              <a:gd name="T68" fmla="*/ 51898 w 136"/>
              <a:gd name="T69" fmla="*/ 90204 h 185"/>
              <a:gd name="T70" fmla="*/ 45244 w 136"/>
              <a:gd name="T71" fmla="*/ 96383 h 185"/>
              <a:gd name="T72" fmla="*/ 32602 w 136"/>
              <a:gd name="T73" fmla="*/ 108122 h 185"/>
              <a:gd name="T74" fmla="*/ 25949 w 136"/>
              <a:gd name="T75" fmla="*/ 114300 h 185"/>
              <a:gd name="T76" fmla="*/ 19295 w 136"/>
              <a:gd name="T77" fmla="*/ 114300 h 185"/>
              <a:gd name="T78" fmla="*/ 12642 w 136"/>
              <a:gd name="T79" fmla="*/ 108122 h 185"/>
              <a:gd name="T80" fmla="*/ 12642 w 136"/>
              <a:gd name="T81" fmla="*/ 108122 h 185"/>
              <a:gd name="T82" fmla="*/ 6654 w 136"/>
              <a:gd name="T83" fmla="*/ 102561 h 185"/>
              <a:gd name="T84" fmla="*/ 0 w 136"/>
              <a:gd name="T85" fmla="*/ 96383 h 185"/>
              <a:gd name="T86" fmla="*/ 0 w 136"/>
              <a:gd name="T87" fmla="*/ 90204 h 185"/>
              <a:gd name="T88" fmla="*/ 12642 w 136"/>
              <a:gd name="T89" fmla="*/ 84026 h 185"/>
              <a:gd name="T90" fmla="*/ 19295 w 136"/>
              <a:gd name="T91" fmla="*/ 84026 h 185"/>
              <a:gd name="T92" fmla="*/ 19295 w 136"/>
              <a:gd name="T93" fmla="*/ 84026 h 185"/>
              <a:gd name="T94" fmla="*/ 25949 w 136"/>
              <a:gd name="T95" fmla="*/ 90204 h 185"/>
              <a:gd name="T96" fmla="*/ 32602 w 136"/>
              <a:gd name="T97" fmla="*/ 90204 h 185"/>
              <a:gd name="T98" fmla="*/ 32602 w 136"/>
              <a:gd name="T99" fmla="*/ 84026 h 185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136"/>
              <a:gd name="T151" fmla="*/ 0 h 185"/>
              <a:gd name="T152" fmla="*/ 136 w 136"/>
              <a:gd name="T153" fmla="*/ 185 h 185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136" h="185">
                <a:moveTo>
                  <a:pt x="49" y="136"/>
                </a:moveTo>
                <a:lnTo>
                  <a:pt x="58" y="127"/>
                </a:lnTo>
                <a:lnTo>
                  <a:pt x="68" y="117"/>
                </a:lnTo>
                <a:lnTo>
                  <a:pt x="88" y="107"/>
                </a:lnTo>
                <a:lnTo>
                  <a:pt x="97" y="97"/>
                </a:lnTo>
                <a:lnTo>
                  <a:pt x="97" y="88"/>
                </a:lnTo>
                <a:lnTo>
                  <a:pt x="97" y="78"/>
                </a:lnTo>
                <a:lnTo>
                  <a:pt x="78" y="49"/>
                </a:lnTo>
                <a:lnTo>
                  <a:pt x="68" y="49"/>
                </a:lnTo>
                <a:lnTo>
                  <a:pt x="58" y="39"/>
                </a:lnTo>
                <a:lnTo>
                  <a:pt x="49" y="29"/>
                </a:lnTo>
                <a:lnTo>
                  <a:pt x="49" y="19"/>
                </a:lnTo>
                <a:lnTo>
                  <a:pt x="39" y="10"/>
                </a:lnTo>
                <a:lnTo>
                  <a:pt x="49" y="0"/>
                </a:lnTo>
                <a:lnTo>
                  <a:pt x="49" y="10"/>
                </a:lnTo>
                <a:lnTo>
                  <a:pt x="68" y="29"/>
                </a:lnTo>
                <a:lnTo>
                  <a:pt x="78" y="39"/>
                </a:lnTo>
                <a:lnTo>
                  <a:pt x="88" y="49"/>
                </a:lnTo>
                <a:lnTo>
                  <a:pt x="107" y="49"/>
                </a:lnTo>
                <a:lnTo>
                  <a:pt x="117" y="49"/>
                </a:lnTo>
                <a:lnTo>
                  <a:pt x="117" y="68"/>
                </a:lnTo>
                <a:lnTo>
                  <a:pt x="136" y="97"/>
                </a:lnTo>
                <a:lnTo>
                  <a:pt x="127" y="117"/>
                </a:lnTo>
                <a:lnTo>
                  <a:pt x="127" y="127"/>
                </a:lnTo>
                <a:lnTo>
                  <a:pt x="127" y="146"/>
                </a:lnTo>
                <a:lnTo>
                  <a:pt x="107" y="166"/>
                </a:lnTo>
                <a:lnTo>
                  <a:pt x="97" y="175"/>
                </a:lnTo>
                <a:lnTo>
                  <a:pt x="88" y="175"/>
                </a:lnTo>
                <a:lnTo>
                  <a:pt x="88" y="166"/>
                </a:lnTo>
                <a:lnTo>
                  <a:pt x="88" y="156"/>
                </a:lnTo>
                <a:lnTo>
                  <a:pt x="97" y="146"/>
                </a:lnTo>
                <a:lnTo>
                  <a:pt x="107" y="136"/>
                </a:lnTo>
                <a:lnTo>
                  <a:pt x="97" y="136"/>
                </a:lnTo>
                <a:lnTo>
                  <a:pt x="88" y="136"/>
                </a:lnTo>
                <a:lnTo>
                  <a:pt x="78" y="146"/>
                </a:lnTo>
                <a:lnTo>
                  <a:pt x="68" y="156"/>
                </a:lnTo>
                <a:lnTo>
                  <a:pt x="49" y="175"/>
                </a:lnTo>
                <a:lnTo>
                  <a:pt x="39" y="185"/>
                </a:lnTo>
                <a:lnTo>
                  <a:pt x="29" y="185"/>
                </a:lnTo>
                <a:lnTo>
                  <a:pt x="19" y="175"/>
                </a:lnTo>
                <a:lnTo>
                  <a:pt x="10" y="166"/>
                </a:lnTo>
                <a:lnTo>
                  <a:pt x="0" y="156"/>
                </a:lnTo>
                <a:lnTo>
                  <a:pt x="0" y="146"/>
                </a:lnTo>
                <a:lnTo>
                  <a:pt x="19" y="136"/>
                </a:lnTo>
                <a:lnTo>
                  <a:pt x="29" y="136"/>
                </a:lnTo>
                <a:lnTo>
                  <a:pt x="39" y="146"/>
                </a:lnTo>
                <a:lnTo>
                  <a:pt x="49" y="146"/>
                </a:lnTo>
                <a:lnTo>
                  <a:pt x="49" y="136"/>
                </a:lnTo>
                <a:close/>
              </a:path>
            </a:pathLst>
          </a:custGeom>
          <a:solidFill>
            <a:srgbClr val="CCECFF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grpSp>
        <p:nvGrpSpPr>
          <p:cNvPr id="18649" name="Group 41"/>
          <p:cNvGrpSpPr>
            <a:grpSpLocks noChangeAspect="1"/>
          </p:cNvGrpSpPr>
          <p:nvPr>
            <p:custDataLst>
              <p:tags r:id="rId215"/>
            </p:custDataLst>
          </p:nvPr>
        </p:nvGrpSpPr>
        <p:grpSpPr bwMode="auto">
          <a:xfrm>
            <a:off x="2162175" y="4500563"/>
            <a:ext cx="90488" cy="114300"/>
            <a:chOff x="761" y="2654"/>
            <a:chExt cx="136" cy="185"/>
          </a:xfrm>
        </p:grpSpPr>
        <p:sp>
          <p:nvSpPr>
            <p:cNvPr id="294" name="Freeform 43"/>
            <p:cNvSpPr>
              <a:spLocks/>
            </p:cNvSpPr>
            <p:nvPr/>
          </p:nvSpPr>
          <p:spPr bwMode="auto">
            <a:xfrm>
              <a:off x="763" y="2651"/>
              <a:ext cx="134" cy="188"/>
            </a:xfrm>
            <a:custGeom>
              <a:avLst/>
              <a:gdLst/>
              <a:ahLst/>
              <a:cxnLst>
                <a:cxn ang="0">
                  <a:pos x="49" y="136"/>
                </a:cxn>
                <a:cxn ang="0">
                  <a:pos x="58" y="127"/>
                </a:cxn>
                <a:cxn ang="0">
                  <a:pos x="68" y="117"/>
                </a:cxn>
                <a:cxn ang="0">
                  <a:pos x="88" y="107"/>
                </a:cxn>
                <a:cxn ang="0">
                  <a:pos x="97" y="97"/>
                </a:cxn>
                <a:cxn ang="0">
                  <a:pos x="97" y="88"/>
                </a:cxn>
                <a:cxn ang="0">
                  <a:pos x="97" y="78"/>
                </a:cxn>
                <a:cxn ang="0">
                  <a:pos x="78" y="49"/>
                </a:cxn>
                <a:cxn ang="0">
                  <a:pos x="68" y="49"/>
                </a:cxn>
                <a:cxn ang="0">
                  <a:pos x="58" y="39"/>
                </a:cxn>
                <a:cxn ang="0">
                  <a:pos x="49" y="29"/>
                </a:cxn>
                <a:cxn ang="0">
                  <a:pos x="49" y="19"/>
                </a:cxn>
                <a:cxn ang="0">
                  <a:pos x="39" y="10"/>
                </a:cxn>
                <a:cxn ang="0">
                  <a:pos x="49" y="0"/>
                </a:cxn>
                <a:cxn ang="0">
                  <a:pos x="49" y="10"/>
                </a:cxn>
                <a:cxn ang="0">
                  <a:pos x="68" y="29"/>
                </a:cxn>
                <a:cxn ang="0">
                  <a:pos x="78" y="39"/>
                </a:cxn>
                <a:cxn ang="0">
                  <a:pos x="88" y="49"/>
                </a:cxn>
                <a:cxn ang="0">
                  <a:pos x="107" y="49"/>
                </a:cxn>
                <a:cxn ang="0">
                  <a:pos x="117" y="49"/>
                </a:cxn>
                <a:cxn ang="0">
                  <a:pos x="117" y="68"/>
                </a:cxn>
                <a:cxn ang="0">
                  <a:pos x="136" y="97"/>
                </a:cxn>
                <a:cxn ang="0">
                  <a:pos x="127" y="117"/>
                </a:cxn>
                <a:cxn ang="0">
                  <a:pos x="127" y="127"/>
                </a:cxn>
                <a:cxn ang="0">
                  <a:pos x="127" y="146"/>
                </a:cxn>
                <a:cxn ang="0">
                  <a:pos x="107" y="166"/>
                </a:cxn>
                <a:cxn ang="0">
                  <a:pos x="97" y="175"/>
                </a:cxn>
                <a:cxn ang="0">
                  <a:pos x="88" y="175"/>
                </a:cxn>
                <a:cxn ang="0">
                  <a:pos x="88" y="166"/>
                </a:cxn>
                <a:cxn ang="0">
                  <a:pos x="88" y="156"/>
                </a:cxn>
                <a:cxn ang="0">
                  <a:pos x="97" y="146"/>
                </a:cxn>
                <a:cxn ang="0">
                  <a:pos x="107" y="136"/>
                </a:cxn>
                <a:cxn ang="0">
                  <a:pos x="97" y="136"/>
                </a:cxn>
                <a:cxn ang="0">
                  <a:pos x="88" y="136"/>
                </a:cxn>
                <a:cxn ang="0">
                  <a:pos x="78" y="146"/>
                </a:cxn>
                <a:cxn ang="0">
                  <a:pos x="68" y="156"/>
                </a:cxn>
                <a:cxn ang="0">
                  <a:pos x="49" y="175"/>
                </a:cxn>
                <a:cxn ang="0">
                  <a:pos x="29" y="185"/>
                </a:cxn>
                <a:cxn ang="0">
                  <a:pos x="29" y="185"/>
                </a:cxn>
                <a:cxn ang="0">
                  <a:pos x="19" y="175"/>
                </a:cxn>
                <a:cxn ang="0">
                  <a:pos x="19" y="175"/>
                </a:cxn>
                <a:cxn ang="0">
                  <a:pos x="10" y="166"/>
                </a:cxn>
                <a:cxn ang="0">
                  <a:pos x="0" y="156"/>
                </a:cxn>
                <a:cxn ang="0">
                  <a:pos x="0" y="146"/>
                </a:cxn>
                <a:cxn ang="0">
                  <a:pos x="19" y="136"/>
                </a:cxn>
                <a:cxn ang="0">
                  <a:pos x="29" y="136"/>
                </a:cxn>
                <a:cxn ang="0">
                  <a:pos x="29" y="136"/>
                </a:cxn>
                <a:cxn ang="0">
                  <a:pos x="39" y="146"/>
                </a:cxn>
                <a:cxn ang="0">
                  <a:pos x="49" y="146"/>
                </a:cxn>
                <a:cxn ang="0">
                  <a:pos x="49" y="136"/>
                </a:cxn>
              </a:cxnLst>
              <a:rect l="0" t="0" r="r" b="b"/>
              <a:pathLst>
                <a:path w="136" h="185">
                  <a:moveTo>
                    <a:pt x="49" y="136"/>
                  </a:moveTo>
                  <a:lnTo>
                    <a:pt x="58" y="127"/>
                  </a:lnTo>
                  <a:lnTo>
                    <a:pt x="68" y="117"/>
                  </a:lnTo>
                  <a:lnTo>
                    <a:pt x="88" y="107"/>
                  </a:lnTo>
                  <a:lnTo>
                    <a:pt x="97" y="97"/>
                  </a:lnTo>
                  <a:lnTo>
                    <a:pt x="97" y="88"/>
                  </a:lnTo>
                  <a:lnTo>
                    <a:pt x="97" y="78"/>
                  </a:lnTo>
                  <a:lnTo>
                    <a:pt x="78" y="49"/>
                  </a:lnTo>
                  <a:lnTo>
                    <a:pt x="68" y="49"/>
                  </a:lnTo>
                  <a:lnTo>
                    <a:pt x="58" y="39"/>
                  </a:lnTo>
                  <a:lnTo>
                    <a:pt x="49" y="29"/>
                  </a:lnTo>
                  <a:lnTo>
                    <a:pt x="49" y="19"/>
                  </a:lnTo>
                  <a:lnTo>
                    <a:pt x="39" y="10"/>
                  </a:lnTo>
                  <a:lnTo>
                    <a:pt x="49" y="0"/>
                  </a:lnTo>
                  <a:lnTo>
                    <a:pt x="49" y="10"/>
                  </a:lnTo>
                  <a:lnTo>
                    <a:pt x="68" y="29"/>
                  </a:lnTo>
                  <a:lnTo>
                    <a:pt x="78" y="39"/>
                  </a:lnTo>
                  <a:lnTo>
                    <a:pt x="88" y="49"/>
                  </a:lnTo>
                  <a:lnTo>
                    <a:pt x="107" y="49"/>
                  </a:lnTo>
                  <a:lnTo>
                    <a:pt x="117" y="49"/>
                  </a:lnTo>
                  <a:lnTo>
                    <a:pt x="117" y="68"/>
                  </a:lnTo>
                  <a:lnTo>
                    <a:pt x="136" y="97"/>
                  </a:lnTo>
                  <a:lnTo>
                    <a:pt x="127" y="117"/>
                  </a:lnTo>
                  <a:lnTo>
                    <a:pt x="127" y="127"/>
                  </a:lnTo>
                  <a:lnTo>
                    <a:pt x="127" y="146"/>
                  </a:lnTo>
                  <a:lnTo>
                    <a:pt x="107" y="166"/>
                  </a:lnTo>
                  <a:lnTo>
                    <a:pt x="97" y="175"/>
                  </a:lnTo>
                  <a:lnTo>
                    <a:pt x="88" y="175"/>
                  </a:lnTo>
                  <a:lnTo>
                    <a:pt x="88" y="166"/>
                  </a:lnTo>
                  <a:lnTo>
                    <a:pt x="88" y="156"/>
                  </a:lnTo>
                  <a:lnTo>
                    <a:pt x="97" y="146"/>
                  </a:lnTo>
                  <a:lnTo>
                    <a:pt x="107" y="136"/>
                  </a:lnTo>
                  <a:lnTo>
                    <a:pt x="97" y="136"/>
                  </a:lnTo>
                  <a:lnTo>
                    <a:pt x="88" y="136"/>
                  </a:lnTo>
                  <a:lnTo>
                    <a:pt x="78" y="146"/>
                  </a:lnTo>
                  <a:lnTo>
                    <a:pt x="68" y="156"/>
                  </a:lnTo>
                  <a:lnTo>
                    <a:pt x="49" y="175"/>
                  </a:lnTo>
                  <a:lnTo>
                    <a:pt x="29" y="185"/>
                  </a:lnTo>
                  <a:lnTo>
                    <a:pt x="19" y="175"/>
                  </a:lnTo>
                  <a:lnTo>
                    <a:pt x="10" y="166"/>
                  </a:lnTo>
                  <a:lnTo>
                    <a:pt x="0" y="156"/>
                  </a:lnTo>
                  <a:lnTo>
                    <a:pt x="0" y="146"/>
                  </a:lnTo>
                  <a:lnTo>
                    <a:pt x="19" y="136"/>
                  </a:lnTo>
                  <a:lnTo>
                    <a:pt x="29" y="136"/>
                  </a:lnTo>
                  <a:lnTo>
                    <a:pt x="39" y="146"/>
                  </a:lnTo>
                  <a:lnTo>
                    <a:pt x="49" y="146"/>
                  </a:lnTo>
                  <a:lnTo>
                    <a:pt x="49" y="136"/>
                  </a:ln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US" sz="1100">
                <a:latin typeface="Polo" pitchFamily="2" charset="0"/>
                <a:cs typeface="+mn-cs"/>
              </a:endParaRPr>
            </a:p>
          </p:txBody>
        </p:sp>
        <p:sp>
          <p:nvSpPr>
            <p:cNvPr id="295" name="Freeform 42"/>
            <p:cNvSpPr>
              <a:spLocks/>
            </p:cNvSpPr>
            <p:nvPr/>
          </p:nvSpPr>
          <p:spPr bwMode="auto">
            <a:xfrm>
              <a:off x="763" y="2651"/>
              <a:ext cx="134" cy="188"/>
            </a:xfrm>
            <a:custGeom>
              <a:avLst/>
              <a:gdLst/>
              <a:ahLst/>
              <a:cxnLst>
                <a:cxn ang="0">
                  <a:pos x="49" y="136"/>
                </a:cxn>
                <a:cxn ang="0">
                  <a:pos x="58" y="127"/>
                </a:cxn>
                <a:cxn ang="0">
                  <a:pos x="68" y="117"/>
                </a:cxn>
                <a:cxn ang="0">
                  <a:pos x="88" y="107"/>
                </a:cxn>
                <a:cxn ang="0">
                  <a:pos x="97" y="97"/>
                </a:cxn>
                <a:cxn ang="0">
                  <a:pos x="97" y="88"/>
                </a:cxn>
                <a:cxn ang="0">
                  <a:pos x="97" y="78"/>
                </a:cxn>
                <a:cxn ang="0">
                  <a:pos x="78" y="49"/>
                </a:cxn>
                <a:cxn ang="0">
                  <a:pos x="68" y="49"/>
                </a:cxn>
                <a:cxn ang="0">
                  <a:pos x="58" y="39"/>
                </a:cxn>
                <a:cxn ang="0">
                  <a:pos x="49" y="29"/>
                </a:cxn>
                <a:cxn ang="0">
                  <a:pos x="49" y="19"/>
                </a:cxn>
                <a:cxn ang="0">
                  <a:pos x="39" y="10"/>
                </a:cxn>
                <a:cxn ang="0">
                  <a:pos x="49" y="0"/>
                </a:cxn>
                <a:cxn ang="0">
                  <a:pos x="49" y="10"/>
                </a:cxn>
                <a:cxn ang="0">
                  <a:pos x="68" y="29"/>
                </a:cxn>
                <a:cxn ang="0">
                  <a:pos x="78" y="39"/>
                </a:cxn>
                <a:cxn ang="0">
                  <a:pos x="88" y="49"/>
                </a:cxn>
                <a:cxn ang="0">
                  <a:pos x="107" y="49"/>
                </a:cxn>
                <a:cxn ang="0">
                  <a:pos x="117" y="49"/>
                </a:cxn>
                <a:cxn ang="0">
                  <a:pos x="117" y="68"/>
                </a:cxn>
                <a:cxn ang="0">
                  <a:pos x="136" y="97"/>
                </a:cxn>
                <a:cxn ang="0">
                  <a:pos x="127" y="117"/>
                </a:cxn>
                <a:cxn ang="0">
                  <a:pos x="127" y="127"/>
                </a:cxn>
                <a:cxn ang="0">
                  <a:pos x="127" y="146"/>
                </a:cxn>
                <a:cxn ang="0">
                  <a:pos x="107" y="166"/>
                </a:cxn>
                <a:cxn ang="0">
                  <a:pos x="97" y="175"/>
                </a:cxn>
                <a:cxn ang="0">
                  <a:pos x="88" y="175"/>
                </a:cxn>
                <a:cxn ang="0">
                  <a:pos x="88" y="166"/>
                </a:cxn>
                <a:cxn ang="0">
                  <a:pos x="88" y="156"/>
                </a:cxn>
                <a:cxn ang="0">
                  <a:pos x="97" y="146"/>
                </a:cxn>
                <a:cxn ang="0">
                  <a:pos x="107" y="136"/>
                </a:cxn>
                <a:cxn ang="0">
                  <a:pos x="97" y="136"/>
                </a:cxn>
                <a:cxn ang="0">
                  <a:pos x="88" y="136"/>
                </a:cxn>
                <a:cxn ang="0">
                  <a:pos x="78" y="146"/>
                </a:cxn>
                <a:cxn ang="0">
                  <a:pos x="68" y="156"/>
                </a:cxn>
                <a:cxn ang="0">
                  <a:pos x="49" y="175"/>
                </a:cxn>
                <a:cxn ang="0">
                  <a:pos x="29" y="185"/>
                </a:cxn>
                <a:cxn ang="0">
                  <a:pos x="29" y="185"/>
                </a:cxn>
                <a:cxn ang="0">
                  <a:pos x="19" y="175"/>
                </a:cxn>
                <a:cxn ang="0">
                  <a:pos x="19" y="175"/>
                </a:cxn>
                <a:cxn ang="0">
                  <a:pos x="10" y="166"/>
                </a:cxn>
                <a:cxn ang="0">
                  <a:pos x="0" y="156"/>
                </a:cxn>
                <a:cxn ang="0">
                  <a:pos x="0" y="146"/>
                </a:cxn>
                <a:cxn ang="0">
                  <a:pos x="19" y="136"/>
                </a:cxn>
                <a:cxn ang="0">
                  <a:pos x="29" y="136"/>
                </a:cxn>
                <a:cxn ang="0">
                  <a:pos x="29" y="136"/>
                </a:cxn>
                <a:cxn ang="0">
                  <a:pos x="39" y="146"/>
                </a:cxn>
                <a:cxn ang="0">
                  <a:pos x="49" y="146"/>
                </a:cxn>
              </a:cxnLst>
              <a:rect l="0" t="0" r="r" b="b"/>
              <a:pathLst>
                <a:path w="136" h="185">
                  <a:moveTo>
                    <a:pt x="49" y="136"/>
                  </a:moveTo>
                  <a:lnTo>
                    <a:pt x="58" y="127"/>
                  </a:lnTo>
                  <a:lnTo>
                    <a:pt x="68" y="117"/>
                  </a:lnTo>
                  <a:lnTo>
                    <a:pt x="88" y="107"/>
                  </a:lnTo>
                  <a:lnTo>
                    <a:pt x="97" y="97"/>
                  </a:lnTo>
                  <a:lnTo>
                    <a:pt x="97" y="88"/>
                  </a:lnTo>
                  <a:lnTo>
                    <a:pt x="97" y="78"/>
                  </a:lnTo>
                  <a:lnTo>
                    <a:pt x="78" y="49"/>
                  </a:lnTo>
                  <a:lnTo>
                    <a:pt x="68" y="49"/>
                  </a:lnTo>
                  <a:lnTo>
                    <a:pt x="58" y="39"/>
                  </a:lnTo>
                  <a:lnTo>
                    <a:pt x="49" y="29"/>
                  </a:lnTo>
                  <a:lnTo>
                    <a:pt x="49" y="19"/>
                  </a:lnTo>
                  <a:lnTo>
                    <a:pt x="39" y="10"/>
                  </a:lnTo>
                  <a:lnTo>
                    <a:pt x="49" y="0"/>
                  </a:lnTo>
                  <a:lnTo>
                    <a:pt x="49" y="10"/>
                  </a:lnTo>
                  <a:lnTo>
                    <a:pt x="68" y="29"/>
                  </a:lnTo>
                  <a:lnTo>
                    <a:pt x="78" y="39"/>
                  </a:lnTo>
                  <a:lnTo>
                    <a:pt x="88" y="49"/>
                  </a:lnTo>
                  <a:lnTo>
                    <a:pt x="107" y="49"/>
                  </a:lnTo>
                  <a:lnTo>
                    <a:pt x="117" y="49"/>
                  </a:lnTo>
                  <a:lnTo>
                    <a:pt x="117" y="68"/>
                  </a:lnTo>
                  <a:lnTo>
                    <a:pt x="136" y="97"/>
                  </a:lnTo>
                  <a:lnTo>
                    <a:pt x="127" y="117"/>
                  </a:lnTo>
                  <a:lnTo>
                    <a:pt x="127" y="127"/>
                  </a:lnTo>
                  <a:lnTo>
                    <a:pt x="127" y="146"/>
                  </a:lnTo>
                  <a:lnTo>
                    <a:pt x="107" y="166"/>
                  </a:lnTo>
                  <a:lnTo>
                    <a:pt x="97" y="175"/>
                  </a:lnTo>
                  <a:lnTo>
                    <a:pt x="88" y="175"/>
                  </a:lnTo>
                  <a:lnTo>
                    <a:pt x="88" y="166"/>
                  </a:lnTo>
                  <a:lnTo>
                    <a:pt x="88" y="156"/>
                  </a:lnTo>
                  <a:lnTo>
                    <a:pt x="97" y="146"/>
                  </a:lnTo>
                  <a:lnTo>
                    <a:pt x="107" y="136"/>
                  </a:lnTo>
                  <a:lnTo>
                    <a:pt x="97" y="136"/>
                  </a:lnTo>
                  <a:lnTo>
                    <a:pt x="88" y="136"/>
                  </a:lnTo>
                  <a:lnTo>
                    <a:pt x="78" y="146"/>
                  </a:lnTo>
                  <a:lnTo>
                    <a:pt x="68" y="156"/>
                  </a:lnTo>
                  <a:lnTo>
                    <a:pt x="49" y="175"/>
                  </a:lnTo>
                  <a:lnTo>
                    <a:pt x="29" y="185"/>
                  </a:lnTo>
                  <a:lnTo>
                    <a:pt x="19" y="175"/>
                  </a:lnTo>
                  <a:lnTo>
                    <a:pt x="10" y="166"/>
                  </a:lnTo>
                  <a:lnTo>
                    <a:pt x="0" y="156"/>
                  </a:lnTo>
                  <a:lnTo>
                    <a:pt x="0" y="146"/>
                  </a:lnTo>
                  <a:lnTo>
                    <a:pt x="19" y="136"/>
                  </a:lnTo>
                  <a:lnTo>
                    <a:pt x="29" y="136"/>
                  </a:lnTo>
                  <a:lnTo>
                    <a:pt x="39" y="146"/>
                  </a:lnTo>
                  <a:lnTo>
                    <a:pt x="49" y="146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US" sz="1100">
                <a:latin typeface="Polo" pitchFamily="2" charset="0"/>
                <a:cs typeface="+mn-cs"/>
              </a:endParaRPr>
            </a:p>
          </p:txBody>
        </p:sp>
      </p:grpSp>
      <p:sp>
        <p:nvSpPr>
          <p:cNvPr id="18650" name="Freeform 40"/>
          <p:cNvSpPr>
            <a:spLocks noChangeAspect="1"/>
          </p:cNvSpPr>
          <p:nvPr>
            <p:custDataLst>
              <p:tags r:id="rId216"/>
            </p:custDataLst>
          </p:nvPr>
        </p:nvSpPr>
        <p:spPr bwMode="auto">
          <a:xfrm>
            <a:off x="4630738" y="5053013"/>
            <a:ext cx="215900" cy="277812"/>
          </a:xfrm>
          <a:custGeom>
            <a:avLst/>
            <a:gdLst>
              <a:gd name="T0" fmla="*/ 84483 w 322"/>
              <a:gd name="T1" fmla="*/ 84148 h 449"/>
              <a:gd name="T2" fmla="*/ 78448 w 322"/>
              <a:gd name="T3" fmla="*/ 66205 h 449"/>
              <a:gd name="T4" fmla="*/ 65038 w 322"/>
              <a:gd name="T5" fmla="*/ 78580 h 449"/>
              <a:gd name="T6" fmla="*/ 65038 w 322"/>
              <a:gd name="T7" fmla="*/ 72392 h 449"/>
              <a:gd name="T8" fmla="*/ 78448 w 322"/>
              <a:gd name="T9" fmla="*/ 48262 h 449"/>
              <a:gd name="T10" fmla="*/ 78448 w 322"/>
              <a:gd name="T11" fmla="*/ 11756 h 449"/>
              <a:gd name="T12" fmla="*/ 84483 w 322"/>
              <a:gd name="T13" fmla="*/ 11756 h 449"/>
              <a:gd name="T14" fmla="*/ 97893 w 322"/>
              <a:gd name="T15" fmla="*/ 11756 h 449"/>
              <a:gd name="T16" fmla="*/ 104598 w 322"/>
              <a:gd name="T17" fmla="*/ 24131 h 449"/>
              <a:gd name="T18" fmla="*/ 111302 w 322"/>
              <a:gd name="T19" fmla="*/ 42074 h 449"/>
              <a:gd name="T20" fmla="*/ 137452 w 322"/>
              <a:gd name="T21" fmla="*/ 42074 h 449"/>
              <a:gd name="T22" fmla="*/ 137452 w 322"/>
              <a:gd name="T23" fmla="*/ 24131 h 449"/>
              <a:gd name="T24" fmla="*/ 150191 w 322"/>
              <a:gd name="T25" fmla="*/ 29699 h 449"/>
              <a:gd name="T26" fmla="*/ 163601 w 322"/>
              <a:gd name="T27" fmla="*/ 42074 h 449"/>
              <a:gd name="T28" fmla="*/ 183046 w 322"/>
              <a:gd name="T29" fmla="*/ 42074 h 449"/>
              <a:gd name="T30" fmla="*/ 189751 w 322"/>
              <a:gd name="T31" fmla="*/ 48262 h 449"/>
              <a:gd name="T32" fmla="*/ 202490 w 322"/>
              <a:gd name="T33" fmla="*/ 54449 h 449"/>
              <a:gd name="T34" fmla="*/ 202490 w 322"/>
              <a:gd name="T35" fmla="*/ 60018 h 449"/>
              <a:gd name="T36" fmla="*/ 202490 w 322"/>
              <a:gd name="T37" fmla="*/ 72392 h 449"/>
              <a:gd name="T38" fmla="*/ 209195 w 322"/>
              <a:gd name="T39" fmla="*/ 84148 h 449"/>
              <a:gd name="T40" fmla="*/ 215900 w 322"/>
              <a:gd name="T41" fmla="*/ 102710 h 449"/>
              <a:gd name="T42" fmla="*/ 209195 w 322"/>
              <a:gd name="T43" fmla="*/ 126841 h 449"/>
              <a:gd name="T44" fmla="*/ 202490 w 322"/>
              <a:gd name="T45" fmla="*/ 144166 h 449"/>
              <a:gd name="T46" fmla="*/ 215900 w 322"/>
              <a:gd name="T47" fmla="*/ 162109 h 449"/>
              <a:gd name="T48" fmla="*/ 209195 w 322"/>
              <a:gd name="T49" fmla="*/ 180053 h 449"/>
              <a:gd name="T50" fmla="*/ 195785 w 322"/>
              <a:gd name="T51" fmla="*/ 192427 h 449"/>
              <a:gd name="T52" fmla="*/ 183046 w 322"/>
              <a:gd name="T53" fmla="*/ 204183 h 449"/>
              <a:gd name="T54" fmla="*/ 163601 w 322"/>
              <a:gd name="T55" fmla="*/ 210371 h 449"/>
              <a:gd name="T56" fmla="*/ 143486 w 322"/>
              <a:gd name="T57" fmla="*/ 222745 h 449"/>
              <a:gd name="T58" fmla="*/ 130747 w 322"/>
              <a:gd name="T59" fmla="*/ 234501 h 449"/>
              <a:gd name="T60" fmla="*/ 124042 w 322"/>
              <a:gd name="T61" fmla="*/ 240689 h 449"/>
              <a:gd name="T62" fmla="*/ 104598 w 322"/>
              <a:gd name="T63" fmla="*/ 240689 h 449"/>
              <a:gd name="T64" fmla="*/ 91188 w 322"/>
              <a:gd name="T65" fmla="*/ 264820 h 449"/>
              <a:gd name="T66" fmla="*/ 71743 w 322"/>
              <a:gd name="T67" fmla="*/ 264820 h 449"/>
              <a:gd name="T68" fmla="*/ 58333 w 322"/>
              <a:gd name="T69" fmla="*/ 258632 h 449"/>
              <a:gd name="T70" fmla="*/ 32184 w 322"/>
              <a:gd name="T71" fmla="*/ 264820 h 449"/>
              <a:gd name="T72" fmla="*/ 45594 w 322"/>
              <a:gd name="T73" fmla="*/ 277194 h 449"/>
              <a:gd name="T74" fmla="*/ 19444 w 322"/>
              <a:gd name="T75" fmla="*/ 277194 h 449"/>
              <a:gd name="T76" fmla="*/ 0 w 322"/>
              <a:gd name="T77" fmla="*/ 258632 h 449"/>
              <a:gd name="T78" fmla="*/ 6034 w 322"/>
              <a:gd name="T79" fmla="*/ 246876 h 449"/>
              <a:gd name="T80" fmla="*/ 0 w 322"/>
              <a:gd name="T81" fmla="*/ 234501 h 449"/>
              <a:gd name="T82" fmla="*/ 19444 w 322"/>
              <a:gd name="T83" fmla="*/ 228314 h 449"/>
              <a:gd name="T84" fmla="*/ 32184 w 322"/>
              <a:gd name="T85" fmla="*/ 216558 h 449"/>
              <a:gd name="T86" fmla="*/ 45594 w 322"/>
              <a:gd name="T87" fmla="*/ 216558 h 449"/>
              <a:gd name="T88" fmla="*/ 58333 w 322"/>
              <a:gd name="T89" fmla="*/ 198615 h 449"/>
              <a:gd name="T90" fmla="*/ 78448 w 322"/>
              <a:gd name="T91" fmla="*/ 186240 h 449"/>
              <a:gd name="T92" fmla="*/ 65038 w 322"/>
              <a:gd name="T93" fmla="*/ 174484 h 449"/>
              <a:gd name="T94" fmla="*/ 58333 w 322"/>
              <a:gd name="T95" fmla="*/ 162109 h 449"/>
              <a:gd name="T96" fmla="*/ 71743 w 322"/>
              <a:gd name="T97" fmla="*/ 162109 h 449"/>
              <a:gd name="T98" fmla="*/ 71743 w 322"/>
              <a:gd name="T99" fmla="*/ 144166 h 449"/>
              <a:gd name="T100" fmla="*/ 65038 w 322"/>
              <a:gd name="T101" fmla="*/ 138597 h 449"/>
              <a:gd name="T102" fmla="*/ 78448 w 322"/>
              <a:gd name="T103" fmla="*/ 120654 h 449"/>
              <a:gd name="T104" fmla="*/ 84483 w 322"/>
              <a:gd name="T105" fmla="*/ 102710 h 449"/>
              <a:gd name="T106" fmla="*/ 84483 w 322"/>
              <a:gd name="T107" fmla="*/ 96523 h 449"/>
              <a:gd name="T108" fmla="*/ 91188 w 322"/>
              <a:gd name="T109" fmla="*/ 84148 h 449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322"/>
              <a:gd name="T166" fmla="*/ 0 h 449"/>
              <a:gd name="T167" fmla="*/ 322 w 322"/>
              <a:gd name="T168" fmla="*/ 449 h 449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322" h="449">
                <a:moveTo>
                  <a:pt x="136" y="136"/>
                </a:moveTo>
                <a:lnTo>
                  <a:pt x="126" y="136"/>
                </a:lnTo>
                <a:lnTo>
                  <a:pt x="126" y="127"/>
                </a:lnTo>
                <a:lnTo>
                  <a:pt x="117" y="107"/>
                </a:lnTo>
                <a:lnTo>
                  <a:pt x="107" y="127"/>
                </a:lnTo>
                <a:lnTo>
                  <a:pt x="97" y="127"/>
                </a:lnTo>
                <a:lnTo>
                  <a:pt x="97" y="117"/>
                </a:lnTo>
                <a:lnTo>
                  <a:pt x="117" y="97"/>
                </a:lnTo>
                <a:lnTo>
                  <a:pt x="117" y="78"/>
                </a:lnTo>
                <a:lnTo>
                  <a:pt x="126" y="68"/>
                </a:lnTo>
                <a:lnTo>
                  <a:pt x="117" y="19"/>
                </a:lnTo>
                <a:lnTo>
                  <a:pt x="126" y="19"/>
                </a:lnTo>
                <a:lnTo>
                  <a:pt x="136" y="0"/>
                </a:lnTo>
                <a:lnTo>
                  <a:pt x="146" y="19"/>
                </a:lnTo>
                <a:lnTo>
                  <a:pt x="146" y="39"/>
                </a:lnTo>
                <a:lnTo>
                  <a:pt x="156" y="39"/>
                </a:lnTo>
                <a:lnTo>
                  <a:pt x="166" y="58"/>
                </a:lnTo>
                <a:lnTo>
                  <a:pt x="166" y="68"/>
                </a:lnTo>
                <a:lnTo>
                  <a:pt x="185" y="68"/>
                </a:lnTo>
                <a:lnTo>
                  <a:pt x="205" y="68"/>
                </a:lnTo>
                <a:lnTo>
                  <a:pt x="205" y="58"/>
                </a:lnTo>
                <a:lnTo>
                  <a:pt x="205" y="39"/>
                </a:lnTo>
                <a:lnTo>
                  <a:pt x="214" y="39"/>
                </a:lnTo>
                <a:lnTo>
                  <a:pt x="224" y="48"/>
                </a:lnTo>
                <a:lnTo>
                  <a:pt x="234" y="68"/>
                </a:lnTo>
                <a:lnTo>
                  <a:pt x="244" y="68"/>
                </a:lnTo>
                <a:lnTo>
                  <a:pt x="263" y="68"/>
                </a:lnTo>
                <a:lnTo>
                  <a:pt x="273" y="68"/>
                </a:lnTo>
                <a:lnTo>
                  <a:pt x="273" y="78"/>
                </a:lnTo>
                <a:lnTo>
                  <a:pt x="283" y="78"/>
                </a:lnTo>
                <a:lnTo>
                  <a:pt x="292" y="88"/>
                </a:lnTo>
                <a:lnTo>
                  <a:pt x="302" y="88"/>
                </a:lnTo>
                <a:lnTo>
                  <a:pt x="302" y="97"/>
                </a:lnTo>
                <a:lnTo>
                  <a:pt x="292" y="107"/>
                </a:lnTo>
                <a:lnTo>
                  <a:pt x="302" y="117"/>
                </a:lnTo>
                <a:lnTo>
                  <a:pt x="302" y="127"/>
                </a:lnTo>
                <a:lnTo>
                  <a:pt x="312" y="136"/>
                </a:lnTo>
                <a:lnTo>
                  <a:pt x="312" y="156"/>
                </a:lnTo>
                <a:lnTo>
                  <a:pt x="322" y="166"/>
                </a:lnTo>
                <a:lnTo>
                  <a:pt x="312" y="185"/>
                </a:lnTo>
                <a:lnTo>
                  <a:pt x="312" y="205"/>
                </a:lnTo>
                <a:lnTo>
                  <a:pt x="302" y="224"/>
                </a:lnTo>
                <a:lnTo>
                  <a:pt x="302" y="234"/>
                </a:lnTo>
                <a:lnTo>
                  <a:pt x="312" y="263"/>
                </a:lnTo>
                <a:lnTo>
                  <a:pt x="322" y="263"/>
                </a:lnTo>
                <a:lnTo>
                  <a:pt x="322" y="283"/>
                </a:lnTo>
                <a:lnTo>
                  <a:pt x="312" y="292"/>
                </a:lnTo>
                <a:lnTo>
                  <a:pt x="292" y="292"/>
                </a:lnTo>
                <a:lnTo>
                  <a:pt x="292" y="312"/>
                </a:lnTo>
                <a:lnTo>
                  <a:pt x="283" y="322"/>
                </a:lnTo>
                <a:lnTo>
                  <a:pt x="273" y="331"/>
                </a:lnTo>
                <a:lnTo>
                  <a:pt x="253" y="341"/>
                </a:lnTo>
                <a:lnTo>
                  <a:pt x="244" y="341"/>
                </a:lnTo>
                <a:lnTo>
                  <a:pt x="224" y="351"/>
                </a:lnTo>
                <a:lnTo>
                  <a:pt x="214" y="361"/>
                </a:lnTo>
                <a:lnTo>
                  <a:pt x="195" y="370"/>
                </a:lnTo>
                <a:lnTo>
                  <a:pt x="195" y="380"/>
                </a:lnTo>
                <a:lnTo>
                  <a:pt x="195" y="390"/>
                </a:lnTo>
                <a:lnTo>
                  <a:pt x="185" y="390"/>
                </a:lnTo>
                <a:lnTo>
                  <a:pt x="166" y="390"/>
                </a:lnTo>
                <a:lnTo>
                  <a:pt x="156" y="390"/>
                </a:lnTo>
                <a:lnTo>
                  <a:pt x="156" y="419"/>
                </a:lnTo>
                <a:lnTo>
                  <a:pt x="136" y="429"/>
                </a:lnTo>
                <a:lnTo>
                  <a:pt x="126" y="439"/>
                </a:lnTo>
                <a:lnTo>
                  <a:pt x="107" y="429"/>
                </a:lnTo>
                <a:lnTo>
                  <a:pt x="87" y="429"/>
                </a:lnTo>
                <a:lnTo>
                  <a:pt x="87" y="419"/>
                </a:lnTo>
                <a:lnTo>
                  <a:pt x="68" y="419"/>
                </a:lnTo>
                <a:lnTo>
                  <a:pt x="48" y="429"/>
                </a:lnTo>
                <a:lnTo>
                  <a:pt x="58" y="439"/>
                </a:lnTo>
                <a:lnTo>
                  <a:pt x="68" y="449"/>
                </a:lnTo>
                <a:lnTo>
                  <a:pt x="39" y="439"/>
                </a:lnTo>
                <a:lnTo>
                  <a:pt x="29" y="449"/>
                </a:lnTo>
                <a:lnTo>
                  <a:pt x="0" y="429"/>
                </a:lnTo>
                <a:lnTo>
                  <a:pt x="0" y="419"/>
                </a:lnTo>
                <a:lnTo>
                  <a:pt x="19" y="409"/>
                </a:lnTo>
                <a:lnTo>
                  <a:pt x="9" y="400"/>
                </a:lnTo>
                <a:lnTo>
                  <a:pt x="0" y="390"/>
                </a:lnTo>
                <a:lnTo>
                  <a:pt x="0" y="380"/>
                </a:lnTo>
                <a:lnTo>
                  <a:pt x="19" y="370"/>
                </a:lnTo>
                <a:lnTo>
                  <a:pt x="29" y="370"/>
                </a:lnTo>
                <a:lnTo>
                  <a:pt x="48" y="351"/>
                </a:lnTo>
                <a:lnTo>
                  <a:pt x="58" y="351"/>
                </a:lnTo>
                <a:lnTo>
                  <a:pt x="68" y="351"/>
                </a:lnTo>
                <a:lnTo>
                  <a:pt x="78" y="341"/>
                </a:lnTo>
                <a:lnTo>
                  <a:pt x="87" y="322"/>
                </a:lnTo>
                <a:lnTo>
                  <a:pt x="97" y="312"/>
                </a:lnTo>
                <a:lnTo>
                  <a:pt x="117" y="302"/>
                </a:lnTo>
                <a:lnTo>
                  <a:pt x="117" y="292"/>
                </a:lnTo>
                <a:lnTo>
                  <a:pt x="97" y="283"/>
                </a:lnTo>
                <a:lnTo>
                  <a:pt x="87" y="273"/>
                </a:lnTo>
                <a:lnTo>
                  <a:pt x="87" y="263"/>
                </a:lnTo>
                <a:lnTo>
                  <a:pt x="97" y="263"/>
                </a:lnTo>
                <a:lnTo>
                  <a:pt x="107" y="263"/>
                </a:lnTo>
                <a:lnTo>
                  <a:pt x="107" y="253"/>
                </a:lnTo>
                <a:lnTo>
                  <a:pt x="107" y="234"/>
                </a:lnTo>
                <a:lnTo>
                  <a:pt x="107" y="224"/>
                </a:lnTo>
                <a:lnTo>
                  <a:pt x="97" y="224"/>
                </a:lnTo>
                <a:lnTo>
                  <a:pt x="97" y="205"/>
                </a:lnTo>
                <a:lnTo>
                  <a:pt x="117" y="195"/>
                </a:lnTo>
                <a:lnTo>
                  <a:pt x="126" y="195"/>
                </a:lnTo>
                <a:lnTo>
                  <a:pt x="126" y="166"/>
                </a:lnTo>
                <a:lnTo>
                  <a:pt x="126" y="156"/>
                </a:lnTo>
                <a:lnTo>
                  <a:pt x="136" y="146"/>
                </a:lnTo>
                <a:lnTo>
                  <a:pt x="136" y="136"/>
                </a:lnTo>
                <a:close/>
              </a:path>
            </a:pathLst>
          </a:custGeom>
          <a:solidFill>
            <a:srgbClr val="C0C0C0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7" name="Freeform 39"/>
          <p:cNvSpPr>
            <a:spLocks/>
          </p:cNvSpPr>
          <p:nvPr>
            <p:custDataLst>
              <p:tags r:id="rId217"/>
            </p:custDataLst>
          </p:nvPr>
        </p:nvSpPr>
        <p:spPr bwMode="auto">
          <a:xfrm>
            <a:off x="2917825" y="3875088"/>
            <a:ext cx="182563" cy="144462"/>
          </a:xfrm>
          <a:custGeom>
            <a:avLst/>
            <a:gdLst/>
            <a:ahLst/>
            <a:cxnLst>
              <a:cxn ang="0">
                <a:pos x="273" y="156"/>
              </a:cxn>
              <a:cxn ang="0">
                <a:pos x="264" y="166"/>
              </a:cxn>
              <a:cxn ang="0">
                <a:pos x="244" y="176"/>
              </a:cxn>
              <a:cxn ang="0">
                <a:pos x="225" y="176"/>
              </a:cxn>
              <a:cxn ang="0">
                <a:pos x="215" y="185"/>
              </a:cxn>
              <a:cxn ang="0">
                <a:pos x="205" y="195"/>
              </a:cxn>
              <a:cxn ang="0">
                <a:pos x="195" y="195"/>
              </a:cxn>
              <a:cxn ang="0">
                <a:pos x="186" y="195"/>
              </a:cxn>
              <a:cxn ang="0">
                <a:pos x="176" y="215"/>
              </a:cxn>
              <a:cxn ang="0">
                <a:pos x="166" y="224"/>
              </a:cxn>
              <a:cxn ang="0">
                <a:pos x="156" y="224"/>
              </a:cxn>
              <a:cxn ang="0">
                <a:pos x="147" y="224"/>
              </a:cxn>
              <a:cxn ang="0">
                <a:pos x="137" y="234"/>
              </a:cxn>
              <a:cxn ang="0">
                <a:pos x="127" y="234"/>
              </a:cxn>
              <a:cxn ang="0">
                <a:pos x="127" y="215"/>
              </a:cxn>
              <a:cxn ang="0">
                <a:pos x="108" y="205"/>
              </a:cxn>
              <a:cxn ang="0">
                <a:pos x="98" y="205"/>
              </a:cxn>
              <a:cxn ang="0">
                <a:pos x="88" y="205"/>
              </a:cxn>
              <a:cxn ang="0">
                <a:pos x="78" y="215"/>
              </a:cxn>
              <a:cxn ang="0">
                <a:pos x="59" y="215"/>
              </a:cxn>
              <a:cxn ang="0">
                <a:pos x="49" y="215"/>
              </a:cxn>
              <a:cxn ang="0">
                <a:pos x="30" y="215"/>
              </a:cxn>
              <a:cxn ang="0">
                <a:pos x="0" y="185"/>
              </a:cxn>
              <a:cxn ang="0">
                <a:pos x="0" y="176"/>
              </a:cxn>
              <a:cxn ang="0">
                <a:pos x="0" y="166"/>
              </a:cxn>
              <a:cxn ang="0">
                <a:pos x="30" y="146"/>
              </a:cxn>
              <a:cxn ang="0">
                <a:pos x="49" y="127"/>
              </a:cxn>
              <a:cxn ang="0">
                <a:pos x="59" y="127"/>
              </a:cxn>
              <a:cxn ang="0">
                <a:pos x="69" y="117"/>
              </a:cxn>
              <a:cxn ang="0">
                <a:pos x="59" y="107"/>
              </a:cxn>
              <a:cxn ang="0">
                <a:pos x="59" y="88"/>
              </a:cxn>
              <a:cxn ang="0">
                <a:pos x="78" y="68"/>
              </a:cxn>
              <a:cxn ang="0">
                <a:pos x="88" y="58"/>
              </a:cxn>
              <a:cxn ang="0">
                <a:pos x="88" y="29"/>
              </a:cxn>
              <a:cxn ang="0">
                <a:pos x="108" y="29"/>
              </a:cxn>
              <a:cxn ang="0">
                <a:pos x="117" y="29"/>
              </a:cxn>
              <a:cxn ang="0">
                <a:pos x="108" y="19"/>
              </a:cxn>
              <a:cxn ang="0">
                <a:pos x="127" y="10"/>
              </a:cxn>
              <a:cxn ang="0">
                <a:pos x="147" y="0"/>
              </a:cxn>
              <a:cxn ang="0">
                <a:pos x="137" y="10"/>
              </a:cxn>
              <a:cxn ang="0">
                <a:pos x="147" y="19"/>
              </a:cxn>
              <a:cxn ang="0">
                <a:pos x="156" y="19"/>
              </a:cxn>
              <a:cxn ang="0">
                <a:pos x="166" y="19"/>
              </a:cxn>
              <a:cxn ang="0">
                <a:pos x="176" y="19"/>
              </a:cxn>
              <a:cxn ang="0">
                <a:pos x="195" y="29"/>
              </a:cxn>
              <a:cxn ang="0">
                <a:pos x="215" y="39"/>
              </a:cxn>
              <a:cxn ang="0">
                <a:pos x="225" y="58"/>
              </a:cxn>
              <a:cxn ang="0">
                <a:pos x="225" y="58"/>
              </a:cxn>
              <a:cxn ang="0">
                <a:pos x="244" y="58"/>
              </a:cxn>
              <a:cxn ang="0">
                <a:pos x="254" y="58"/>
              </a:cxn>
              <a:cxn ang="0">
                <a:pos x="264" y="78"/>
              </a:cxn>
              <a:cxn ang="0">
                <a:pos x="264" y="97"/>
              </a:cxn>
              <a:cxn ang="0">
                <a:pos x="254" y="127"/>
              </a:cxn>
              <a:cxn ang="0">
                <a:pos x="264" y="136"/>
              </a:cxn>
              <a:cxn ang="0">
                <a:pos x="264" y="146"/>
              </a:cxn>
              <a:cxn ang="0">
                <a:pos x="273" y="156"/>
              </a:cxn>
            </a:cxnLst>
            <a:rect l="0" t="0" r="r" b="b"/>
            <a:pathLst>
              <a:path w="273" h="234">
                <a:moveTo>
                  <a:pt x="273" y="156"/>
                </a:moveTo>
                <a:lnTo>
                  <a:pt x="264" y="166"/>
                </a:lnTo>
                <a:lnTo>
                  <a:pt x="244" y="176"/>
                </a:lnTo>
                <a:lnTo>
                  <a:pt x="225" y="176"/>
                </a:lnTo>
                <a:lnTo>
                  <a:pt x="215" y="185"/>
                </a:lnTo>
                <a:lnTo>
                  <a:pt x="205" y="195"/>
                </a:lnTo>
                <a:lnTo>
                  <a:pt x="195" y="195"/>
                </a:lnTo>
                <a:lnTo>
                  <a:pt x="186" y="195"/>
                </a:lnTo>
                <a:lnTo>
                  <a:pt x="176" y="215"/>
                </a:lnTo>
                <a:lnTo>
                  <a:pt x="166" y="224"/>
                </a:lnTo>
                <a:lnTo>
                  <a:pt x="156" y="224"/>
                </a:lnTo>
                <a:lnTo>
                  <a:pt x="147" y="224"/>
                </a:lnTo>
                <a:lnTo>
                  <a:pt x="137" y="234"/>
                </a:lnTo>
                <a:lnTo>
                  <a:pt x="127" y="234"/>
                </a:lnTo>
                <a:lnTo>
                  <a:pt x="127" y="215"/>
                </a:lnTo>
                <a:lnTo>
                  <a:pt x="108" y="205"/>
                </a:lnTo>
                <a:lnTo>
                  <a:pt x="98" y="205"/>
                </a:lnTo>
                <a:lnTo>
                  <a:pt x="88" y="205"/>
                </a:lnTo>
                <a:lnTo>
                  <a:pt x="78" y="215"/>
                </a:lnTo>
                <a:lnTo>
                  <a:pt x="59" y="215"/>
                </a:lnTo>
                <a:lnTo>
                  <a:pt x="49" y="215"/>
                </a:lnTo>
                <a:lnTo>
                  <a:pt x="30" y="215"/>
                </a:lnTo>
                <a:lnTo>
                  <a:pt x="0" y="185"/>
                </a:lnTo>
                <a:lnTo>
                  <a:pt x="0" y="176"/>
                </a:lnTo>
                <a:lnTo>
                  <a:pt x="0" y="166"/>
                </a:lnTo>
                <a:lnTo>
                  <a:pt x="30" y="146"/>
                </a:lnTo>
                <a:lnTo>
                  <a:pt x="49" y="127"/>
                </a:lnTo>
                <a:lnTo>
                  <a:pt x="59" y="127"/>
                </a:lnTo>
                <a:lnTo>
                  <a:pt x="69" y="117"/>
                </a:lnTo>
                <a:lnTo>
                  <a:pt x="59" y="107"/>
                </a:lnTo>
                <a:lnTo>
                  <a:pt x="59" y="88"/>
                </a:lnTo>
                <a:lnTo>
                  <a:pt x="78" y="68"/>
                </a:lnTo>
                <a:lnTo>
                  <a:pt x="88" y="58"/>
                </a:lnTo>
                <a:lnTo>
                  <a:pt x="88" y="29"/>
                </a:lnTo>
                <a:lnTo>
                  <a:pt x="108" y="29"/>
                </a:lnTo>
                <a:lnTo>
                  <a:pt x="117" y="29"/>
                </a:lnTo>
                <a:lnTo>
                  <a:pt x="108" y="19"/>
                </a:lnTo>
                <a:lnTo>
                  <a:pt x="127" y="10"/>
                </a:lnTo>
                <a:lnTo>
                  <a:pt x="147" y="0"/>
                </a:lnTo>
                <a:lnTo>
                  <a:pt x="137" y="10"/>
                </a:lnTo>
                <a:lnTo>
                  <a:pt x="147" y="19"/>
                </a:lnTo>
                <a:lnTo>
                  <a:pt x="156" y="19"/>
                </a:lnTo>
                <a:lnTo>
                  <a:pt x="166" y="19"/>
                </a:lnTo>
                <a:lnTo>
                  <a:pt x="176" y="19"/>
                </a:lnTo>
                <a:lnTo>
                  <a:pt x="195" y="29"/>
                </a:lnTo>
                <a:lnTo>
                  <a:pt x="215" y="39"/>
                </a:lnTo>
                <a:lnTo>
                  <a:pt x="225" y="58"/>
                </a:lnTo>
                <a:lnTo>
                  <a:pt x="244" y="58"/>
                </a:lnTo>
                <a:lnTo>
                  <a:pt x="254" y="58"/>
                </a:lnTo>
                <a:lnTo>
                  <a:pt x="264" y="78"/>
                </a:lnTo>
                <a:lnTo>
                  <a:pt x="264" y="97"/>
                </a:lnTo>
                <a:lnTo>
                  <a:pt x="254" y="127"/>
                </a:lnTo>
                <a:lnTo>
                  <a:pt x="264" y="136"/>
                </a:lnTo>
                <a:lnTo>
                  <a:pt x="264" y="146"/>
                </a:lnTo>
                <a:lnTo>
                  <a:pt x="273" y="15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en-US" sz="1100">
              <a:latin typeface="Polo" pitchFamily="2" charset="0"/>
              <a:cs typeface="+mn-cs"/>
            </a:endParaRPr>
          </a:p>
        </p:txBody>
      </p:sp>
      <p:grpSp>
        <p:nvGrpSpPr>
          <p:cNvPr id="18652" name="Group 36"/>
          <p:cNvGrpSpPr>
            <a:grpSpLocks noChangeAspect="1"/>
          </p:cNvGrpSpPr>
          <p:nvPr>
            <p:custDataLst>
              <p:tags r:id="rId218"/>
            </p:custDataLst>
          </p:nvPr>
        </p:nvGrpSpPr>
        <p:grpSpPr bwMode="auto">
          <a:xfrm>
            <a:off x="4233863" y="3417888"/>
            <a:ext cx="419100" cy="128587"/>
            <a:chOff x="3863" y="917"/>
            <a:chExt cx="624" cy="205"/>
          </a:xfrm>
        </p:grpSpPr>
        <p:sp>
          <p:nvSpPr>
            <p:cNvPr id="18736" name="Freeform 38"/>
            <p:cNvSpPr>
              <a:spLocks noChangeAspect="1"/>
            </p:cNvSpPr>
            <p:nvPr/>
          </p:nvSpPr>
          <p:spPr bwMode="auto">
            <a:xfrm>
              <a:off x="3863" y="917"/>
              <a:ext cx="624" cy="205"/>
            </a:xfrm>
            <a:custGeom>
              <a:avLst/>
              <a:gdLst>
                <a:gd name="T0" fmla="*/ 39 w 624"/>
                <a:gd name="T1" fmla="*/ 127 h 205"/>
                <a:gd name="T2" fmla="*/ 19 w 624"/>
                <a:gd name="T3" fmla="*/ 127 h 205"/>
                <a:gd name="T4" fmla="*/ 58 w 624"/>
                <a:gd name="T5" fmla="*/ 98 h 205"/>
                <a:gd name="T6" fmla="*/ 87 w 624"/>
                <a:gd name="T7" fmla="*/ 88 h 205"/>
                <a:gd name="T8" fmla="*/ 97 w 624"/>
                <a:gd name="T9" fmla="*/ 88 h 205"/>
                <a:gd name="T10" fmla="*/ 107 w 624"/>
                <a:gd name="T11" fmla="*/ 78 h 205"/>
                <a:gd name="T12" fmla="*/ 136 w 624"/>
                <a:gd name="T13" fmla="*/ 78 h 205"/>
                <a:gd name="T14" fmla="*/ 136 w 624"/>
                <a:gd name="T15" fmla="*/ 59 h 205"/>
                <a:gd name="T16" fmla="*/ 175 w 624"/>
                <a:gd name="T17" fmla="*/ 78 h 205"/>
                <a:gd name="T18" fmla="*/ 156 w 624"/>
                <a:gd name="T19" fmla="*/ 49 h 205"/>
                <a:gd name="T20" fmla="*/ 175 w 624"/>
                <a:gd name="T21" fmla="*/ 39 h 205"/>
                <a:gd name="T22" fmla="*/ 185 w 624"/>
                <a:gd name="T23" fmla="*/ 20 h 205"/>
                <a:gd name="T24" fmla="*/ 205 w 624"/>
                <a:gd name="T25" fmla="*/ 29 h 205"/>
                <a:gd name="T26" fmla="*/ 234 w 624"/>
                <a:gd name="T27" fmla="*/ 20 h 205"/>
                <a:gd name="T28" fmla="*/ 244 w 624"/>
                <a:gd name="T29" fmla="*/ 20 h 205"/>
                <a:gd name="T30" fmla="*/ 292 w 624"/>
                <a:gd name="T31" fmla="*/ 10 h 205"/>
                <a:gd name="T32" fmla="*/ 331 w 624"/>
                <a:gd name="T33" fmla="*/ 10 h 205"/>
                <a:gd name="T34" fmla="*/ 370 w 624"/>
                <a:gd name="T35" fmla="*/ 10 h 205"/>
                <a:gd name="T36" fmla="*/ 380 w 624"/>
                <a:gd name="T37" fmla="*/ 20 h 205"/>
                <a:gd name="T38" fmla="*/ 409 w 624"/>
                <a:gd name="T39" fmla="*/ 10 h 205"/>
                <a:gd name="T40" fmla="*/ 429 w 624"/>
                <a:gd name="T41" fmla="*/ 29 h 205"/>
                <a:gd name="T42" fmla="*/ 478 w 624"/>
                <a:gd name="T43" fmla="*/ 49 h 205"/>
                <a:gd name="T44" fmla="*/ 526 w 624"/>
                <a:gd name="T45" fmla="*/ 39 h 205"/>
                <a:gd name="T46" fmla="*/ 546 w 624"/>
                <a:gd name="T47" fmla="*/ 29 h 205"/>
                <a:gd name="T48" fmla="*/ 604 w 624"/>
                <a:gd name="T49" fmla="*/ 20 h 205"/>
                <a:gd name="T50" fmla="*/ 624 w 624"/>
                <a:gd name="T51" fmla="*/ 59 h 205"/>
                <a:gd name="T52" fmla="*/ 585 w 624"/>
                <a:gd name="T53" fmla="*/ 98 h 205"/>
                <a:gd name="T54" fmla="*/ 497 w 624"/>
                <a:gd name="T55" fmla="*/ 117 h 205"/>
                <a:gd name="T56" fmla="*/ 429 w 624"/>
                <a:gd name="T57" fmla="*/ 107 h 205"/>
                <a:gd name="T58" fmla="*/ 361 w 624"/>
                <a:gd name="T59" fmla="*/ 107 h 205"/>
                <a:gd name="T60" fmla="*/ 341 w 624"/>
                <a:gd name="T61" fmla="*/ 98 h 205"/>
                <a:gd name="T62" fmla="*/ 302 w 624"/>
                <a:gd name="T63" fmla="*/ 117 h 205"/>
                <a:gd name="T64" fmla="*/ 283 w 624"/>
                <a:gd name="T65" fmla="*/ 117 h 205"/>
                <a:gd name="T66" fmla="*/ 263 w 624"/>
                <a:gd name="T67" fmla="*/ 137 h 205"/>
                <a:gd name="T68" fmla="*/ 234 w 624"/>
                <a:gd name="T69" fmla="*/ 137 h 205"/>
                <a:gd name="T70" fmla="*/ 234 w 624"/>
                <a:gd name="T71" fmla="*/ 117 h 205"/>
                <a:gd name="T72" fmla="*/ 205 w 624"/>
                <a:gd name="T73" fmla="*/ 137 h 205"/>
                <a:gd name="T74" fmla="*/ 195 w 624"/>
                <a:gd name="T75" fmla="*/ 137 h 205"/>
                <a:gd name="T76" fmla="*/ 165 w 624"/>
                <a:gd name="T77" fmla="*/ 156 h 205"/>
                <a:gd name="T78" fmla="*/ 156 w 624"/>
                <a:gd name="T79" fmla="*/ 137 h 205"/>
                <a:gd name="T80" fmla="*/ 146 w 624"/>
                <a:gd name="T81" fmla="*/ 166 h 205"/>
                <a:gd name="T82" fmla="*/ 126 w 624"/>
                <a:gd name="T83" fmla="*/ 176 h 205"/>
                <a:gd name="T84" fmla="*/ 107 w 624"/>
                <a:gd name="T85" fmla="*/ 156 h 205"/>
                <a:gd name="T86" fmla="*/ 97 w 624"/>
                <a:gd name="T87" fmla="*/ 195 h 205"/>
                <a:gd name="T88" fmla="*/ 87 w 624"/>
                <a:gd name="T89" fmla="*/ 195 h 205"/>
                <a:gd name="T90" fmla="*/ 68 w 624"/>
                <a:gd name="T91" fmla="*/ 205 h 205"/>
                <a:gd name="T92" fmla="*/ 58 w 624"/>
                <a:gd name="T93" fmla="*/ 176 h 205"/>
                <a:gd name="T94" fmla="*/ 19 w 624"/>
                <a:gd name="T95" fmla="*/ 146 h 205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624"/>
                <a:gd name="T145" fmla="*/ 0 h 205"/>
                <a:gd name="T146" fmla="*/ 624 w 624"/>
                <a:gd name="T147" fmla="*/ 205 h 205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624" h="205">
                  <a:moveTo>
                    <a:pt x="0" y="146"/>
                  </a:moveTo>
                  <a:lnTo>
                    <a:pt x="9" y="137"/>
                  </a:lnTo>
                  <a:lnTo>
                    <a:pt x="9" y="127"/>
                  </a:lnTo>
                  <a:lnTo>
                    <a:pt x="39" y="127"/>
                  </a:lnTo>
                  <a:lnTo>
                    <a:pt x="48" y="137"/>
                  </a:lnTo>
                  <a:lnTo>
                    <a:pt x="48" y="127"/>
                  </a:lnTo>
                  <a:lnTo>
                    <a:pt x="39" y="117"/>
                  </a:lnTo>
                  <a:lnTo>
                    <a:pt x="19" y="127"/>
                  </a:lnTo>
                  <a:lnTo>
                    <a:pt x="19" y="117"/>
                  </a:lnTo>
                  <a:lnTo>
                    <a:pt x="19" y="98"/>
                  </a:lnTo>
                  <a:lnTo>
                    <a:pt x="29" y="98"/>
                  </a:lnTo>
                  <a:lnTo>
                    <a:pt x="58" y="98"/>
                  </a:lnTo>
                  <a:lnTo>
                    <a:pt x="68" y="107"/>
                  </a:lnTo>
                  <a:lnTo>
                    <a:pt x="68" y="98"/>
                  </a:lnTo>
                  <a:lnTo>
                    <a:pt x="78" y="88"/>
                  </a:lnTo>
                  <a:lnTo>
                    <a:pt x="87" y="88"/>
                  </a:lnTo>
                  <a:lnTo>
                    <a:pt x="87" y="98"/>
                  </a:lnTo>
                  <a:lnTo>
                    <a:pt x="107" y="117"/>
                  </a:lnTo>
                  <a:lnTo>
                    <a:pt x="107" y="98"/>
                  </a:lnTo>
                  <a:lnTo>
                    <a:pt x="97" y="88"/>
                  </a:lnTo>
                  <a:lnTo>
                    <a:pt x="97" y="78"/>
                  </a:lnTo>
                  <a:lnTo>
                    <a:pt x="107" y="88"/>
                  </a:lnTo>
                  <a:lnTo>
                    <a:pt x="117" y="88"/>
                  </a:lnTo>
                  <a:lnTo>
                    <a:pt x="107" y="78"/>
                  </a:lnTo>
                  <a:lnTo>
                    <a:pt x="117" y="68"/>
                  </a:lnTo>
                  <a:lnTo>
                    <a:pt x="126" y="78"/>
                  </a:lnTo>
                  <a:lnTo>
                    <a:pt x="136" y="78"/>
                  </a:lnTo>
                  <a:lnTo>
                    <a:pt x="126" y="68"/>
                  </a:lnTo>
                  <a:lnTo>
                    <a:pt x="136" y="59"/>
                  </a:lnTo>
                  <a:lnTo>
                    <a:pt x="146" y="68"/>
                  </a:lnTo>
                  <a:lnTo>
                    <a:pt x="165" y="68"/>
                  </a:lnTo>
                  <a:lnTo>
                    <a:pt x="165" y="78"/>
                  </a:lnTo>
                  <a:lnTo>
                    <a:pt x="175" y="78"/>
                  </a:lnTo>
                  <a:lnTo>
                    <a:pt x="165" y="68"/>
                  </a:lnTo>
                  <a:lnTo>
                    <a:pt x="165" y="59"/>
                  </a:lnTo>
                  <a:lnTo>
                    <a:pt x="156" y="59"/>
                  </a:lnTo>
                  <a:lnTo>
                    <a:pt x="156" y="49"/>
                  </a:lnTo>
                  <a:lnTo>
                    <a:pt x="185" y="59"/>
                  </a:lnTo>
                  <a:lnTo>
                    <a:pt x="185" y="39"/>
                  </a:lnTo>
                  <a:lnTo>
                    <a:pt x="175" y="39"/>
                  </a:lnTo>
                  <a:lnTo>
                    <a:pt x="165" y="29"/>
                  </a:lnTo>
                  <a:lnTo>
                    <a:pt x="175" y="20"/>
                  </a:lnTo>
                  <a:lnTo>
                    <a:pt x="185" y="20"/>
                  </a:lnTo>
                  <a:lnTo>
                    <a:pt x="195" y="29"/>
                  </a:lnTo>
                  <a:lnTo>
                    <a:pt x="185" y="39"/>
                  </a:lnTo>
                  <a:lnTo>
                    <a:pt x="195" y="39"/>
                  </a:lnTo>
                  <a:lnTo>
                    <a:pt x="205" y="29"/>
                  </a:lnTo>
                  <a:lnTo>
                    <a:pt x="214" y="29"/>
                  </a:lnTo>
                  <a:lnTo>
                    <a:pt x="214" y="20"/>
                  </a:lnTo>
                  <a:lnTo>
                    <a:pt x="224" y="20"/>
                  </a:lnTo>
                  <a:lnTo>
                    <a:pt x="234" y="20"/>
                  </a:lnTo>
                  <a:lnTo>
                    <a:pt x="234" y="39"/>
                  </a:lnTo>
                  <a:lnTo>
                    <a:pt x="244" y="39"/>
                  </a:lnTo>
                  <a:lnTo>
                    <a:pt x="244" y="29"/>
                  </a:lnTo>
                  <a:lnTo>
                    <a:pt x="244" y="20"/>
                  </a:lnTo>
                  <a:lnTo>
                    <a:pt x="253" y="10"/>
                  </a:lnTo>
                  <a:lnTo>
                    <a:pt x="273" y="20"/>
                  </a:lnTo>
                  <a:lnTo>
                    <a:pt x="273" y="10"/>
                  </a:lnTo>
                  <a:lnTo>
                    <a:pt x="292" y="10"/>
                  </a:lnTo>
                  <a:lnTo>
                    <a:pt x="292" y="0"/>
                  </a:lnTo>
                  <a:lnTo>
                    <a:pt x="312" y="10"/>
                  </a:lnTo>
                  <a:lnTo>
                    <a:pt x="331" y="10"/>
                  </a:lnTo>
                  <a:lnTo>
                    <a:pt x="331" y="20"/>
                  </a:lnTo>
                  <a:lnTo>
                    <a:pt x="351" y="20"/>
                  </a:lnTo>
                  <a:lnTo>
                    <a:pt x="351" y="10"/>
                  </a:lnTo>
                  <a:lnTo>
                    <a:pt x="370" y="10"/>
                  </a:lnTo>
                  <a:lnTo>
                    <a:pt x="370" y="20"/>
                  </a:lnTo>
                  <a:lnTo>
                    <a:pt x="361" y="20"/>
                  </a:lnTo>
                  <a:lnTo>
                    <a:pt x="370" y="20"/>
                  </a:lnTo>
                  <a:lnTo>
                    <a:pt x="380" y="20"/>
                  </a:lnTo>
                  <a:lnTo>
                    <a:pt x="380" y="10"/>
                  </a:lnTo>
                  <a:lnTo>
                    <a:pt x="390" y="0"/>
                  </a:lnTo>
                  <a:lnTo>
                    <a:pt x="400" y="0"/>
                  </a:lnTo>
                  <a:lnTo>
                    <a:pt x="409" y="10"/>
                  </a:lnTo>
                  <a:lnTo>
                    <a:pt x="409" y="20"/>
                  </a:lnTo>
                  <a:lnTo>
                    <a:pt x="429" y="20"/>
                  </a:lnTo>
                  <a:lnTo>
                    <a:pt x="429" y="39"/>
                  </a:lnTo>
                  <a:lnTo>
                    <a:pt x="429" y="29"/>
                  </a:lnTo>
                  <a:lnTo>
                    <a:pt x="439" y="39"/>
                  </a:lnTo>
                  <a:lnTo>
                    <a:pt x="458" y="39"/>
                  </a:lnTo>
                  <a:lnTo>
                    <a:pt x="468" y="39"/>
                  </a:lnTo>
                  <a:lnTo>
                    <a:pt x="478" y="49"/>
                  </a:lnTo>
                  <a:lnTo>
                    <a:pt x="497" y="39"/>
                  </a:lnTo>
                  <a:lnTo>
                    <a:pt x="507" y="39"/>
                  </a:lnTo>
                  <a:lnTo>
                    <a:pt x="526" y="39"/>
                  </a:lnTo>
                  <a:lnTo>
                    <a:pt x="526" y="49"/>
                  </a:lnTo>
                  <a:lnTo>
                    <a:pt x="536" y="39"/>
                  </a:lnTo>
                  <a:lnTo>
                    <a:pt x="536" y="29"/>
                  </a:lnTo>
                  <a:lnTo>
                    <a:pt x="546" y="29"/>
                  </a:lnTo>
                  <a:lnTo>
                    <a:pt x="556" y="29"/>
                  </a:lnTo>
                  <a:lnTo>
                    <a:pt x="565" y="20"/>
                  </a:lnTo>
                  <a:lnTo>
                    <a:pt x="575" y="20"/>
                  </a:lnTo>
                  <a:lnTo>
                    <a:pt x="604" y="20"/>
                  </a:lnTo>
                  <a:lnTo>
                    <a:pt x="614" y="29"/>
                  </a:lnTo>
                  <a:lnTo>
                    <a:pt x="624" y="39"/>
                  </a:lnTo>
                  <a:lnTo>
                    <a:pt x="624" y="49"/>
                  </a:lnTo>
                  <a:lnTo>
                    <a:pt x="624" y="59"/>
                  </a:lnTo>
                  <a:lnTo>
                    <a:pt x="624" y="78"/>
                  </a:lnTo>
                  <a:lnTo>
                    <a:pt x="614" y="88"/>
                  </a:lnTo>
                  <a:lnTo>
                    <a:pt x="604" y="88"/>
                  </a:lnTo>
                  <a:lnTo>
                    <a:pt x="585" y="98"/>
                  </a:lnTo>
                  <a:lnTo>
                    <a:pt x="575" y="107"/>
                  </a:lnTo>
                  <a:lnTo>
                    <a:pt x="565" y="107"/>
                  </a:lnTo>
                  <a:lnTo>
                    <a:pt x="526" y="117"/>
                  </a:lnTo>
                  <a:lnTo>
                    <a:pt x="497" y="117"/>
                  </a:lnTo>
                  <a:lnTo>
                    <a:pt x="487" y="117"/>
                  </a:lnTo>
                  <a:lnTo>
                    <a:pt x="468" y="117"/>
                  </a:lnTo>
                  <a:lnTo>
                    <a:pt x="448" y="107"/>
                  </a:lnTo>
                  <a:lnTo>
                    <a:pt x="429" y="107"/>
                  </a:lnTo>
                  <a:lnTo>
                    <a:pt x="419" y="98"/>
                  </a:lnTo>
                  <a:lnTo>
                    <a:pt x="409" y="107"/>
                  </a:lnTo>
                  <a:lnTo>
                    <a:pt x="380" y="107"/>
                  </a:lnTo>
                  <a:lnTo>
                    <a:pt x="361" y="107"/>
                  </a:lnTo>
                  <a:lnTo>
                    <a:pt x="341" y="107"/>
                  </a:lnTo>
                  <a:lnTo>
                    <a:pt x="331" y="117"/>
                  </a:lnTo>
                  <a:lnTo>
                    <a:pt x="331" y="107"/>
                  </a:lnTo>
                  <a:lnTo>
                    <a:pt x="341" y="98"/>
                  </a:lnTo>
                  <a:lnTo>
                    <a:pt x="331" y="98"/>
                  </a:lnTo>
                  <a:lnTo>
                    <a:pt x="322" y="107"/>
                  </a:lnTo>
                  <a:lnTo>
                    <a:pt x="312" y="107"/>
                  </a:lnTo>
                  <a:lnTo>
                    <a:pt x="302" y="117"/>
                  </a:lnTo>
                  <a:lnTo>
                    <a:pt x="292" y="107"/>
                  </a:lnTo>
                  <a:lnTo>
                    <a:pt x="283" y="107"/>
                  </a:lnTo>
                  <a:lnTo>
                    <a:pt x="283" y="117"/>
                  </a:lnTo>
                  <a:lnTo>
                    <a:pt x="292" y="127"/>
                  </a:lnTo>
                  <a:lnTo>
                    <a:pt x="283" y="127"/>
                  </a:lnTo>
                  <a:lnTo>
                    <a:pt x="273" y="127"/>
                  </a:lnTo>
                  <a:lnTo>
                    <a:pt x="263" y="137"/>
                  </a:lnTo>
                  <a:lnTo>
                    <a:pt x="253" y="127"/>
                  </a:lnTo>
                  <a:lnTo>
                    <a:pt x="244" y="137"/>
                  </a:lnTo>
                  <a:lnTo>
                    <a:pt x="234" y="137"/>
                  </a:lnTo>
                  <a:lnTo>
                    <a:pt x="234" y="127"/>
                  </a:lnTo>
                  <a:lnTo>
                    <a:pt x="244" y="117"/>
                  </a:lnTo>
                  <a:lnTo>
                    <a:pt x="234" y="117"/>
                  </a:lnTo>
                  <a:lnTo>
                    <a:pt x="234" y="127"/>
                  </a:lnTo>
                  <a:lnTo>
                    <a:pt x="224" y="137"/>
                  </a:lnTo>
                  <a:lnTo>
                    <a:pt x="205" y="137"/>
                  </a:lnTo>
                  <a:lnTo>
                    <a:pt x="205" y="117"/>
                  </a:lnTo>
                  <a:lnTo>
                    <a:pt x="195" y="117"/>
                  </a:lnTo>
                  <a:lnTo>
                    <a:pt x="195" y="127"/>
                  </a:lnTo>
                  <a:lnTo>
                    <a:pt x="195" y="137"/>
                  </a:lnTo>
                  <a:lnTo>
                    <a:pt x="195" y="146"/>
                  </a:lnTo>
                  <a:lnTo>
                    <a:pt x="185" y="156"/>
                  </a:lnTo>
                  <a:lnTo>
                    <a:pt x="165" y="156"/>
                  </a:lnTo>
                  <a:lnTo>
                    <a:pt x="165" y="166"/>
                  </a:lnTo>
                  <a:lnTo>
                    <a:pt x="156" y="166"/>
                  </a:lnTo>
                  <a:lnTo>
                    <a:pt x="156" y="146"/>
                  </a:lnTo>
                  <a:lnTo>
                    <a:pt x="156" y="137"/>
                  </a:lnTo>
                  <a:lnTo>
                    <a:pt x="146" y="137"/>
                  </a:lnTo>
                  <a:lnTo>
                    <a:pt x="146" y="146"/>
                  </a:lnTo>
                  <a:lnTo>
                    <a:pt x="146" y="156"/>
                  </a:lnTo>
                  <a:lnTo>
                    <a:pt x="146" y="166"/>
                  </a:lnTo>
                  <a:lnTo>
                    <a:pt x="136" y="176"/>
                  </a:lnTo>
                  <a:lnTo>
                    <a:pt x="136" y="186"/>
                  </a:lnTo>
                  <a:lnTo>
                    <a:pt x="126" y="176"/>
                  </a:lnTo>
                  <a:lnTo>
                    <a:pt x="126" y="156"/>
                  </a:lnTo>
                  <a:lnTo>
                    <a:pt x="117" y="146"/>
                  </a:lnTo>
                  <a:lnTo>
                    <a:pt x="107" y="156"/>
                  </a:lnTo>
                  <a:lnTo>
                    <a:pt x="117" y="176"/>
                  </a:lnTo>
                  <a:lnTo>
                    <a:pt x="117" y="195"/>
                  </a:lnTo>
                  <a:lnTo>
                    <a:pt x="97" y="195"/>
                  </a:lnTo>
                  <a:lnTo>
                    <a:pt x="97" y="176"/>
                  </a:lnTo>
                  <a:lnTo>
                    <a:pt x="97" y="166"/>
                  </a:lnTo>
                  <a:lnTo>
                    <a:pt x="87" y="176"/>
                  </a:lnTo>
                  <a:lnTo>
                    <a:pt x="87" y="195"/>
                  </a:lnTo>
                  <a:lnTo>
                    <a:pt x="78" y="205"/>
                  </a:lnTo>
                  <a:lnTo>
                    <a:pt x="68" y="195"/>
                  </a:lnTo>
                  <a:lnTo>
                    <a:pt x="68" y="205"/>
                  </a:lnTo>
                  <a:lnTo>
                    <a:pt x="58" y="205"/>
                  </a:lnTo>
                  <a:lnTo>
                    <a:pt x="48" y="195"/>
                  </a:lnTo>
                  <a:lnTo>
                    <a:pt x="58" y="195"/>
                  </a:lnTo>
                  <a:lnTo>
                    <a:pt x="58" y="176"/>
                  </a:lnTo>
                  <a:lnTo>
                    <a:pt x="48" y="176"/>
                  </a:lnTo>
                  <a:lnTo>
                    <a:pt x="39" y="176"/>
                  </a:lnTo>
                  <a:lnTo>
                    <a:pt x="29" y="156"/>
                  </a:lnTo>
                  <a:lnTo>
                    <a:pt x="19" y="146"/>
                  </a:lnTo>
                  <a:lnTo>
                    <a:pt x="9" y="146"/>
                  </a:lnTo>
                  <a:lnTo>
                    <a:pt x="0" y="146"/>
                  </a:lnTo>
                  <a:close/>
                </a:path>
              </a:pathLst>
            </a:custGeom>
            <a:solidFill>
              <a:srgbClr val="8DB3E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300" name="Freeform 37"/>
            <p:cNvSpPr>
              <a:spLocks/>
            </p:cNvSpPr>
            <p:nvPr/>
          </p:nvSpPr>
          <p:spPr bwMode="auto">
            <a:xfrm>
              <a:off x="3863" y="917"/>
              <a:ext cx="624" cy="208"/>
            </a:xfrm>
            <a:custGeom>
              <a:avLst/>
              <a:gdLst/>
              <a:ahLst/>
              <a:cxnLst>
                <a:cxn ang="0">
                  <a:pos x="39" y="127"/>
                </a:cxn>
                <a:cxn ang="0">
                  <a:pos x="19" y="127"/>
                </a:cxn>
                <a:cxn ang="0">
                  <a:pos x="58" y="98"/>
                </a:cxn>
                <a:cxn ang="0">
                  <a:pos x="87" y="88"/>
                </a:cxn>
                <a:cxn ang="0">
                  <a:pos x="97" y="88"/>
                </a:cxn>
                <a:cxn ang="0">
                  <a:pos x="107" y="78"/>
                </a:cxn>
                <a:cxn ang="0">
                  <a:pos x="136" y="78"/>
                </a:cxn>
                <a:cxn ang="0">
                  <a:pos x="136" y="59"/>
                </a:cxn>
                <a:cxn ang="0">
                  <a:pos x="175" y="78"/>
                </a:cxn>
                <a:cxn ang="0">
                  <a:pos x="156" y="49"/>
                </a:cxn>
                <a:cxn ang="0">
                  <a:pos x="175" y="39"/>
                </a:cxn>
                <a:cxn ang="0">
                  <a:pos x="185" y="20"/>
                </a:cxn>
                <a:cxn ang="0">
                  <a:pos x="205" y="29"/>
                </a:cxn>
                <a:cxn ang="0">
                  <a:pos x="234" y="20"/>
                </a:cxn>
                <a:cxn ang="0">
                  <a:pos x="244" y="20"/>
                </a:cxn>
                <a:cxn ang="0">
                  <a:pos x="292" y="10"/>
                </a:cxn>
                <a:cxn ang="0">
                  <a:pos x="331" y="10"/>
                </a:cxn>
                <a:cxn ang="0">
                  <a:pos x="370" y="10"/>
                </a:cxn>
                <a:cxn ang="0">
                  <a:pos x="380" y="20"/>
                </a:cxn>
                <a:cxn ang="0">
                  <a:pos x="409" y="10"/>
                </a:cxn>
                <a:cxn ang="0">
                  <a:pos x="429" y="29"/>
                </a:cxn>
                <a:cxn ang="0">
                  <a:pos x="478" y="49"/>
                </a:cxn>
                <a:cxn ang="0">
                  <a:pos x="526" y="39"/>
                </a:cxn>
                <a:cxn ang="0">
                  <a:pos x="546" y="29"/>
                </a:cxn>
                <a:cxn ang="0">
                  <a:pos x="604" y="20"/>
                </a:cxn>
                <a:cxn ang="0">
                  <a:pos x="624" y="59"/>
                </a:cxn>
                <a:cxn ang="0">
                  <a:pos x="585" y="98"/>
                </a:cxn>
                <a:cxn ang="0">
                  <a:pos x="497" y="117"/>
                </a:cxn>
                <a:cxn ang="0">
                  <a:pos x="429" y="107"/>
                </a:cxn>
                <a:cxn ang="0">
                  <a:pos x="361" y="107"/>
                </a:cxn>
                <a:cxn ang="0">
                  <a:pos x="341" y="98"/>
                </a:cxn>
                <a:cxn ang="0">
                  <a:pos x="302" y="117"/>
                </a:cxn>
                <a:cxn ang="0">
                  <a:pos x="283" y="117"/>
                </a:cxn>
                <a:cxn ang="0">
                  <a:pos x="263" y="137"/>
                </a:cxn>
                <a:cxn ang="0">
                  <a:pos x="234" y="137"/>
                </a:cxn>
                <a:cxn ang="0">
                  <a:pos x="234" y="117"/>
                </a:cxn>
                <a:cxn ang="0">
                  <a:pos x="205" y="137"/>
                </a:cxn>
                <a:cxn ang="0">
                  <a:pos x="195" y="137"/>
                </a:cxn>
                <a:cxn ang="0">
                  <a:pos x="165" y="156"/>
                </a:cxn>
                <a:cxn ang="0">
                  <a:pos x="156" y="137"/>
                </a:cxn>
                <a:cxn ang="0">
                  <a:pos x="146" y="166"/>
                </a:cxn>
                <a:cxn ang="0">
                  <a:pos x="126" y="176"/>
                </a:cxn>
                <a:cxn ang="0">
                  <a:pos x="107" y="156"/>
                </a:cxn>
                <a:cxn ang="0">
                  <a:pos x="97" y="195"/>
                </a:cxn>
                <a:cxn ang="0">
                  <a:pos x="87" y="195"/>
                </a:cxn>
                <a:cxn ang="0">
                  <a:pos x="68" y="205"/>
                </a:cxn>
                <a:cxn ang="0">
                  <a:pos x="58" y="176"/>
                </a:cxn>
                <a:cxn ang="0">
                  <a:pos x="19" y="146"/>
                </a:cxn>
              </a:cxnLst>
              <a:rect l="0" t="0" r="r" b="b"/>
              <a:pathLst>
                <a:path w="624" h="205">
                  <a:moveTo>
                    <a:pt x="0" y="146"/>
                  </a:moveTo>
                  <a:lnTo>
                    <a:pt x="9" y="137"/>
                  </a:lnTo>
                  <a:lnTo>
                    <a:pt x="9" y="127"/>
                  </a:lnTo>
                  <a:lnTo>
                    <a:pt x="39" y="127"/>
                  </a:lnTo>
                  <a:lnTo>
                    <a:pt x="48" y="137"/>
                  </a:lnTo>
                  <a:lnTo>
                    <a:pt x="48" y="127"/>
                  </a:lnTo>
                  <a:lnTo>
                    <a:pt x="39" y="117"/>
                  </a:lnTo>
                  <a:lnTo>
                    <a:pt x="19" y="127"/>
                  </a:lnTo>
                  <a:lnTo>
                    <a:pt x="19" y="117"/>
                  </a:lnTo>
                  <a:lnTo>
                    <a:pt x="19" y="98"/>
                  </a:lnTo>
                  <a:lnTo>
                    <a:pt x="29" y="98"/>
                  </a:lnTo>
                  <a:lnTo>
                    <a:pt x="58" y="98"/>
                  </a:lnTo>
                  <a:lnTo>
                    <a:pt x="68" y="107"/>
                  </a:lnTo>
                  <a:lnTo>
                    <a:pt x="68" y="98"/>
                  </a:lnTo>
                  <a:lnTo>
                    <a:pt x="78" y="88"/>
                  </a:lnTo>
                  <a:lnTo>
                    <a:pt x="87" y="88"/>
                  </a:lnTo>
                  <a:lnTo>
                    <a:pt x="87" y="98"/>
                  </a:lnTo>
                  <a:lnTo>
                    <a:pt x="107" y="117"/>
                  </a:lnTo>
                  <a:lnTo>
                    <a:pt x="107" y="98"/>
                  </a:lnTo>
                  <a:lnTo>
                    <a:pt x="97" y="88"/>
                  </a:lnTo>
                  <a:lnTo>
                    <a:pt x="97" y="78"/>
                  </a:lnTo>
                  <a:lnTo>
                    <a:pt x="107" y="88"/>
                  </a:lnTo>
                  <a:lnTo>
                    <a:pt x="117" y="88"/>
                  </a:lnTo>
                  <a:lnTo>
                    <a:pt x="107" y="78"/>
                  </a:lnTo>
                  <a:lnTo>
                    <a:pt x="117" y="68"/>
                  </a:lnTo>
                  <a:lnTo>
                    <a:pt x="126" y="78"/>
                  </a:lnTo>
                  <a:lnTo>
                    <a:pt x="136" y="78"/>
                  </a:lnTo>
                  <a:lnTo>
                    <a:pt x="126" y="68"/>
                  </a:lnTo>
                  <a:lnTo>
                    <a:pt x="136" y="59"/>
                  </a:lnTo>
                  <a:lnTo>
                    <a:pt x="146" y="68"/>
                  </a:lnTo>
                  <a:lnTo>
                    <a:pt x="165" y="68"/>
                  </a:lnTo>
                  <a:lnTo>
                    <a:pt x="165" y="78"/>
                  </a:lnTo>
                  <a:lnTo>
                    <a:pt x="175" y="78"/>
                  </a:lnTo>
                  <a:lnTo>
                    <a:pt x="165" y="68"/>
                  </a:lnTo>
                  <a:lnTo>
                    <a:pt x="165" y="59"/>
                  </a:lnTo>
                  <a:lnTo>
                    <a:pt x="156" y="59"/>
                  </a:lnTo>
                  <a:lnTo>
                    <a:pt x="156" y="49"/>
                  </a:lnTo>
                  <a:lnTo>
                    <a:pt x="185" y="59"/>
                  </a:lnTo>
                  <a:lnTo>
                    <a:pt x="185" y="39"/>
                  </a:lnTo>
                  <a:lnTo>
                    <a:pt x="175" y="39"/>
                  </a:lnTo>
                  <a:lnTo>
                    <a:pt x="165" y="29"/>
                  </a:lnTo>
                  <a:lnTo>
                    <a:pt x="175" y="20"/>
                  </a:lnTo>
                  <a:lnTo>
                    <a:pt x="185" y="20"/>
                  </a:lnTo>
                  <a:lnTo>
                    <a:pt x="195" y="29"/>
                  </a:lnTo>
                  <a:lnTo>
                    <a:pt x="185" y="39"/>
                  </a:lnTo>
                  <a:lnTo>
                    <a:pt x="195" y="39"/>
                  </a:lnTo>
                  <a:lnTo>
                    <a:pt x="205" y="29"/>
                  </a:lnTo>
                  <a:lnTo>
                    <a:pt x="214" y="29"/>
                  </a:lnTo>
                  <a:lnTo>
                    <a:pt x="214" y="20"/>
                  </a:lnTo>
                  <a:lnTo>
                    <a:pt x="224" y="20"/>
                  </a:lnTo>
                  <a:lnTo>
                    <a:pt x="234" y="20"/>
                  </a:lnTo>
                  <a:lnTo>
                    <a:pt x="234" y="39"/>
                  </a:lnTo>
                  <a:lnTo>
                    <a:pt x="244" y="39"/>
                  </a:lnTo>
                  <a:lnTo>
                    <a:pt x="244" y="29"/>
                  </a:lnTo>
                  <a:lnTo>
                    <a:pt x="244" y="20"/>
                  </a:lnTo>
                  <a:lnTo>
                    <a:pt x="253" y="10"/>
                  </a:lnTo>
                  <a:lnTo>
                    <a:pt x="273" y="20"/>
                  </a:lnTo>
                  <a:lnTo>
                    <a:pt x="273" y="10"/>
                  </a:lnTo>
                  <a:lnTo>
                    <a:pt x="292" y="10"/>
                  </a:lnTo>
                  <a:lnTo>
                    <a:pt x="292" y="0"/>
                  </a:lnTo>
                  <a:lnTo>
                    <a:pt x="312" y="10"/>
                  </a:lnTo>
                  <a:lnTo>
                    <a:pt x="331" y="10"/>
                  </a:lnTo>
                  <a:lnTo>
                    <a:pt x="331" y="20"/>
                  </a:lnTo>
                  <a:lnTo>
                    <a:pt x="351" y="20"/>
                  </a:lnTo>
                  <a:lnTo>
                    <a:pt x="351" y="10"/>
                  </a:lnTo>
                  <a:lnTo>
                    <a:pt x="370" y="10"/>
                  </a:lnTo>
                  <a:lnTo>
                    <a:pt x="370" y="20"/>
                  </a:lnTo>
                  <a:lnTo>
                    <a:pt x="361" y="20"/>
                  </a:lnTo>
                  <a:lnTo>
                    <a:pt x="370" y="20"/>
                  </a:lnTo>
                  <a:lnTo>
                    <a:pt x="380" y="20"/>
                  </a:lnTo>
                  <a:lnTo>
                    <a:pt x="380" y="10"/>
                  </a:lnTo>
                  <a:lnTo>
                    <a:pt x="390" y="0"/>
                  </a:lnTo>
                  <a:lnTo>
                    <a:pt x="400" y="0"/>
                  </a:lnTo>
                  <a:lnTo>
                    <a:pt x="409" y="10"/>
                  </a:lnTo>
                  <a:lnTo>
                    <a:pt x="409" y="20"/>
                  </a:lnTo>
                  <a:lnTo>
                    <a:pt x="429" y="20"/>
                  </a:lnTo>
                  <a:lnTo>
                    <a:pt x="429" y="39"/>
                  </a:lnTo>
                  <a:lnTo>
                    <a:pt x="429" y="29"/>
                  </a:lnTo>
                  <a:lnTo>
                    <a:pt x="439" y="39"/>
                  </a:lnTo>
                  <a:lnTo>
                    <a:pt x="458" y="39"/>
                  </a:lnTo>
                  <a:lnTo>
                    <a:pt x="468" y="39"/>
                  </a:lnTo>
                  <a:lnTo>
                    <a:pt x="478" y="49"/>
                  </a:lnTo>
                  <a:lnTo>
                    <a:pt x="497" y="39"/>
                  </a:lnTo>
                  <a:lnTo>
                    <a:pt x="507" y="39"/>
                  </a:lnTo>
                  <a:lnTo>
                    <a:pt x="526" y="39"/>
                  </a:lnTo>
                  <a:lnTo>
                    <a:pt x="526" y="49"/>
                  </a:lnTo>
                  <a:lnTo>
                    <a:pt x="536" y="39"/>
                  </a:lnTo>
                  <a:lnTo>
                    <a:pt x="536" y="29"/>
                  </a:lnTo>
                  <a:lnTo>
                    <a:pt x="546" y="29"/>
                  </a:lnTo>
                  <a:lnTo>
                    <a:pt x="556" y="29"/>
                  </a:lnTo>
                  <a:lnTo>
                    <a:pt x="565" y="20"/>
                  </a:lnTo>
                  <a:lnTo>
                    <a:pt x="575" y="20"/>
                  </a:lnTo>
                  <a:lnTo>
                    <a:pt x="604" y="20"/>
                  </a:lnTo>
                  <a:lnTo>
                    <a:pt x="614" y="29"/>
                  </a:lnTo>
                  <a:lnTo>
                    <a:pt x="624" y="39"/>
                  </a:lnTo>
                  <a:lnTo>
                    <a:pt x="624" y="49"/>
                  </a:lnTo>
                  <a:lnTo>
                    <a:pt x="624" y="59"/>
                  </a:lnTo>
                  <a:lnTo>
                    <a:pt x="624" y="78"/>
                  </a:lnTo>
                  <a:lnTo>
                    <a:pt x="614" y="88"/>
                  </a:lnTo>
                  <a:lnTo>
                    <a:pt x="604" y="88"/>
                  </a:lnTo>
                  <a:lnTo>
                    <a:pt x="585" y="98"/>
                  </a:lnTo>
                  <a:lnTo>
                    <a:pt x="575" y="107"/>
                  </a:lnTo>
                  <a:lnTo>
                    <a:pt x="565" y="107"/>
                  </a:lnTo>
                  <a:lnTo>
                    <a:pt x="526" y="117"/>
                  </a:lnTo>
                  <a:lnTo>
                    <a:pt x="497" y="117"/>
                  </a:lnTo>
                  <a:lnTo>
                    <a:pt x="487" y="117"/>
                  </a:lnTo>
                  <a:lnTo>
                    <a:pt x="468" y="117"/>
                  </a:lnTo>
                  <a:lnTo>
                    <a:pt x="448" y="107"/>
                  </a:lnTo>
                  <a:lnTo>
                    <a:pt x="429" y="107"/>
                  </a:lnTo>
                  <a:lnTo>
                    <a:pt x="419" y="98"/>
                  </a:lnTo>
                  <a:lnTo>
                    <a:pt x="409" y="107"/>
                  </a:lnTo>
                  <a:lnTo>
                    <a:pt x="380" y="107"/>
                  </a:lnTo>
                  <a:lnTo>
                    <a:pt x="361" y="107"/>
                  </a:lnTo>
                  <a:lnTo>
                    <a:pt x="341" y="107"/>
                  </a:lnTo>
                  <a:lnTo>
                    <a:pt x="331" y="117"/>
                  </a:lnTo>
                  <a:lnTo>
                    <a:pt x="331" y="107"/>
                  </a:lnTo>
                  <a:lnTo>
                    <a:pt x="341" y="98"/>
                  </a:lnTo>
                  <a:lnTo>
                    <a:pt x="331" y="98"/>
                  </a:lnTo>
                  <a:lnTo>
                    <a:pt x="322" y="107"/>
                  </a:lnTo>
                  <a:lnTo>
                    <a:pt x="312" y="107"/>
                  </a:lnTo>
                  <a:lnTo>
                    <a:pt x="302" y="117"/>
                  </a:lnTo>
                  <a:lnTo>
                    <a:pt x="292" y="107"/>
                  </a:lnTo>
                  <a:lnTo>
                    <a:pt x="283" y="107"/>
                  </a:lnTo>
                  <a:lnTo>
                    <a:pt x="283" y="117"/>
                  </a:lnTo>
                  <a:lnTo>
                    <a:pt x="292" y="127"/>
                  </a:lnTo>
                  <a:lnTo>
                    <a:pt x="283" y="127"/>
                  </a:lnTo>
                  <a:lnTo>
                    <a:pt x="273" y="127"/>
                  </a:lnTo>
                  <a:lnTo>
                    <a:pt x="263" y="137"/>
                  </a:lnTo>
                  <a:lnTo>
                    <a:pt x="253" y="127"/>
                  </a:lnTo>
                  <a:lnTo>
                    <a:pt x="244" y="137"/>
                  </a:lnTo>
                  <a:lnTo>
                    <a:pt x="234" y="137"/>
                  </a:lnTo>
                  <a:lnTo>
                    <a:pt x="234" y="127"/>
                  </a:lnTo>
                  <a:lnTo>
                    <a:pt x="244" y="117"/>
                  </a:lnTo>
                  <a:lnTo>
                    <a:pt x="234" y="117"/>
                  </a:lnTo>
                  <a:lnTo>
                    <a:pt x="234" y="127"/>
                  </a:lnTo>
                  <a:lnTo>
                    <a:pt x="224" y="137"/>
                  </a:lnTo>
                  <a:lnTo>
                    <a:pt x="205" y="137"/>
                  </a:lnTo>
                  <a:lnTo>
                    <a:pt x="205" y="117"/>
                  </a:lnTo>
                  <a:lnTo>
                    <a:pt x="195" y="117"/>
                  </a:lnTo>
                  <a:lnTo>
                    <a:pt x="195" y="127"/>
                  </a:lnTo>
                  <a:lnTo>
                    <a:pt x="195" y="137"/>
                  </a:lnTo>
                  <a:lnTo>
                    <a:pt x="195" y="146"/>
                  </a:lnTo>
                  <a:lnTo>
                    <a:pt x="185" y="156"/>
                  </a:lnTo>
                  <a:lnTo>
                    <a:pt x="165" y="156"/>
                  </a:lnTo>
                  <a:lnTo>
                    <a:pt x="165" y="166"/>
                  </a:lnTo>
                  <a:lnTo>
                    <a:pt x="156" y="166"/>
                  </a:lnTo>
                  <a:lnTo>
                    <a:pt x="156" y="146"/>
                  </a:lnTo>
                  <a:lnTo>
                    <a:pt x="156" y="137"/>
                  </a:lnTo>
                  <a:lnTo>
                    <a:pt x="146" y="137"/>
                  </a:lnTo>
                  <a:lnTo>
                    <a:pt x="146" y="146"/>
                  </a:lnTo>
                  <a:lnTo>
                    <a:pt x="146" y="156"/>
                  </a:lnTo>
                  <a:lnTo>
                    <a:pt x="146" y="166"/>
                  </a:lnTo>
                  <a:lnTo>
                    <a:pt x="136" y="176"/>
                  </a:lnTo>
                  <a:lnTo>
                    <a:pt x="136" y="186"/>
                  </a:lnTo>
                  <a:lnTo>
                    <a:pt x="126" y="176"/>
                  </a:lnTo>
                  <a:lnTo>
                    <a:pt x="126" y="156"/>
                  </a:lnTo>
                  <a:lnTo>
                    <a:pt x="117" y="146"/>
                  </a:lnTo>
                  <a:lnTo>
                    <a:pt x="107" y="156"/>
                  </a:lnTo>
                  <a:lnTo>
                    <a:pt x="117" y="176"/>
                  </a:lnTo>
                  <a:lnTo>
                    <a:pt x="117" y="195"/>
                  </a:lnTo>
                  <a:lnTo>
                    <a:pt x="97" y="195"/>
                  </a:lnTo>
                  <a:lnTo>
                    <a:pt x="97" y="176"/>
                  </a:lnTo>
                  <a:lnTo>
                    <a:pt x="97" y="166"/>
                  </a:lnTo>
                  <a:lnTo>
                    <a:pt x="87" y="176"/>
                  </a:lnTo>
                  <a:lnTo>
                    <a:pt x="87" y="195"/>
                  </a:lnTo>
                  <a:lnTo>
                    <a:pt x="78" y="205"/>
                  </a:lnTo>
                  <a:lnTo>
                    <a:pt x="68" y="195"/>
                  </a:lnTo>
                  <a:lnTo>
                    <a:pt x="68" y="205"/>
                  </a:lnTo>
                  <a:lnTo>
                    <a:pt x="58" y="205"/>
                  </a:lnTo>
                  <a:lnTo>
                    <a:pt x="48" y="195"/>
                  </a:lnTo>
                  <a:lnTo>
                    <a:pt x="58" y="195"/>
                  </a:lnTo>
                  <a:lnTo>
                    <a:pt x="58" y="176"/>
                  </a:lnTo>
                  <a:lnTo>
                    <a:pt x="48" y="176"/>
                  </a:lnTo>
                  <a:lnTo>
                    <a:pt x="39" y="176"/>
                  </a:lnTo>
                  <a:lnTo>
                    <a:pt x="29" y="156"/>
                  </a:lnTo>
                  <a:lnTo>
                    <a:pt x="19" y="146"/>
                  </a:lnTo>
                  <a:lnTo>
                    <a:pt x="9" y="146"/>
                  </a:lnTo>
                  <a:lnTo>
                    <a:pt x="0" y="146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US" sz="1100">
                <a:latin typeface="Polo" pitchFamily="2" charset="0"/>
                <a:cs typeface="+mn-cs"/>
              </a:endParaRPr>
            </a:p>
          </p:txBody>
        </p:sp>
      </p:grpSp>
      <p:grpSp>
        <p:nvGrpSpPr>
          <p:cNvPr id="18653" name="Group 33"/>
          <p:cNvGrpSpPr>
            <a:grpSpLocks noChangeAspect="1"/>
          </p:cNvGrpSpPr>
          <p:nvPr>
            <p:custDataLst>
              <p:tags r:id="rId219"/>
            </p:custDataLst>
          </p:nvPr>
        </p:nvGrpSpPr>
        <p:grpSpPr bwMode="auto">
          <a:xfrm>
            <a:off x="4090988" y="3503613"/>
            <a:ext cx="176212" cy="200025"/>
            <a:chOff x="3648" y="1054"/>
            <a:chExt cx="263" cy="322"/>
          </a:xfrm>
        </p:grpSpPr>
        <p:sp>
          <p:nvSpPr>
            <p:cNvPr id="18734" name="Freeform 35"/>
            <p:cNvSpPr>
              <a:spLocks noChangeAspect="1"/>
            </p:cNvSpPr>
            <p:nvPr/>
          </p:nvSpPr>
          <p:spPr bwMode="auto">
            <a:xfrm>
              <a:off x="3648" y="1054"/>
              <a:ext cx="263" cy="322"/>
            </a:xfrm>
            <a:custGeom>
              <a:avLst/>
              <a:gdLst>
                <a:gd name="T0" fmla="*/ 127 w 263"/>
                <a:gd name="T1" fmla="*/ 312 h 322"/>
                <a:gd name="T2" fmla="*/ 117 w 263"/>
                <a:gd name="T3" fmla="*/ 283 h 322"/>
                <a:gd name="T4" fmla="*/ 117 w 263"/>
                <a:gd name="T5" fmla="*/ 244 h 322"/>
                <a:gd name="T6" fmla="*/ 137 w 263"/>
                <a:gd name="T7" fmla="*/ 185 h 322"/>
                <a:gd name="T8" fmla="*/ 137 w 263"/>
                <a:gd name="T9" fmla="*/ 156 h 322"/>
                <a:gd name="T10" fmla="*/ 166 w 263"/>
                <a:gd name="T11" fmla="*/ 136 h 322"/>
                <a:gd name="T12" fmla="*/ 176 w 263"/>
                <a:gd name="T13" fmla="*/ 127 h 322"/>
                <a:gd name="T14" fmla="*/ 185 w 263"/>
                <a:gd name="T15" fmla="*/ 107 h 322"/>
                <a:gd name="T16" fmla="*/ 205 w 263"/>
                <a:gd name="T17" fmla="*/ 97 h 322"/>
                <a:gd name="T18" fmla="*/ 215 w 263"/>
                <a:gd name="T19" fmla="*/ 88 h 322"/>
                <a:gd name="T20" fmla="*/ 234 w 263"/>
                <a:gd name="T21" fmla="*/ 97 h 322"/>
                <a:gd name="T22" fmla="*/ 244 w 263"/>
                <a:gd name="T23" fmla="*/ 78 h 322"/>
                <a:gd name="T24" fmla="*/ 244 w 263"/>
                <a:gd name="T25" fmla="*/ 68 h 322"/>
                <a:gd name="T26" fmla="*/ 263 w 263"/>
                <a:gd name="T27" fmla="*/ 78 h 322"/>
                <a:gd name="T28" fmla="*/ 263 w 263"/>
                <a:gd name="T29" fmla="*/ 58 h 322"/>
                <a:gd name="T30" fmla="*/ 244 w 263"/>
                <a:gd name="T31" fmla="*/ 29 h 322"/>
                <a:gd name="T32" fmla="*/ 215 w 263"/>
                <a:gd name="T33" fmla="*/ 19 h 322"/>
                <a:gd name="T34" fmla="*/ 195 w 263"/>
                <a:gd name="T35" fmla="*/ 0 h 322"/>
                <a:gd name="T36" fmla="*/ 176 w 263"/>
                <a:gd name="T37" fmla="*/ 9 h 322"/>
                <a:gd name="T38" fmla="*/ 166 w 263"/>
                <a:gd name="T39" fmla="*/ 19 h 322"/>
                <a:gd name="T40" fmla="*/ 156 w 263"/>
                <a:gd name="T41" fmla="*/ 29 h 322"/>
                <a:gd name="T42" fmla="*/ 137 w 263"/>
                <a:gd name="T43" fmla="*/ 19 h 322"/>
                <a:gd name="T44" fmla="*/ 117 w 263"/>
                <a:gd name="T45" fmla="*/ 29 h 322"/>
                <a:gd name="T46" fmla="*/ 127 w 263"/>
                <a:gd name="T47" fmla="*/ 39 h 322"/>
                <a:gd name="T48" fmla="*/ 127 w 263"/>
                <a:gd name="T49" fmla="*/ 49 h 322"/>
                <a:gd name="T50" fmla="*/ 117 w 263"/>
                <a:gd name="T51" fmla="*/ 39 h 322"/>
                <a:gd name="T52" fmla="*/ 98 w 263"/>
                <a:gd name="T53" fmla="*/ 58 h 322"/>
                <a:gd name="T54" fmla="*/ 88 w 263"/>
                <a:gd name="T55" fmla="*/ 58 h 322"/>
                <a:gd name="T56" fmla="*/ 78 w 263"/>
                <a:gd name="T57" fmla="*/ 78 h 322"/>
                <a:gd name="T58" fmla="*/ 68 w 263"/>
                <a:gd name="T59" fmla="*/ 68 h 322"/>
                <a:gd name="T60" fmla="*/ 59 w 263"/>
                <a:gd name="T61" fmla="*/ 58 h 322"/>
                <a:gd name="T62" fmla="*/ 39 w 263"/>
                <a:gd name="T63" fmla="*/ 58 h 322"/>
                <a:gd name="T64" fmla="*/ 10 w 263"/>
                <a:gd name="T65" fmla="*/ 88 h 322"/>
                <a:gd name="T66" fmla="*/ 0 w 263"/>
                <a:gd name="T67" fmla="*/ 107 h 322"/>
                <a:gd name="T68" fmla="*/ 10 w 263"/>
                <a:gd name="T69" fmla="*/ 127 h 322"/>
                <a:gd name="T70" fmla="*/ 29 w 263"/>
                <a:gd name="T71" fmla="*/ 117 h 322"/>
                <a:gd name="T72" fmla="*/ 29 w 263"/>
                <a:gd name="T73" fmla="*/ 136 h 322"/>
                <a:gd name="T74" fmla="*/ 49 w 263"/>
                <a:gd name="T75" fmla="*/ 156 h 322"/>
                <a:gd name="T76" fmla="*/ 49 w 263"/>
                <a:gd name="T77" fmla="*/ 156 h 322"/>
                <a:gd name="T78" fmla="*/ 59 w 263"/>
                <a:gd name="T79" fmla="*/ 166 h 322"/>
                <a:gd name="T80" fmla="*/ 49 w 263"/>
                <a:gd name="T81" fmla="*/ 175 h 322"/>
                <a:gd name="T82" fmla="*/ 39 w 263"/>
                <a:gd name="T83" fmla="*/ 185 h 322"/>
                <a:gd name="T84" fmla="*/ 49 w 263"/>
                <a:gd name="T85" fmla="*/ 195 h 322"/>
                <a:gd name="T86" fmla="*/ 39 w 263"/>
                <a:gd name="T87" fmla="*/ 205 h 322"/>
                <a:gd name="T88" fmla="*/ 29 w 263"/>
                <a:gd name="T89" fmla="*/ 195 h 322"/>
                <a:gd name="T90" fmla="*/ 10 w 263"/>
                <a:gd name="T91" fmla="*/ 214 h 322"/>
                <a:gd name="T92" fmla="*/ 20 w 263"/>
                <a:gd name="T93" fmla="*/ 234 h 322"/>
                <a:gd name="T94" fmla="*/ 39 w 263"/>
                <a:gd name="T95" fmla="*/ 244 h 322"/>
                <a:gd name="T96" fmla="*/ 39 w 263"/>
                <a:gd name="T97" fmla="*/ 253 h 322"/>
                <a:gd name="T98" fmla="*/ 49 w 263"/>
                <a:gd name="T99" fmla="*/ 273 h 322"/>
                <a:gd name="T100" fmla="*/ 59 w 263"/>
                <a:gd name="T101" fmla="*/ 263 h 322"/>
                <a:gd name="T102" fmla="*/ 78 w 263"/>
                <a:gd name="T103" fmla="*/ 302 h 322"/>
                <a:gd name="T104" fmla="*/ 88 w 263"/>
                <a:gd name="T105" fmla="*/ 292 h 322"/>
                <a:gd name="T106" fmla="*/ 88 w 263"/>
                <a:gd name="T107" fmla="*/ 283 h 322"/>
                <a:gd name="T108" fmla="*/ 88 w 263"/>
                <a:gd name="T109" fmla="*/ 302 h 322"/>
                <a:gd name="T110" fmla="*/ 107 w 263"/>
                <a:gd name="T111" fmla="*/ 322 h 32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63"/>
                <a:gd name="T169" fmla="*/ 0 h 322"/>
                <a:gd name="T170" fmla="*/ 263 w 263"/>
                <a:gd name="T171" fmla="*/ 322 h 32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63" h="322">
                  <a:moveTo>
                    <a:pt x="117" y="322"/>
                  </a:moveTo>
                  <a:lnTo>
                    <a:pt x="127" y="312"/>
                  </a:lnTo>
                  <a:lnTo>
                    <a:pt x="127" y="302"/>
                  </a:lnTo>
                  <a:lnTo>
                    <a:pt x="117" y="283"/>
                  </a:lnTo>
                  <a:lnTo>
                    <a:pt x="117" y="263"/>
                  </a:lnTo>
                  <a:lnTo>
                    <a:pt x="117" y="244"/>
                  </a:lnTo>
                  <a:lnTo>
                    <a:pt x="127" y="214"/>
                  </a:lnTo>
                  <a:lnTo>
                    <a:pt x="137" y="185"/>
                  </a:lnTo>
                  <a:lnTo>
                    <a:pt x="137" y="166"/>
                  </a:lnTo>
                  <a:lnTo>
                    <a:pt x="137" y="156"/>
                  </a:lnTo>
                  <a:lnTo>
                    <a:pt x="156" y="156"/>
                  </a:lnTo>
                  <a:lnTo>
                    <a:pt x="166" y="136"/>
                  </a:lnTo>
                  <a:lnTo>
                    <a:pt x="176" y="127"/>
                  </a:lnTo>
                  <a:lnTo>
                    <a:pt x="176" y="107"/>
                  </a:lnTo>
                  <a:lnTo>
                    <a:pt x="185" y="107"/>
                  </a:lnTo>
                  <a:lnTo>
                    <a:pt x="195" y="107"/>
                  </a:lnTo>
                  <a:lnTo>
                    <a:pt x="205" y="97"/>
                  </a:lnTo>
                  <a:lnTo>
                    <a:pt x="215" y="107"/>
                  </a:lnTo>
                  <a:lnTo>
                    <a:pt x="215" y="88"/>
                  </a:lnTo>
                  <a:lnTo>
                    <a:pt x="224" y="97"/>
                  </a:lnTo>
                  <a:lnTo>
                    <a:pt x="234" y="97"/>
                  </a:lnTo>
                  <a:lnTo>
                    <a:pt x="224" y="78"/>
                  </a:lnTo>
                  <a:lnTo>
                    <a:pt x="244" y="78"/>
                  </a:lnTo>
                  <a:lnTo>
                    <a:pt x="254" y="78"/>
                  </a:lnTo>
                  <a:lnTo>
                    <a:pt x="244" y="68"/>
                  </a:lnTo>
                  <a:lnTo>
                    <a:pt x="254" y="68"/>
                  </a:lnTo>
                  <a:lnTo>
                    <a:pt x="263" y="78"/>
                  </a:lnTo>
                  <a:lnTo>
                    <a:pt x="263" y="68"/>
                  </a:lnTo>
                  <a:lnTo>
                    <a:pt x="263" y="58"/>
                  </a:lnTo>
                  <a:lnTo>
                    <a:pt x="244" y="49"/>
                  </a:lnTo>
                  <a:lnTo>
                    <a:pt x="244" y="29"/>
                  </a:lnTo>
                  <a:lnTo>
                    <a:pt x="224" y="19"/>
                  </a:lnTo>
                  <a:lnTo>
                    <a:pt x="215" y="19"/>
                  </a:lnTo>
                  <a:lnTo>
                    <a:pt x="205" y="19"/>
                  </a:lnTo>
                  <a:lnTo>
                    <a:pt x="195" y="0"/>
                  </a:lnTo>
                  <a:lnTo>
                    <a:pt x="185" y="0"/>
                  </a:lnTo>
                  <a:lnTo>
                    <a:pt x="176" y="9"/>
                  </a:lnTo>
                  <a:lnTo>
                    <a:pt x="166" y="9"/>
                  </a:lnTo>
                  <a:lnTo>
                    <a:pt x="166" y="19"/>
                  </a:lnTo>
                  <a:lnTo>
                    <a:pt x="156" y="19"/>
                  </a:lnTo>
                  <a:lnTo>
                    <a:pt x="156" y="29"/>
                  </a:lnTo>
                  <a:lnTo>
                    <a:pt x="146" y="29"/>
                  </a:lnTo>
                  <a:lnTo>
                    <a:pt x="137" y="19"/>
                  </a:lnTo>
                  <a:lnTo>
                    <a:pt x="127" y="19"/>
                  </a:lnTo>
                  <a:lnTo>
                    <a:pt x="117" y="29"/>
                  </a:lnTo>
                  <a:lnTo>
                    <a:pt x="127" y="39"/>
                  </a:lnTo>
                  <a:lnTo>
                    <a:pt x="137" y="49"/>
                  </a:lnTo>
                  <a:lnTo>
                    <a:pt x="127" y="49"/>
                  </a:lnTo>
                  <a:lnTo>
                    <a:pt x="117" y="39"/>
                  </a:lnTo>
                  <a:lnTo>
                    <a:pt x="117" y="49"/>
                  </a:lnTo>
                  <a:lnTo>
                    <a:pt x="98" y="58"/>
                  </a:lnTo>
                  <a:lnTo>
                    <a:pt x="88" y="58"/>
                  </a:lnTo>
                  <a:lnTo>
                    <a:pt x="88" y="68"/>
                  </a:lnTo>
                  <a:lnTo>
                    <a:pt x="78" y="78"/>
                  </a:lnTo>
                  <a:lnTo>
                    <a:pt x="68" y="78"/>
                  </a:lnTo>
                  <a:lnTo>
                    <a:pt x="68" y="68"/>
                  </a:lnTo>
                  <a:lnTo>
                    <a:pt x="59" y="68"/>
                  </a:lnTo>
                  <a:lnTo>
                    <a:pt x="59" y="58"/>
                  </a:lnTo>
                  <a:lnTo>
                    <a:pt x="49" y="58"/>
                  </a:lnTo>
                  <a:lnTo>
                    <a:pt x="39" y="58"/>
                  </a:lnTo>
                  <a:lnTo>
                    <a:pt x="29" y="78"/>
                  </a:lnTo>
                  <a:lnTo>
                    <a:pt x="10" y="88"/>
                  </a:lnTo>
                  <a:lnTo>
                    <a:pt x="10" y="97"/>
                  </a:lnTo>
                  <a:lnTo>
                    <a:pt x="0" y="107"/>
                  </a:lnTo>
                  <a:lnTo>
                    <a:pt x="0" y="117"/>
                  </a:lnTo>
                  <a:lnTo>
                    <a:pt x="10" y="127"/>
                  </a:lnTo>
                  <a:lnTo>
                    <a:pt x="20" y="127"/>
                  </a:lnTo>
                  <a:lnTo>
                    <a:pt x="29" y="117"/>
                  </a:lnTo>
                  <a:lnTo>
                    <a:pt x="39" y="127"/>
                  </a:lnTo>
                  <a:lnTo>
                    <a:pt x="29" y="136"/>
                  </a:lnTo>
                  <a:lnTo>
                    <a:pt x="39" y="146"/>
                  </a:lnTo>
                  <a:lnTo>
                    <a:pt x="49" y="156"/>
                  </a:lnTo>
                  <a:lnTo>
                    <a:pt x="49" y="166"/>
                  </a:lnTo>
                  <a:lnTo>
                    <a:pt x="59" y="166"/>
                  </a:lnTo>
                  <a:lnTo>
                    <a:pt x="68" y="166"/>
                  </a:lnTo>
                  <a:lnTo>
                    <a:pt x="49" y="175"/>
                  </a:lnTo>
                  <a:lnTo>
                    <a:pt x="39" y="175"/>
                  </a:lnTo>
                  <a:lnTo>
                    <a:pt x="39" y="185"/>
                  </a:lnTo>
                  <a:lnTo>
                    <a:pt x="49" y="195"/>
                  </a:lnTo>
                  <a:lnTo>
                    <a:pt x="49" y="205"/>
                  </a:lnTo>
                  <a:lnTo>
                    <a:pt x="39" y="205"/>
                  </a:lnTo>
                  <a:lnTo>
                    <a:pt x="29" y="195"/>
                  </a:lnTo>
                  <a:lnTo>
                    <a:pt x="20" y="205"/>
                  </a:lnTo>
                  <a:lnTo>
                    <a:pt x="10" y="214"/>
                  </a:lnTo>
                  <a:lnTo>
                    <a:pt x="20" y="224"/>
                  </a:lnTo>
                  <a:lnTo>
                    <a:pt x="20" y="234"/>
                  </a:lnTo>
                  <a:lnTo>
                    <a:pt x="29" y="244"/>
                  </a:lnTo>
                  <a:lnTo>
                    <a:pt x="39" y="244"/>
                  </a:lnTo>
                  <a:lnTo>
                    <a:pt x="39" y="253"/>
                  </a:lnTo>
                  <a:lnTo>
                    <a:pt x="39" y="263"/>
                  </a:lnTo>
                  <a:lnTo>
                    <a:pt x="49" y="273"/>
                  </a:lnTo>
                  <a:lnTo>
                    <a:pt x="59" y="263"/>
                  </a:lnTo>
                  <a:lnTo>
                    <a:pt x="59" y="283"/>
                  </a:lnTo>
                  <a:lnTo>
                    <a:pt x="78" y="302"/>
                  </a:lnTo>
                  <a:lnTo>
                    <a:pt x="88" y="302"/>
                  </a:lnTo>
                  <a:lnTo>
                    <a:pt x="88" y="292"/>
                  </a:lnTo>
                  <a:lnTo>
                    <a:pt x="88" y="283"/>
                  </a:lnTo>
                  <a:lnTo>
                    <a:pt x="88" y="292"/>
                  </a:lnTo>
                  <a:lnTo>
                    <a:pt x="88" y="302"/>
                  </a:lnTo>
                  <a:lnTo>
                    <a:pt x="107" y="322"/>
                  </a:lnTo>
                  <a:lnTo>
                    <a:pt x="117" y="322"/>
                  </a:lnTo>
                  <a:close/>
                </a:path>
              </a:pathLst>
            </a:custGeom>
            <a:solidFill>
              <a:srgbClr val="8DB3E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303" name="Freeform 34"/>
            <p:cNvSpPr>
              <a:spLocks/>
            </p:cNvSpPr>
            <p:nvPr/>
          </p:nvSpPr>
          <p:spPr bwMode="auto">
            <a:xfrm>
              <a:off x="3648" y="1054"/>
              <a:ext cx="263" cy="325"/>
            </a:xfrm>
            <a:custGeom>
              <a:avLst/>
              <a:gdLst/>
              <a:ahLst/>
              <a:cxnLst>
                <a:cxn ang="0">
                  <a:pos x="127" y="312"/>
                </a:cxn>
                <a:cxn ang="0">
                  <a:pos x="117" y="283"/>
                </a:cxn>
                <a:cxn ang="0">
                  <a:pos x="117" y="244"/>
                </a:cxn>
                <a:cxn ang="0">
                  <a:pos x="137" y="185"/>
                </a:cxn>
                <a:cxn ang="0">
                  <a:pos x="137" y="156"/>
                </a:cxn>
                <a:cxn ang="0">
                  <a:pos x="166" y="136"/>
                </a:cxn>
                <a:cxn ang="0">
                  <a:pos x="176" y="127"/>
                </a:cxn>
                <a:cxn ang="0">
                  <a:pos x="185" y="107"/>
                </a:cxn>
                <a:cxn ang="0">
                  <a:pos x="205" y="97"/>
                </a:cxn>
                <a:cxn ang="0">
                  <a:pos x="215" y="88"/>
                </a:cxn>
                <a:cxn ang="0">
                  <a:pos x="234" y="97"/>
                </a:cxn>
                <a:cxn ang="0">
                  <a:pos x="244" y="78"/>
                </a:cxn>
                <a:cxn ang="0">
                  <a:pos x="244" y="68"/>
                </a:cxn>
                <a:cxn ang="0">
                  <a:pos x="263" y="78"/>
                </a:cxn>
                <a:cxn ang="0">
                  <a:pos x="263" y="58"/>
                </a:cxn>
                <a:cxn ang="0">
                  <a:pos x="244" y="29"/>
                </a:cxn>
                <a:cxn ang="0">
                  <a:pos x="215" y="19"/>
                </a:cxn>
                <a:cxn ang="0">
                  <a:pos x="195" y="0"/>
                </a:cxn>
                <a:cxn ang="0">
                  <a:pos x="176" y="9"/>
                </a:cxn>
                <a:cxn ang="0">
                  <a:pos x="166" y="19"/>
                </a:cxn>
                <a:cxn ang="0">
                  <a:pos x="156" y="29"/>
                </a:cxn>
                <a:cxn ang="0">
                  <a:pos x="137" y="19"/>
                </a:cxn>
                <a:cxn ang="0">
                  <a:pos x="117" y="29"/>
                </a:cxn>
                <a:cxn ang="0">
                  <a:pos x="127" y="39"/>
                </a:cxn>
                <a:cxn ang="0">
                  <a:pos x="127" y="49"/>
                </a:cxn>
                <a:cxn ang="0">
                  <a:pos x="117" y="39"/>
                </a:cxn>
                <a:cxn ang="0">
                  <a:pos x="98" y="58"/>
                </a:cxn>
                <a:cxn ang="0">
                  <a:pos x="88" y="58"/>
                </a:cxn>
                <a:cxn ang="0">
                  <a:pos x="78" y="78"/>
                </a:cxn>
                <a:cxn ang="0">
                  <a:pos x="68" y="68"/>
                </a:cxn>
                <a:cxn ang="0">
                  <a:pos x="59" y="58"/>
                </a:cxn>
                <a:cxn ang="0">
                  <a:pos x="39" y="58"/>
                </a:cxn>
                <a:cxn ang="0">
                  <a:pos x="10" y="88"/>
                </a:cxn>
                <a:cxn ang="0">
                  <a:pos x="0" y="107"/>
                </a:cxn>
                <a:cxn ang="0">
                  <a:pos x="10" y="127"/>
                </a:cxn>
                <a:cxn ang="0">
                  <a:pos x="29" y="117"/>
                </a:cxn>
                <a:cxn ang="0">
                  <a:pos x="29" y="136"/>
                </a:cxn>
                <a:cxn ang="0">
                  <a:pos x="49" y="156"/>
                </a:cxn>
                <a:cxn ang="0">
                  <a:pos x="49" y="156"/>
                </a:cxn>
                <a:cxn ang="0">
                  <a:pos x="59" y="166"/>
                </a:cxn>
                <a:cxn ang="0">
                  <a:pos x="49" y="175"/>
                </a:cxn>
                <a:cxn ang="0">
                  <a:pos x="39" y="185"/>
                </a:cxn>
                <a:cxn ang="0">
                  <a:pos x="49" y="195"/>
                </a:cxn>
                <a:cxn ang="0">
                  <a:pos x="39" y="205"/>
                </a:cxn>
                <a:cxn ang="0">
                  <a:pos x="29" y="195"/>
                </a:cxn>
                <a:cxn ang="0">
                  <a:pos x="10" y="214"/>
                </a:cxn>
                <a:cxn ang="0">
                  <a:pos x="20" y="234"/>
                </a:cxn>
                <a:cxn ang="0">
                  <a:pos x="39" y="244"/>
                </a:cxn>
                <a:cxn ang="0">
                  <a:pos x="39" y="253"/>
                </a:cxn>
                <a:cxn ang="0">
                  <a:pos x="49" y="273"/>
                </a:cxn>
                <a:cxn ang="0">
                  <a:pos x="59" y="263"/>
                </a:cxn>
                <a:cxn ang="0">
                  <a:pos x="78" y="302"/>
                </a:cxn>
                <a:cxn ang="0">
                  <a:pos x="88" y="292"/>
                </a:cxn>
                <a:cxn ang="0">
                  <a:pos x="88" y="283"/>
                </a:cxn>
                <a:cxn ang="0">
                  <a:pos x="88" y="302"/>
                </a:cxn>
                <a:cxn ang="0">
                  <a:pos x="107" y="322"/>
                </a:cxn>
              </a:cxnLst>
              <a:rect l="0" t="0" r="r" b="b"/>
              <a:pathLst>
                <a:path w="263" h="322">
                  <a:moveTo>
                    <a:pt x="117" y="322"/>
                  </a:moveTo>
                  <a:lnTo>
                    <a:pt x="127" y="312"/>
                  </a:lnTo>
                  <a:lnTo>
                    <a:pt x="127" y="302"/>
                  </a:lnTo>
                  <a:lnTo>
                    <a:pt x="117" y="283"/>
                  </a:lnTo>
                  <a:lnTo>
                    <a:pt x="117" y="263"/>
                  </a:lnTo>
                  <a:lnTo>
                    <a:pt x="117" y="244"/>
                  </a:lnTo>
                  <a:lnTo>
                    <a:pt x="127" y="214"/>
                  </a:lnTo>
                  <a:lnTo>
                    <a:pt x="137" y="185"/>
                  </a:lnTo>
                  <a:lnTo>
                    <a:pt x="137" y="166"/>
                  </a:lnTo>
                  <a:lnTo>
                    <a:pt x="137" y="156"/>
                  </a:lnTo>
                  <a:lnTo>
                    <a:pt x="156" y="156"/>
                  </a:lnTo>
                  <a:lnTo>
                    <a:pt x="166" y="136"/>
                  </a:lnTo>
                  <a:lnTo>
                    <a:pt x="176" y="127"/>
                  </a:lnTo>
                  <a:lnTo>
                    <a:pt x="176" y="107"/>
                  </a:lnTo>
                  <a:lnTo>
                    <a:pt x="185" y="107"/>
                  </a:lnTo>
                  <a:lnTo>
                    <a:pt x="195" y="107"/>
                  </a:lnTo>
                  <a:lnTo>
                    <a:pt x="205" y="97"/>
                  </a:lnTo>
                  <a:lnTo>
                    <a:pt x="215" y="107"/>
                  </a:lnTo>
                  <a:lnTo>
                    <a:pt x="215" y="88"/>
                  </a:lnTo>
                  <a:lnTo>
                    <a:pt x="224" y="97"/>
                  </a:lnTo>
                  <a:lnTo>
                    <a:pt x="234" y="97"/>
                  </a:lnTo>
                  <a:lnTo>
                    <a:pt x="224" y="78"/>
                  </a:lnTo>
                  <a:lnTo>
                    <a:pt x="244" y="78"/>
                  </a:lnTo>
                  <a:lnTo>
                    <a:pt x="254" y="78"/>
                  </a:lnTo>
                  <a:lnTo>
                    <a:pt x="244" y="68"/>
                  </a:lnTo>
                  <a:lnTo>
                    <a:pt x="254" y="68"/>
                  </a:lnTo>
                  <a:lnTo>
                    <a:pt x="263" y="78"/>
                  </a:lnTo>
                  <a:lnTo>
                    <a:pt x="263" y="68"/>
                  </a:lnTo>
                  <a:lnTo>
                    <a:pt x="263" y="58"/>
                  </a:lnTo>
                  <a:lnTo>
                    <a:pt x="244" y="49"/>
                  </a:lnTo>
                  <a:lnTo>
                    <a:pt x="244" y="29"/>
                  </a:lnTo>
                  <a:lnTo>
                    <a:pt x="224" y="19"/>
                  </a:lnTo>
                  <a:lnTo>
                    <a:pt x="215" y="19"/>
                  </a:lnTo>
                  <a:lnTo>
                    <a:pt x="205" y="19"/>
                  </a:lnTo>
                  <a:lnTo>
                    <a:pt x="195" y="0"/>
                  </a:lnTo>
                  <a:lnTo>
                    <a:pt x="185" y="0"/>
                  </a:lnTo>
                  <a:lnTo>
                    <a:pt x="176" y="9"/>
                  </a:lnTo>
                  <a:lnTo>
                    <a:pt x="166" y="9"/>
                  </a:lnTo>
                  <a:lnTo>
                    <a:pt x="166" y="19"/>
                  </a:lnTo>
                  <a:lnTo>
                    <a:pt x="156" y="19"/>
                  </a:lnTo>
                  <a:lnTo>
                    <a:pt x="156" y="29"/>
                  </a:lnTo>
                  <a:lnTo>
                    <a:pt x="146" y="29"/>
                  </a:lnTo>
                  <a:lnTo>
                    <a:pt x="137" y="19"/>
                  </a:lnTo>
                  <a:lnTo>
                    <a:pt x="127" y="19"/>
                  </a:lnTo>
                  <a:lnTo>
                    <a:pt x="117" y="29"/>
                  </a:lnTo>
                  <a:lnTo>
                    <a:pt x="127" y="39"/>
                  </a:lnTo>
                  <a:lnTo>
                    <a:pt x="137" y="49"/>
                  </a:lnTo>
                  <a:lnTo>
                    <a:pt x="127" y="49"/>
                  </a:lnTo>
                  <a:lnTo>
                    <a:pt x="117" y="39"/>
                  </a:lnTo>
                  <a:lnTo>
                    <a:pt x="117" y="49"/>
                  </a:lnTo>
                  <a:lnTo>
                    <a:pt x="98" y="58"/>
                  </a:lnTo>
                  <a:lnTo>
                    <a:pt x="88" y="58"/>
                  </a:lnTo>
                  <a:lnTo>
                    <a:pt x="88" y="68"/>
                  </a:lnTo>
                  <a:lnTo>
                    <a:pt x="78" y="78"/>
                  </a:lnTo>
                  <a:lnTo>
                    <a:pt x="68" y="78"/>
                  </a:lnTo>
                  <a:lnTo>
                    <a:pt x="68" y="68"/>
                  </a:lnTo>
                  <a:lnTo>
                    <a:pt x="59" y="68"/>
                  </a:lnTo>
                  <a:lnTo>
                    <a:pt x="59" y="58"/>
                  </a:lnTo>
                  <a:lnTo>
                    <a:pt x="49" y="58"/>
                  </a:lnTo>
                  <a:lnTo>
                    <a:pt x="39" y="58"/>
                  </a:lnTo>
                  <a:lnTo>
                    <a:pt x="29" y="78"/>
                  </a:lnTo>
                  <a:lnTo>
                    <a:pt x="10" y="88"/>
                  </a:lnTo>
                  <a:lnTo>
                    <a:pt x="10" y="97"/>
                  </a:lnTo>
                  <a:lnTo>
                    <a:pt x="0" y="107"/>
                  </a:lnTo>
                  <a:lnTo>
                    <a:pt x="0" y="117"/>
                  </a:lnTo>
                  <a:lnTo>
                    <a:pt x="10" y="127"/>
                  </a:lnTo>
                  <a:lnTo>
                    <a:pt x="20" y="127"/>
                  </a:lnTo>
                  <a:lnTo>
                    <a:pt x="29" y="117"/>
                  </a:lnTo>
                  <a:lnTo>
                    <a:pt x="39" y="127"/>
                  </a:lnTo>
                  <a:lnTo>
                    <a:pt x="29" y="136"/>
                  </a:lnTo>
                  <a:lnTo>
                    <a:pt x="39" y="146"/>
                  </a:lnTo>
                  <a:lnTo>
                    <a:pt x="49" y="156"/>
                  </a:lnTo>
                  <a:lnTo>
                    <a:pt x="49" y="166"/>
                  </a:lnTo>
                  <a:lnTo>
                    <a:pt x="59" y="166"/>
                  </a:lnTo>
                  <a:lnTo>
                    <a:pt x="68" y="166"/>
                  </a:lnTo>
                  <a:lnTo>
                    <a:pt x="49" y="175"/>
                  </a:lnTo>
                  <a:lnTo>
                    <a:pt x="39" y="175"/>
                  </a:lnTo>
                  <a:lnTo>
                    <a:pt x="39" y="185"/>
                  </a:lnTo>
                  <a:lnTo>
                    <a:pt x="49" y="195"/>
                  </a:lnTo>
                  <a:lnTo>
                    <a:pt x="49" y="205"/>
                  </a:lnTo>
                  <a:lnTo>
                    <a:pt x="39" y="205"/>
                  </a:lnTo>
                  <a:lnTo>
                    <a:pt x="29" y="195"/>
                  </a:lnTo>
                  <a:lnTo>
                    <a:pt x="20" y="205"/>
                  </a:lnTo>
                  <a:lnTo>
                    <a:pt x="10" y="214"/>
                  </a:lnTo>
                  <a:lnTo>
                    <a:pt x="20" y="224"/>
                  </a:lnTo>
                  <a:lnTo>
                    <a:pt x="20" y="234"/>
                  </a:lnTo>
                  <a:lnTo>
                    <a:pt x="29" y="244"/>
                  </a:lnTo>
                  <a:lnTo>
                    <a:pt x="39" y="244"/>
                  </a:lnTo>
                  <a:lnTo>
                    <a:pt x="39" y="253"/>
                  </a:lnTo>
                  <a:lnTo>
                    <a:pt x="39" y="263"/>
                  </a:lnTo>
                  <a:lnTo>
                    <a:pt x="49" y="273"/>
                  </a:lnTo>
                  <a:lnTo>
                    <a:pt x="59" y="263"/>
                  </a:lnTo>
                  <a:lnTo>
                    <a:pt x="59" y="283"/>
                  </a:lnTo>
                  <a:lnTo>
                    <a:pt x="78" y="302"/>
                  </a:lnTo>
                  <a:lnTo>
                    <a:pt x="88" y="302"/>
                  </a:lnTo>
                  <a:lnTo>
                    <a:pt x="88" y="292"/>
                  </a:lnTo>
                  <a:lnTo>
                    <a:pt x="88" y="283"/>
                  </a:lnTo>
                  <a:lnTo>
                    <a:pt x="88" y="292"/>
                  </a:lnTo>
                  <a:lnTo>
                    <a:pt x="88" y="302"/>
                  </a:lnTo>
                  <a:lnTo>
                    <a:pt x="107" y="322"/>
                  </a:lnTo>
                  <a:lnTo>
                    <a:pt x="117" y="322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US" sz="1100">
                <a:latin typeface="Polo" pitchFamily="2" charset="0"/>
                <a:cs typeface="+mn-cs"/>
              </a:endParaRPr>
            </a:p>
          </p:txBody>
        </p:sp>
      </p:grpSp>
      <p:grpSp>
        <p:nvGrpSpPr>
          <p:cNvPr id="18654" name="Group 30"/>
          <p:cNvGrpSpPr>
            <a:grpSpLocks noChangeAspect="1"/>
          </p:cNvGrpSpPr>
          <p:nvPr>
            <p:custDataLst>
              <p:tags r:id="rId220"/>
            </p:custDataLst>
          </p:nvPr>
        </p:nvGrpSpPr>
        <p:grpSpPr bwMode="auto">
          <a:xfrm>
            <a:off x="4162425" y="3733800"/>
            <a:ext cx="38100" cy="61913"/>
            <a:chOff x="3755" y="1424"/>
            <a:chExt cx="59" cy="98"/>
          </a:xfrm>
        </p:grpSpPr>
        <p:sp>
          <p:nvSpPr>
            <p:cNvPr id="18732" name="Freeform 32"/>
            <p:cNvSpPr>
              <a:spLocks noChangeAspect="1"/>
            </p:cNvSpPr>
            <p:nvPr/>
          </p:nvSpPr>
          <p:spPr bwMode="auto">
            <a:xfrm>
              <a:off x="3755" y="1424"/>
              <a:ext cx="59" cy="98"/>
            </a:xfrm>
            <a:custGeom>
              <a:avLst/>
              <a:gdLst>
                <a:gd name="T0" fmla="*/ 10 w 59"/>
                <a:gd name="T1" fmla="*/ 59 h 98"/>
                <a:gd name="T2" fmla="*/ 0 w 59"/>
                <a:gd name="T3" fmla="*/ 40 h 98"/>
                <a:gd name="T4" fmla="*/ 10 w 59"/>
                <a:gd name="T5" fmla="*/ 30 h 98"/>
                <a:gd name="T6" fmla="*/ 10 w 59"/>
                <a:gd name="T7" fmla="*/ 20 h 98"/>
                <a:gd name="T8" fmla="*/ 20 w 59"/>
                <a:gd name="T9" fmla="*/ 10 h 98"/>
                <a:gd name="T10" fmla="*/ 20 w 59"/>
                <a:gd name="T11" fmla="*/ 20 h 98"/>
                <a:gd name="T12" fmla="*/ 30 w 59"/>
                <a:gd name="T13" fmla="*/ 20 h 98"/>
                <a:gd name="T14" fmla="*/ 30 w 59"/>
                <a:gd name="T15" fmla="*/ 10 h 98"/>
                <a:gd name="T16" fmla="*/ 30 w 59"/>
                <a:gd name="T17" fmla="*/ 0 h 98"/>
                <a:gd name="T18" fmla="*/ 39 w 59"/>
                <a:gd name="T19" fmla="*/ 10 h 98"/>
                <a:gd name="T20" fmla="*/ 49 w 59"/>
                <a:gd name="T21" fmla="*/ 10 h 98"/>
                <a:gd name="T22" fmla="*/ 49 w 59"/>
                <a:gd name="T23" fmla="*/ 20 h 98"/>
                <a:gd name="T24" fmla="*/ 49 w 59"/>
                <a:gd name="T25" fmla="*/ 40 h 98"/>
                <a:gd name="T26" fmla="*/ 49 w 59"/>
                <a:gd name="T27" fmla="*/ 59 h 98"/>
                <a:gd name="T28" fmla="*/ 59 w 59"/>
                <a:gd name="T29" fmla="*/ 59 h 98"/>
                <a:gd name="T30" fmla="*/ 59 w 59"/>
                <a:gd name="T31" fmla="*/ 69 h 98"/>
                <a:gd name="T32" fmla="*/ 59 w 59"/>
                <a:gd name="T33" fmla="*/ 88 h 98"/>
                <a:gd name="T34" fmla="*/ 59 w 59"/>
                <a:gd name="T35" fmla="*/ 98 h 98"/>
                <a:gd name="T36" fmla="*/ 39 w 59"/>
                <a:gd name="T37" fmla="*/ 98 h 98"/>
                <a:gd name="T38" fmla="*/ 30 w 59"/>
                <a:gd name="T39" fmla="*/ 98 h 98"/>
                <a:gd name="T40" fmla="*/ 30 w 59"/>
                <a:gd name="T41" fmla="*/ 98 h 98"/>
                <a:gd name="T42" fmla="*/ 20 w 59"/>
                <a:gd name="T43" fmla="*/ 88 h 98"/>
                <a:gd name="T44" fmla="*/ 20 w 59"/>
                <a:gd name="T45" fmla="*/ 79 h 98"/>
                <a:gd name="T46" fmla="*/ 20 w 59"/>
                <a:gd name="T47" fmla="*/ 69 h 98"/>
                <a:gd name="T48" fmla="*/ 20 w 59"/>
                <a:gd name="T49" fmla="*/ 59 h 98"/>
                <a:gd name="T50" fmla="*/ 10 w 59"/>
                <a:gd name="T51" fmla="*/ 59 h 9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59"/>
                <a:gd name="T79" fmla="*/ 0 h 98"/>
                <a:gd name="T80" fmla="*/ 59 w 59"/>
                <a:gd name="T81" fmla="*/ 98 h 98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59" h="98">
                  <a:moveTo>
                    <a:pt x="10" y="59"/>
                  </a:moveTo>
                  <a:lnTo>
                    <a:pt x="0" y="40"/>
                  </a:lnTo>
                  <a:lnTo>
                    <a:pt x="10" y="30"/>
                  </a:lnTo>
                  <a:lnTo>
                    <a:pt x="10" y="20"/>
                  </a:lnTo>
                  <a:lnTo>
                    <a:pt x="20" y="10"/>
                  </a:lnTo>
                  <a:lnTo>
                    <a:pt x="20" y="20"/>
                  </a:lnTo>
                  <a:lnTo>
                    <a:pt x="30" y="20"/>
                  </a:lnTo>
                  <a:lnTo>
                    <a:pt x="30" y="10"/>
                  </a:lnTo>
                  <a:lnTo>
                    <a:pt x="30" y="0"/>
                  </a:lnTo>
                  <a:lnTo>
                    <a:pt x="39" y="10"/>
                  </a:lnTo>
                  <a:lnTo>
                    <a:pt x="49" y="10"/>
                  </a:lnTo>
                  <a:lnTo>
                    <a:pt x="49" y="20"/>
                  </a:lnTo>
                  <a:lnTo>
                    <a:pt x="49" y="40"/>
                  </a:lnTo>
                  <a:lnTo>
                    <a:pt x="49" y="59"/>
                  </a:lnTo>
                  <a:lnTo>
                    <a:pt x="59" y="59"/>
                  </a:lnTo>
                  <a:lnTo>
                    <a:pt x="59" y="69"/>
                  </a:lnTo>
                  <a:lnTo>
                    <a:pt x="59" y="88"/>
                  </a:lnTo>
                  <a:lnTo>
                    <a:pt x="59" y="98"/>
                  </a:lnTo>
                  <a:lnTo>
                    <a:pt x="39" y="98"/>
                  </a:lnTo>
                  <a:lnTo>
                    <a:pt x="30" y="98"/>
                  </a:lnTo>
                  <a:lnTo>
                    <a:pt x="20" y="88"/>
                  </a:lnTo>
                  <a:lnTo>
                    <a:pt x="20" y="79"/>
                  </a:lnTo>
                  <a:lnTo>
                    <a:pt x="20" y="69"/>
                  </a:lnTo>
                  <a:lnTo>
                    <a:pt x="20" y="59"/>
                  </a:lnTo>
                  <a:lnTo>
                    <a:pt x="10" y="59"/>
                  </a:lnTo>
                  <a:close/>
                </a:path>
              </a:pathLst>
            </a:custGeom>
            <a:solidFill>
              <a:srgbClr val="548DD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8733" name="Freeform 31"/>
            <p:cNvSpPr>
              <a:spLocks noChangeAspect="1"/>
            </p:cNvSpPr>
            <p:nvPr/>
          </p:nvSpPr>
          <p:spPr bwMode="auto">
            <a:xfrm>
              <a:off x="3755" y="1424"/>
              <a:ext cx="59" cy="98"/>
            </a:xfrm>
            <a:custGeom>
              <a:avLst/>
              <a:gdLst>
                <a:gd name="T0" fmla="*/ 10 w 59"/>
                <a:gd name="T1" fmla="*/ 59 h 98"/>
                <a:gd name="T2" fmla="*/ 0 w 59"/>
                <a:gd name="T3" fmla="*/ 40 h 98"/>
                <a:gd name="T4" fmla="*/ 10 w 59"/>
                <a:gd name="T5" fmla="*/ 30 h 98"/>
                <a:gd name="T6" fmla="*/ 10 w 59"/>
                <a:gd name="T7" fmla="*/ 20 h 98"/>
                <a:gd name="T8" fmla="*/ 20 w 59"/>
                <a:gd name="T9" fmla="*/ 10 h 98"/>
                <a:gd name="T10" fmla="*/ 20 w 59"/>
                <a:gd name="T11" fmla="*/ 20 h 98"/>
                <a:gd name="T12" fmla="*/ 30 w 59"/>
                <a:gd name="T13" fmla="*/ 20 h 98"/>
                <a:gd name="T14" fmla="*/ 30 w 59"/>
                <a:gd name="T15" fmla="*/ 10 h 98"/>
                <a:gd name="T16" fmla="*/ 30 w 59"/>
                <a:gd name="T17" fmla="*/ 0 h 98"/>
                <a:gd name="T18" fmla="*/ 39 w 59"/>
                <a:gd name="T19" fmla="*/ 10 h 98"/>
                <a:gd name="T20" fmla="*/ 49 w 59"/>
                <a:gd name="T21" fmla="*/ 10 h 98"/>
                <a:gd name="T22" fmla="*/ 49 w 59"/>
                <a:gd name="T23" fmla="*/ 20 h 98"/>
                <a:gd name="T24" fmla="*/ 49 w 59"/>
                <a:gd name="T25" fmla="*/ 40 h 98"/>
                <a:gd name="T26" fmla="*/ 49 w 59"/>
                <a:gd name="T27" fmla="*/ 59 h 98"/>
                <a:gd name="T28" fmla="*/ 59 w 59"/>
                <a:gd name="T29" fmla="*/ 59 h 98"/>
                <a:gd name="T30" fmla="*/ 59 w 59"/>
                <a:gd name="T31" fmla="*/ 69 h 98"/>
                <a:gd name="T32" fmla="*/ 59 w 59"/>
                <a:gd name="T33" fmla="*/ 88 h 98"/>
                <a:gd name="T34" fmla="*/ 59 w 59"/>
                <a:gd name="T35" fmla="*/ 98 h 98"/>
                <a:gd name="T36" fmla="*/ 39 w 59"/>
                <a:gd name="T37" fmla="*/ 98 h 98"/>
                <a:gd name="T38" fmla="*/ 30 w 59"/>
                <a:gd name="T39" fmla="*/ 98 h 98"/>
                <a:gd name="T40" fmla="*/ 30 w 59"/>
                <a:gd name="T41" fmla="*/ 98 h 98"/>
                <a:gd name="T42" fmla="*/ 20 w 59"/>
                <a:gd name="T43" fmla="*/ 88 h 98"/>
                <a:gd name="T44" fmla="*/ 20 w 59"/>
                <a:gd name="T45" fmla="*/ 79 h 98"/>
                <a:gd name="T46" fmla="*/ 20 w 59"/>
                <a:gd name="T47" fmla="*/ 69 h 98"/>
                <a:gd name="T48" fmla="*/ 20 w 59"/>
                <a:gd name="T49" fmla="*/ 59 h 98"/>
                <a:gd name="T50" fmla="*/ 10 w 59"/>
                <a:gd name="T51" fmla="*/ 59 h 9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59"/>
                <a:gd name="T79" fmla="*/ 0 h 98"/>
                <a:gd name="T80" fmla="*/ 59 w 59"/>
                <a:gd name="T81" fmla="*/ 98 h 98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59" h="98">
                  <a:moveTo>
                    <a:pt x="10" y="59"/>
                  </a:moveTo>
                  <a:lnTo>
                    <a:pt x="0" y="40"/>
                  </a:lnTo>
                  <a:lnTo>
                    <a:pt x="10" y="30"/>
                  </a:lnTo>
                  <a:lnTo>
                    <a:pt x="10" y="20"/>
                  </a:lnTo>
                  <a:lnTo>
                    <a:pt x="20" y="10"/>
                  </a:lnTo>
                  <a:lnTo>
                    <a:pt x="20" y="20"/>
                  </a:lnTo>
                  <a:lnTo>
                    <a:pt x="30" y="20"/>
                  </a:lnTo>
                  <a:lnTo>
                    <a:pt x="30" y="10"/>
                  </a:lnTo>
                  <a:lnTo>
                    <a:pt x="30" y="0"/>
                  </a:lnTo>
                  <a:lnTo>
                    <a:pt x="39" y="10"/>
                  </a:lnTo>
                  <a:lnTo>
                    <a:pt x="49" y="10"/>
                  </a:lnTo>
                  <a:lnTo>
                    <a:pt x="49" y="20"/>
                  </a:lnTo>
                  <a:lnTo>
                    <a:pt x="49" y="40"/>
                  </a:lnTo>
                  <a:lnTo>
                    <a:pt x="49" y="59"/>
                  </a:lnTo>
                  <a:lnTo>
                    <a:pt x="59" y="59"/>
                  </a:lnTo>
                  <a:lnTo>
                    <a:pt x="59" y="69"/>
                  </a:lnTo>
                  <a:lnTo>
                    <a:pt x="59" y="88"/>
                  </a:lnTo>
                  <a:lnTo>
                    <a:pt x="59" y="98"/>
                  </a:lnTo>
                  <a:lnTo>
                    <a:pt x="39" y="98"/>
                  </a:lnTo>
                  <a:lnTo>
                    <a:pt x="30" y="98"/>
                  </a:lnTo>
                  <a:lnTo>
                    <a:pt x="20" y="88"/>
                  </a:lnTo>
                  <a:lnTo>
                    <a:pt x="20" y="79"/>
                  </a:lnTo>
                  <a:lnTo>
                    <a:pt x="20" y="69"/>
                  </a:lnTo>
                  <a:lnTo>
                    <a:pt x="20" y="59"/>
                  </a:lnTo>
                  <a:lnTo>
                    <a:pt x="10" y="59"/>
                  </a:lnTo>
                </a:path>
              </a:pathLst>
            </a:custGeom>
            <a:solidFill>
              <a:srgbClr val="548DD4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grpSp>
        <p:nvGrpSpPr>
          <p:cNvPr id="18655" name="Group 27"/>
          <p:cNvGrpSpPr>
            <a:grpSpLocks noChangeAspect="1"/>
          </p:cNvGrpSpPr>
          <p:nvPr>
            <p:custDataLst>
              <p:tags r:id="rId221"/>
            </p:custDataLst>
          </p:nvPr>
        </p:nvGrpSpPr>
        <p:grpSpPr bwMode="auto">
          <a:xfrm>
            <a:off x="6143625" y="3716338"/>
            <a:ext cx="12700" cy="12700"/>
            <a:chOff x="6721" y="1395"/>
            <a:chExt cx="19" cy="20"/>
          </a:xfrm>
        </p:grpSpPr>
        <p:sp>
          <p:nvSpPr>
            <p:cNvPr id="18730" name="Freeform 29"/>
            <p:cNvSpPr>
              <a:spLocks noChangeAspect="1"/>
            </p:cNvSpPr>
            <p:nvPr/>
          </p:nvSpPr>
          <p:spPr bwMode="auto">
            <a:xfrm>
              <a:off x="6721" y="1395"/>
              <a:ext cx="19" cy="20"/>
            </a:xfrm>
            <a:custGeom>
              <a:avLst/>
              <a:gdLst>
                <a:gd name="T0" fmla="*/ 0 w 19"/>
                <a:gd name="T1" fmla="*/ 10 h 20"/>
                <a:gd name="T2" fmla="*/ 9 w 19"/>
                <a:gd name="T3" fmla="*/ 0 h 20"/>
                <a:gd name="T4" fmla="*/ 19 w 19"/>
                <a:gd name="T5" fmla="*/ 0 h 20"/>
                <a:gd name="T6" fmla="*/ 19 w 19"/>
                <a:gd name="T7" fmla="*/ 10 h 20"/>
                <a:gd name="T8" fmla="*/ 19 w 19"/>
                <a:gd name="T9" fmla="*/ 10 h 20"/>
                <a:gd name="T10" fmla="*/ 9 w 19"/>
                <a:gd name="T11" fmla="*/ 10 h 20"/>
                <a:gd name="T12" fmla="*/ 0 w 19"/>
                <a:gd name="T13" fmla="*/ 20 h 20"/>
                <a:gd name="T14" fmla="*/ 0 w 19"/>
                <a:gd name="T15" fmla="*/ 20 h 20"/>
                <a:gd name="T16" fmla="*/ 0 w 19"/>
                <a:gd name="T17" fmla="*/ 10 h 2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"/>
                <a:gd name="T28" fmla="*/ 0 h 20"/>
                <a:gd name="T29" fmla="*/ 19 w 19"/>
                <a:gd name="T30" fmla="*/ 20 h 2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" h="20">
                  <a:moveTo>
                    <a:pt x="0" y="10"/>
                  </a:moveTo>
                  <a:lnTo>
                    <a:pt x="9" y="0"/>
                  </a:lnTo>
                  <a:lnTo>
                    <a:pt x="19" y="0"/>
                  </a:lnTo>
                  <a:lnTo>
                    <a:pt x="19" y="10"/>
                  </a:lnTo>
                  <a:lnTo>
                    <a:pt x="9" y="10"/>
                  </a:lnTo>
                  <a:lnTo>
                    <a:pt x="0" y="2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CCEC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8731" name="Freeform 28"/>
            <p:cNvSpPr>
              <a:spLocks noChangeAspect="1"/>
            </p:cNvSpPr>
            <p:nvPr/>
          </p:nvSpPr>
          <p:spPr bwMode="auto">
            <a:xfrm>
              <a:off x="6721" y="1395"/>
              <a:ext cx="19" cy="20"/>
            </a:xfrm>
            <a:custGeom>
              <a:avLst/>
              <a:gdLst>
                <a:gd name="T0" fmla="*/ 0 w 19"/>
                <a:gd name="T1" fmla="*/ 10 h 20"/>
                <a:gd name="T2" fmla="*/ 9 w 19"/>
                <a:gd name="T3" fmla="*/ 0 h 20"/>
                <a:gd name="T4" fmla="*/ 19 w 19"/>
                <a:gd name="T5" fmla="*/ 0 h 20"/>
                <a:gd name="T6" fmla="*/ 19 w 19"/>
                <a:gd name="T7" fmla="*/ 10 h 20"/>
                <a:gd name="T8" fmla="*/ 19 w 19"/>
                <a:gd name="T9" fmla="*/ 10 h 20"/>
                <a:gd name="T10" fmla="*/ 9 w 19"/>
                <a:gd name="T11" fmla="*/ 10 h 20"/>
                <a:gd name="T12" fmla="*/ 0 w 19"/>
                <a:gd name="T13" fmla="*/ 20 h 20"/>
                <a:gd name="T14" fmla="*/ 0 w 19"/>
                <a:gd name="T15" fmla="*/ 20 h 20"/>
                <a:gd name="T16" fmla="*/ 0 w 19"/>
                <a:gd name="T17" fmla="*/ 10 h 2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"/>
                <a:gd name="T28" fmla="*/ 0 h 20"/>
                <a:gd name="T29" fmla="*/ 19 w 19"/>
                <a:gd name="T30" fmla="*/ 20 h 2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" h="20">
                  <a:moveTo>
                    <a:pt x="0" y="10"/>
                  </a:moveTo>
                  <a:lnTo>
                    <a:pt x="9" y="0"/>
                  </a:lnTo>
                  <a:lnTo>
                    <a:pt x="19" y="0"/>
                  </a:lnTo>
                  <a:lnTo>
                    <a:pt x="19" y="10"/>
                  </a:lnTo>
                  <a:lnTo>
                    <a:pt x="9" y="10"/>
                  </a:lnTo>
                  <a:lnTo>
                    <a:pt x="0" y="20"/>
                  </a:lnTo>
                  <a:lnTo>
                    <a:pt x="0" y="10"/>
                  </a:lnTo>
                </a:path>
              </a:pathLst>
            </a:custGeom>
            <a:noFill/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18656" name="Freeform 26"/>
          <p:cNvSpPr>
            <a:spLocks noChangeAspect="1"/>
          </p:cNvSpPr>
          <p:nvPr>
            <p:custDataLst>
              <p:tags r:id="rId222"/>
            </p:custDataLst>
          </p:nvPr>
        </p:nvSpPr>
        <p:spPr bwMode="auto">
          <a:xfrm>
            <a:off x="2814638" y="3978275"/>
            <a:ext cx="52387" cy="36513"/>
          </a:xfrm>
          <a:custGeom>
            <a:avLst/>
            <a:gdLst>
              <a:gd name="T0" fmla="*/ 0 w 78"/>
              <a:gd name="T1" fmla="*/ 11961 h 58"/>
              <a:gd name="T2" fmla="*/ 0 w 78"/>
              <a:gd name="T3" fmla="*/ 11961 h 58"/>
              <a:gd name="T4" fmla="*/ 6716 w 78"/>
              <a:gd name="T5" fmla="*/ 0 h 58"/>
              <a:gd name="T6" fmla="*/ 13433 w 78"/>
              <a:gd name="T7" fmla="*/ 0 h 58"/>
              <a:gd name="T8" fmla="*/ 20149 w 78"/>
              <a:gd name="T9" fmla="*/ 0 h 58"/>
              <a:gd name="T10" fmla="*/ 32910 w 78"/>
              <a:gd name="T11" fmla="*/ 0 h 58"/>
              <a:gd name="T12" fmla="*/ 39626 w 78"/>
              <a:gd name="T13" fmla="*/ 0 h 58"/>
              <a:gd name="T14" fmla="*/ 46342 w 78"/>
              <a:gd name="T15" fmla="*/ 0 h 58"/>
              <a:gd name="T16" fmla="*/ 52387 w 78"/>
              <a:gd name="T17" fmla="*/ 6295 h 58"/>
              <a:gd name="T18" fmla="*/ 52387 w 78"/>
              <a:gd name="T19" fmla="*/ 11961 h 58"/>
              <a:gd name="T20" fmla="*/ 52387 w 78"/>
              <a:gd name="T21" fmla="*/ 18256 h 58"/>
              <a:gd name="T22" fmla="*/ 52387 w 78"/>
              <a:gd name="T23" fmla="*/ 24551 h 58"/>
              <a:gd name="T24" fmla="*/ 52387 w 78"/>
              <a:gd name="T25" fmla="*/ 30846 h 58"/>
              <a:gd name="T26" fmla="*/ 46342 w 78"/>
              <a:gd name="T27" fmla="*/ 36512 h 58"/>
              <a:gd name="T28" fmla="*/ 39626 w 78"/>
              <a:gd name="T29" fmla="*/ 36512 h 58"/>
              <a:gd name="T30" fmla="*/ 26194 w 78"/>
              <a:gd name="T31" fmla="*/ 36512 h 58"/>
              <a:gd name="T32" fmla="*/ 20149 w 78"/>
              <a:gd name="T33" fmla="*/ 36512 h 58"/>
              <a:gd name="T34" fmla="*/ 13433 w 78"/>
              <a:gd name="T35" fmla="*/ 36512 h 58"/>
              <a:gd name="T36" fmla="*/ 6716 w 78"/>
              <a:gd name="T37" fmla="*/ 30846 h 58"/>
              <a:gd name="T38" fmla="*/ 0 w 78"/>
              <a:gd name="T39" fmla="*/ 30846 h 58"/>
              <a:gd name="T40" fmla="*/ 0 w 78"/>
              <a:gd name="T41" fmla="*/ 24551 h 58"/>
              <a:gd name="T42" fmla="*/ 0 w 78"/>
              <a:gd name="T43" fmla="*/ 18256 h 58"/>
              <a:gd name="T44" fmla="*/ 0 w 78"/>
              <a:gd name="T45" fmla="*/ 11961 h 58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78"/>
              <a:gd name="T70" fmla="*/ 0 h 58"/>
              <a:gd name="T71" fmla="*/ 78 w 78"/>
              <a:gd name="T72" fmla="*/ 58 h 58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78" h="58">
                <a:moveTo>
                  <a:pt x="0" y="19"/>
                </a:moveTo>
                <a:lnTo>
                  <a:pt x="0" y="19"/>
                </a:lnTo>
                <a:lnTo>
                  <a:pt x="10" y="0"/>
                </a:lnTo>
                <a:lnTo>
                  <a:pt x="20" y="0"/>
                </a:lnTo>
                <a:lnTo>
                  <a:pt x="30" y="0"/>
                </a:lnTo>
                <a:lnTo>
                  <a:pt x="49" y="0"/>
                </a:lnTo>
                <a:lnTo>
                  <a:pt x="59" y="0"/>
                </a:lnTo>
                <a:lnTo>
                  <a:pt x="69" y="0"/>
                </a:lnTo>
                <a:lnTo>
                  <a:pt x="78" y="10"/>
                </a:lnTo>
                <a:lnTo>
                  <a:pt x="78" y="19"/>
                </a:lnTo>
                <a:lnTo>
                  <a:pt x="78" y="29"/>
                </a:lnTo>
                <a:lnTo>
                  <a:pt x="78" y="39"/>
                </a:lnTo>
                <a:lnTo>
                  <a:pt x="78" y="49"/>
                </a:lnTo>
                <a:lnTo>
                  <a:pt x="69" y="58"/>
                </a:lnTo>
                <a:lnTo>
                  <a:pt x="59" y="58"/>
                </a:lnTo>
                <a:lnTo>
                  <a:pt x="39" y="58"/>
                </a:lnTo>
                <a:lnTo>
                  <a:pt x="30" y="58"/>
                </a:lnTo>
                <a:lnTo>
                  <a:pt x="20" y="58"/>
                </a:lnTo>
                <a:lnTo>
                  <a:pt x="10" y="49"/>
                </a:lnTo>
                <a:lnTo>
                  <a:pt x="0" y="49"/>
                </a:lnTo>
                <a:lnTo>
                  <a:pt x="0" y="39"/>
                </a:lnTo>
                <a:lnTo>
                  <a:pt x="0" y="29"/>
                </a:lnTo>
                <a:lnTo>
                  <a:pt x="0" y="19"/>
                </a:lnTo>
                <a:close/>
              </a:path>
            </a:pathLst>
          </a:custGeom>
          <a:solidFill>
            <a:srgbClr val="99E98B"/>
          </a:solidFill>
          <a:ln w="6350" cap="rnd">
            <a:solidFill>
              <a:srgbClr val="4C7445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grpSp>
        <p:nvGrpSpPr>
          <p:cNvPr id="18657" name="Group 23"/>
          <p:cNvGrpSpPr>
            <a:grpSpLocks noChangeAspect="1"/>
          </p:cNvGrpSpPr>
          <p:nvPr>
            <p:custDataLst>
              <p:tags r:id="rId223"/>
            </p:custDataLst>
          </p:nvPr>
        </p:nvGrpSpPr>
        <p:grpSpPr bwMode="auto">
          <a:xfrm>
            <a:off x="2814638" y="3978275"/>
            <a:ext cx="52387" cy="36513"/>
            <a:chOff x="1736" y="1815"/>
            <a:chExt cx="78" cy="58"/>
          </a:xfrm>
        </p:grpSpPr>
        <p:sp>
          <p:nvSpPr>
            <p:cNvPr id="18728" name="Freeform 25"/>
            <p:cNvSpPr>
              <a:spLocks noChangeAspect="1"/>
            </p:cNvSpPr>
            <p:nvPr/>
          </p:nvSpPr>
          <p:spPr bwMode="auto">
            <a:xfrm>
              <a:off x="1736" y="1815"/>
              <a:ext cx="78" cy="58"/>
            </a:xfrm>
            <a:custGeom>
              <a:avLst/>
              <a:gdLst>
                <a:gd name="T0" fmla="*/ 0 w 78"/>
                <a:gd name="T1" fmla="*/ 19 h 58"/>
                <a:gd name="T2" fmla="*/ 0 w 78"/>
                <a:gd name="T3" fmla="*/ 19 h 58"/>
                <a:gd name="T4" fmla="*/ 10 w 78"/>
                <a:gd name="T5" fmla="*/ 0 h 58"/>
                <a:gd name="T6" fmla="*/ 20 w 78"/>
                <a:gd name="T7" fmla="*/ 0 h 58"/>
                <a:gd name="T8" fmla="*/ 30 w 78"/>
                <a:gd name="T9" fmla="*/ 0 h 58"/>
                <a:gd name="T10" fmla="*/ 49 w 78"/>
                <a:gd name="T11" fmla="*/ 0 h 58"/>
                <a:gd name="T12" fmla="*/ 59 w 78"/>
                <a:gd name="T13" fmla="*/ 0 h 58"/>
                <a:gd name="T14" fmla="*/ 69 w 78"/>
                <a:gd name="T15" fmla="*/ 0 h 58"/>
                <a:gd name="T16" fmla="*/ 78 w 78"/>
                <a:gd name="T17" fmla="*/ 10 h 58"/>
                <a:gd name="T18" fmla="*/ 78 w 78"/>
                <a:gd name="T19" fmla="*/ 19 h 58"/>
                <a:gd name="T20" fmla="*/ 78 w 78"/>
                <a:gd name="T21" fmla="*/ 29 h 58"/>
                <a:gd name="T22" fmla="*/ 78 w 78"/>
                <a:gd name="T23" fmla="*/ 39 h 58"/>
                <a:gd name="T24" fmla="*/ 78 w 78"/>
                <a:gd name="T25" fmla="*/ 49 h 58"/>
                <a:gd name="T26" fmla="*/ 69 w 78"/>
                <a:gd name="T27" fmla="*/ 58 h 58"/>
                <a:gd name="T28" fmla="*/ 59 w 78"/>
                <a:gd name="T29" fmla="*/ 58 h 58"/>
                <a:gd name="T30" fmla="*/ 39 w 78"/>
                <a:gd name="T31" fmla="*/ 58 h 58"/>
                <a:gd name="T32" fmla="*/ 30 w 78"/>
                <a:gd name="T33" fmla="*/ 58 h 58"/>
                <a:gd name="T34" fmla="*/ 20 w 78"/>
                <a:gd name="T35" fmla="*/ 58 h 58"/>
                <a:gd name="T36" fmla="*/ 10 w 78"/>
                <a:gd name="T37" fmla="*/ 49 h 58"/>
                <a:gd name="T38" fmla="*/ 0 w 78"/>
                <a:gd name="T39" fmla="*/ 49 h 58"/>
                <a:gd name="T40" fmla="*/ 0 w 78"/>
                <a:gd name="T41" fmla="*/ 39 h 58"/>
                <a:gd name="T42" fmla="*/ 0 w 78"/>
                <a:gd name="T43" fmla="*/ 29 h 58"/>
                <a:gd name="T44" fmla="*/ 0 w 78"/>
                <a:gd name="T45" fmla="*/ 19 h 5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78"/>
                <a:gd name="T70" fmla="*/ 0 h 58"/>
                <a:gd name="T71" fmla="*/ 78 w 78"/>
                <a:gd name="T72" fmla="*/ 58 h 58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78" h="58">
                  <a:moveTo>
                    <a:pt x="0" y="19"/>
                  </a:moveTo>
                  <a:lnTo>
                    <a:pt x="0" y="19"/>
                  </a:lnTo>
                  <a:lnTo>
                    <a:pt x="10" y="0"/>
                  </a:lnTo>
                  <a:lnTo>
                    <a:pt x="20" y="0"/>
                  </a:lnTo>
                  <a:lnTo>
                    <a:pt x="30" y="0"/>
                  </a:lnTo>
                  <a:lnTo>
                    <a:pt x="49" y="0"/>
                  </a:lnTo>
                  <a:lnTo>
                    <a:pt x="59" y="0"/>
                  </a:lnTo>
                  <a:lnTo>
                    <a:pt x="69" y="0"/>
                  </a:lnTo>
                  <a:lnTo>
                    <a:pt x="78" y="10"/>
                  </a:lnTo>
                  <a:lnTo>
                    <a:pt x="78" y="19"/>
                  </a:lnTo>
                  <a:lnTo>
                    <a:pt x="78" y="29"/>
                  </a:lnTo>
                  <a:lnTo>
                    <a:pt x="78" y="39"/>
                  </a:lnTo>
                  <a:lnTo>
                    <a:pt x="78" y="49"/>
                  </a:lnTo>
                  <a:lnTo>
                    <a:pt x="69" y="58"/>
                  </a:lnTo>
                  <a:lnTo>
                    <a:pt x="59" y="58"/>
                  </a:lnTo>
                  <a:lnTo>
                    <a:pt x="39" y="58"/>
                  </a:lnTo>
                  <a:lnTo>
                    <a:pt x="30" y="58"/>
                  </a:lnTo>
                  <a:lnTo>
                    <a:pt x="20" y="58"/>
                  </a:lnTo>
                  <a:lnTo>
                    <a:pt x="10" y="49"/>
                  </a:lnTo>
                  <a:lnTo>
                    <a:pt x="0" y="49"/>
                  </a:lnTo>
                  <a:lnTo>
                    <a:pt x="0" y="39"/>
                  </a:lnTo>
                  <a:lnTo>
                    <a:pt x="0" y="29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CCEC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8729" name="Freeform 24"/>
            <p:cNvSpPr>
              <a:spLocks noChangeAspect="1"/>
            </p:cNvSpPr>
            <p:nvPr/>
          </p:nvSpPr>
          <p:spPr bwMode="auto">
            <a:xfrm>
              <a:off x="1736" y="1814"/>
              <a:ext cx="78" cy="59"/>
            </a:xfrm>
            <a:custGeom>
              <a:avLst/>
              <a:gdLst>
                <a:gd name="T0" fmla="*/ 0 w 78"/>
                <a:gd name="T1" fmla="*/ 19 h 58"/>
                <a:gd name="T2" fmla="*/ 0 w 78"/>
                <a:gd name="T3" fmla="*/ 19 h 58"/>
                <a:gd name="T4" fmla="*/ 10 w 78"/>
                <a:gd name="T5" fmla="*/ 0 h 58"/>
                <a:gd name="T6" fmla="*/ 20 w 78"/>
                <a:gd name="T7" fmla="*/ 0 h 58"/>
                <a:gd name="T8" fmla="*/ 30 w 78"/>
                <a:gd name="T9" fmla="*/ 0 h 58"/>
                <a:gd name="T10" fmla="*/ 49 w 78"/>
                <a:gd name="T11" fmla="*/ 0 h 58"/>
                <a:gd name="T12" fmla="*/ 59 w 78"/>
                <a:gd name="T13" fmla="*/ 0 h 58"/>
                <a:gd name="T14" fmla="*/ 69 w 78"/>
                <a:gd name="T15" fmla="*/ 0 h 58"/>
                <a:gd name="T16" fmla="*/ 78 w 78"/>
                <a:gd name="T17" fmla="*/ 10 h 58"/>
                <a:gd name="T18" fmla="*/ 78 w 78"/>
                <a:gd name="T19" fmla="*/ 19 h 58"/>
                <a:gd name="T20" fmla="*/ 78 w 78"/>
                <a:gd name="T21" fmla="*/ 31 h 58"/>
                <a:gd name="T22" fmla="*/ 78 w 78"/>
                <a:gd name="T23" fmla="*/ 41 h 58"/>
                <a:gd name="T24" fmla="*/ 78 w 78"/>
                <a:gd name="T25" fmla="*/ 51 h 58"/>
                <a:gd name="T26" fmla="*/ 69 w 78"/>
                <a:gd name="T27" fmla="*/ 60 h 58"/>
                <a:gd name="T28" fmla="*/ 59 w 78"/>
                <a:gd name="T29" fmla="*/ 60 h 58"/>
                <a:gd name="T30" fmla="*/ 39 w 78"/>
                <a:gd name="T31" fmla="*/ 60 h 58"/>
                <a:gd name="T32" fmla="*/ 30 w 78"/>
                <a:gd name="T33" fmla="*/ 60 h 58"/>
                <a:gd name="T34" fmla="*/ 20 w 78"/>
                <a:gd name="T35" fmla="*/ 60 h 58"/>
                <a:gd name="T36" fmla="*/ 10 w 78"/>
                <a:gd name="T37" fmla="*/ 51 h 58"/>
                <a:gd name="T38" fmla="*/ 0 w 78"/>
                <a:gd name="T39" fmla="*/ 51 h 58"/>
                <a:gd name="T40" fmla="*/ 0 w 78"/>
                <a:gd name="T41" fmla="*/ 41 h 58"/>
                <a:gd name="T42" fmla="*/ 0 w 78"/>
                <a:gd name="T43" fmla="*/ 31 h 58"/>
                <a:gd name="T44" fmla="*/ 0 w 78"/>
                <a:gd name="T45" fmla="*/ 19 h 5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78"/>
                <a:gd name="T70" fmla="*/ 0 h 58"/>
                <a:gd name="T71" fmla="*/ 78 w 78"/>
                <a:gd name="T72" fmla="*/ 58 h 58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78" h="58">
                  <a:moveTo>
                    <a:pt x="0" y="19"/>
                  </a:moveTo>
                  <a:lnTo>
                    <a:pt x="0" y="19"/>
                  </a:lnTo>
                  <a:lnTo>
                    <a:pt x="10" y="0"/>
                  </a:lnTo>
                  <a:lnTo>
                    <a:pt x="20" y="0"/>
                  </a:lnTo>
                  <a:lnTo>
                    <a:pt x="30" y="0"/>
                  </a:lnTo>
                  <a:lnTo>
                    <a:pt x="49" y="0"/>
                  </a:lnTo>
                  <a:lnTo>
                    <a:pt x="59" y="0"/>
                  </a:lnTo>
                  <a:lnTo>
                    <a:pt x="69" y="0"/>
                  </a:lnTo>
                  <a:lnTo>
                    <a:pt x="78" y="10"/>
                  </a:lnTo>
                  <a:lnTo>
                    <a:pt x="78" y="19"/>
                  </a:lnTo>
                  <a:lnTo>
                    <a:pt x="78" y="29"/>
                  </a:lnTo>
                  <a:lnTo>
                    <a:pt x="78" y="39"/>
                  </a:lnTo>
                  <a:lnTo>
                    <a:pt x="78" y="49"/>
                  </a:lnTo>
                  <a:lnTo>
                    <a:pt x="69" y="58"/>
                  </a:lnTo>
                  <a:lnTo>
                    <a:pt x="59" y="58"/>
                  </a:lnTo>
                  <a:lnTo>
                    <a:pt x="39" y="58"/>
                  </a:lnTo>
                  <a:lnTo>
                    <a:pt x="30" y="58"/>
                  </a:lnTo>
                  <a:lnTo>
                    <a:pt x="20" y="58"/>
                  </a:lnTo>
                  <a:lnTo>
                    <a:pt x="10" y="49"/>
                  </a:lnTo>
                  <a:lnTo>
                    <a:pt x="0" y="49"/>
                  </a:lnTo>
                  <a:lnTo>
                    <a:pt x="0" y="39"/>
                  </a:lnTo>
                  <a:lnTo>
                    <a:pt x="0" y="29"/>
                  </a:lnTo>
                  <a:lnTo>
                    <a:pt x="0" y="19"/>
                  </a:lnTo>
                </a:path>
              </a:pathLst>
            </a:custGeom>
            <a:solidFill>
              <a:srgbClr val="F21C0A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314" name="Freeform 22"/>
          <p:cNvSpPr>
            <a:spLocks/>
          </p:cNvSpPr>
          <p:nvPr>
            <p:custDataLst>
              <p:tags r:id="rId224"/>
            </p:custDataLst>
          </p:nvPr>
        </p:nvSpPr>
        <p:spPr bwMode="auto">
          <a:xfrm>
            <a:off x="3368675" y="4560888"/>
            <a:ext cx="279400" cy="260350"/>
          </a:xfrm>
          <a:custGeom>
            <a:avLst/>
            <a:gdLst/>
            <a:ahLst/>
            <a:cxnLst>
              <a:cxn ang="0">
                <a:pos x="30" y="342"/>
              </a:cxn>
              <a:cxn ang="0">
                <a:pos x="69" y="361"/>
              </a:cxn>
              <a:cxn ang="0">
                <a:pos x="49" y="381"/>
              </a:cxn>
              <a:cxn ang="0">
                <a:pos x="39" y="410"/>
              </a:cxn>
              <a:cxn ang="0">
                <a:pos x="88" y="410"/>
              </a:cxn>
              <a:cxn ang="0">
                <a:pos x="117" y="420"/>
              </a:cxn>
              <a:cxn ang="0">
                <a:pos x="127" y="381"/>
              </a:cxn>
              <a:cxn ang="0">
                <a:pos x="137" y="371"/>
              </a:cxn>
              <a:cxn ang="0">
                <a:pos x="176" y="361"/>
              </a:cxn>
              <a:cxn ang="0">
                <a:pos x="205" y="391"/>
              </a:cxn>
              <a:cxn ang="0">
                <a:pos x="234" y="371"/>
              </a:cxn>
              <a:cxn ang="0">
                <a:pos x="215" y="352"/>
              </a:cxn>
              <a:cxn ang="0">
                <a:pos x="195" y="322"/>
              </a:cxn>
              <a:cxn ang="0">
                <a:pos x="225" y="332"/>
              </a:cxn>
              <a:cxn ang="0">
                <a:pos x="225" y="303"/>
              </a:cxn>
              <a:cxn ang="0">
                <a:pos x="205" y="293"/>
              </a:cxn>
              <a:cxn ang="0">
                <a:pos x="225" y="274"/>
              </a:cxn>
              <a:cxn ang="0">
                <a:pos x="254" y="274"/>
              </a:cxn>
              <a:cxn ang="0">
                <a:pos x="273" y="293"/>
              </a:cxn>
              <a:cxn ang="0">
                <a:pos x="293" y="303"/>
              </a:cxn>
              <a:cxn ang="0">
                <a:pos x="332" y="313"/>
              </a:cxn>
              <a:cxn ang="0">
                <a:pos x="371" y="322"/>
              </a:cxn>
              <a:cxn ang="0">
                <a:pos x="371" y="303"/>
              </a:cxn>
              <a:cxn ang="0">
                <a:pos x="381" y="293"/>
              </a:cxn>
              <a:cxn ang="0">
                <a:pos x="381" y="264"/>
              </a:cxn>
              <a:cxn ang="0">
                <a:pos x="352" y="244"/>
              </a:cxn>
              <a:cxn ang="0">
                <a:pos x="332" y="235"/>
              </a:cxn>
              <a:cxn ang="0">
                <a:pos x="342" y="205"/>
              </a:cxn>
              <a:cxn ang="0">
                <a:pos x="371" y="196"/>
              </a:cxn>
              <a:cxn ang="0">
                <a:pos x="410" y="186"/>
              </a:cxn>
              <a:cxn ang="0">
                <a:pos x="410" y="147"/>
              </a:cxn>
              <a:cxn ang="0">
                <a:pos x="410" y="127"/>
              </a:cxn>
              <a:cxn ang="0">
                <a:pos x="410" y="98"/>
              </a:cxn>
              <a:cxn ang="0">
                <a:pos x="381" y="59"/>
              </a:cxn>
              <a:cxn ang="0">
                <a:pos x="352" y="69"/>
              </a:cxn>
              <a:cxn ang="0">
                <a:pos x="283" y="20"/>
              </a:cxn>
              <a:cxn ang="0">
                <a:pos x="254" y="10"/>
              </a:cxn>
              <a:cxn ang="0">
                <a:pos x="234" y="39"/>
              </a:cxn>
              <a:cxn ang="0">
                <a:pos x="225" y="59"/>
              </a:cxn>
              <a:cxn ang="0">
                <a:pos x="234" y="78"/>
              </a:cxn>
              <a:cxn ang="0">
                <a:pos x="205" y="88"/>
              </a:cxn>
              <a:cxn ang="0">
                <a:pos x="186" y="78"/>
              </a:cxn>
              <a:cxn ang="0">
                <a:pos x="166" y="78"/>
              </a:cxn>
              <a:cxn ang="0">
                <a:pos x="147" y="59"/>
              </a:cxn>
              <a:cxn ang="0">
                <a:pos x="127" y="59"/>
              </a:cxn>
              <a:cxn ang="0">
                <a:pos x="137" y="30"/>
              </a:cxn>
              <a:cxn ang="0">
                <a:pos x="88" y="30"/>
              </a:cxn>
              <a:cxn ang="0">
                <a:pos x="59" y="59"/>
              </a:cxn>
              <a:cxn ang="0">
                <a:pos x="78" y="117"/>
              </a:cxn>
              <a:cxn ang="0">
                <a:pos x="127" y="137"/>
              </a:cxn>
              <a:cxn ang="0">
                <a:pos x="156" y="137"/>
              </a:cxn>
              <a:cxn ang="0">
                <a:pos x="205" y="137"/>
              </a:cxn>
              <a:cxn ang="0">
                <a:pos x="215" y="147"/>
              </a:cxn>
              <a:cxn ang="0">
                <a:pos x="186" y="176"/>
              </a:cxn>
              <a:cxn ang="0">
                <a:pos x="156" y="196"/>
              </a:cxn>
              <a:cxn ang="0">
                <a:pos x="127" y="186"/>
              </a:cxn>
              <a:cxn ang="0">
                <a:pos x="98" y="205"/>
              </a:cxn>
              <a:cxn ang="0">
                <a:pos x="69" y="215"/>
              </a:cxn>
              <a:cxn ang="0">
                <a:pos x="39" y="264"/>
              </a:cxn>
              <a:cxn ang="0">
                <a:pos x="39" y="274"/>
              </a:cxn>
              <a:cxn ang="0">
                <a:pos x="10" y="293"/>
              </a:cxn>
              <a:cxn ang="0">
                <a:pos x="10" y="332"/>
              </a:cxn>
              <a:cxn ang="0">
                <a:pos x="20" y="342"/>
              </a:cxn>
            </a:cxnLst>
            <a:rect l="0" t="0" r="r" b="b"/>
            <a:pathLst>
              <a:path w="420" h="420">
                <a:moveTo>
                  <a:pt x="20" y="342"/>
                </a:moveTo>
                <a:lnTo>
                  <a:pt x="30" y="342"/>
                </a:lnTo>
                <a:lnTo>
                  <a:pt x="59" y="352"/>
                </a:lnTo>
                <a:lnTo>
                  <a:pt x="69" y="361"/>
                </a:lnTo>
                <a:lnTo>
                  <a:pt x="69" y="381"/>
                </a:lnTo>
                <a:lnTo>
                  <a:pt x="49" y="381"/>
                </a:lnTo>
                <a:lnTo>
                  <a:pt x="30" y="391"/>
                </a:lnTo>
                <a:lnTo>
                  <a:pt x="39" y="410"/>
                </a:lnTo>
                <a:lnTo>
                  <a:pt x="69" y="410"/>
                </a:lnTo>
                <a:lnTo>
                  <a:pt x="88" y="410"/>
                </a:lnTo>
                <a:lnTo>
                  <a:pt x="108" y="420"/>
                </a:lnTo>
                <a:lnTo>
                  <a:pt x="117" y="420"/>
                </a:lnTo>
                <a:lnTo>
                  <a:pt x="127" y="400"/>
                </a:lnTo>
                <a:lnTo>
                  <a:pt x="127" y="381"/>
                </a:lnTo>
                <a:lnTo>
                  <a:pt x="127" y="361"/>
                </a:lnTo>
                <a:lnTo>
                  <a:pt x="137" y="371"/>
                </a:lnTo>
                <a:lnTo>
                  <a:pt x="156" y="371"/>
                </a:lnTo>
                <a:lnTo>
                  <a:pt x="176" y="361"/>
                </a:lnTo>
                <a:lnTo>
                  <a:pt x="186" y="371"/>
                </a:lnTo>
                <a:lnTo>
                  <a:pt x="205" y="391"/>
                </a:lnTo>
                <a:lnTo>
                  <a:pt x="225" y="391"/>
                </a:lnTo>
                <a:lnTo>
                  <a:pt x="234" y="371"/>
                </a:lnTo>
                <a:lnTo>
                  <a:pt x="225" y="361"/>
                </a:lnTo>
                <a:lnTo>
                  <a:pt x="215" y="352"/>
                </a:lnTo>
                <a:lnTo>
                  <a:pt x="186" y="332"/>
                </a:lnTo>
                <a:lnTo>
                  <a:pt x="195" y="322"/>
                </a:lnTo>
                <a:lnTo>
                  <a:pt x="205" y="322"/>
                </a:lnTo>
                <a:lnTo>
                  <a:pt x="225" y="332"/>
                </a:lnTo>
                <a:lnTo>
                  <a:pt x="225" y="322"/>
                </a:lnTo>
                <a:lnTo>
                  <a:pt x="225" y="303"/>
                </a:lnTo>
                <a:lnTo>
                  <a:pt x="205" y="303"/>
                </a:lnTo>
                <a:lnTo>
                  <a:pt x="205" y="293"/>
                </a:lnTo>
                <a:lnTo>
                  <a:pt x="215" y="283"/>
                </a:lnTo>
                <a:lnTo>
                  <a:pt x="225" y="274"/>
                </a:lnTo>
                <a:lnTo>
                  <a:pt x="244" y="274"/>
                </a:lnTo>
                <a:lnTo>
                  <a:pt x="254" y="274"/>
                </a:lnTo>
                <a:lnTo>
                  <a:pt x="254" y="293"/>
                </a:lnTo>
                <a:lnTo>
                  <a:pt x="273" y="293"/>
                </a:lnTo>
                <a:lnTo>
                  <a:pt x="283" y="313"/>
                </a:lnTo>
                <a:lnTo>
                  <a:pt x="293" y="303"/>
                </a:lnTo>
                <a:lnTo>
                  <a:pt x="312" y="313"/>
                </a:lnTo>
                <a:lnTo>
                  <a:pt x="332" y="313"/>
                </a:lnTo>
                <a:lnTo>
                  <a:pt x="352" y="322"/>
                </a:lnTo>
                <a:lnTo>
                  <a:pt x="371" y="322"/>
                </a:lnTo>
                <a:lnTo>
                  <a:pt x="381" y="332"/>
                </a:lnTo>
                <a:lnTo>
                  <a:pt x="371" y="303"/>
                </a:lnTo>
                <a:lnTo>
                  <a:pt x="371" y="293"/>
                </a:lnTo>
                <a:lnTo>
                  <a:pt x="381" y="293"/>
                </a:lnTo>
                <a:lnTo>
                  <a:pt x="391" y="274"/>
                </a:lnTo>
                <a:lnTo>
                  <a:pt x="381" y="264"/>
                </a:lnTo>
                <a:lnTo>
                  <a:pt x="361" y="264"/>
                </a:lnTo>
                <a:lnTo>
                  <a:pt x="352" y="244"/>
                </a:lnTo>
                <a:lnTo>
                  <a:pt x="332" y="244"/>
                </a:lnTo>
                <a:lnTo>
                  <a:pt x="332" y="235"/>
                </a:lnTo>
                <a:lnTo>
                  <a:pt x="342" y="225"/>
                </a:lnTo>
                <a:lnTo>
                  <a:pt x="342" y="205"/>
                </a:lnTo>
                <a:lnTo>
                  <a:pt x="361" y="205"/>
                </a:lnTo>
                <a:lnTo>
                  <a:pt x="371" y="196"/>
                </a:lnTo>
                <a:lnTo>
                  <a:pt x="371" y="186"/>
                </a:lnTo>
                <a:lnTo>
                  <a:pt x="410" y="186"/>
                </a:lnTo>
                <a:lnTo>
                  <a:pt x="410" y="166"/>
                </a:lnTo>
                <a:lnTo>
                  <a:pt x="410" y="147"/>
                </a:lnTo>
                <a:lnTo>
                  <a:pt x="420" y="137"/>
                </a:lnTo>
                <a:lnTo>
                  <a:pt x="410" y="127"/>
                </a:lnTo>
                <a:lnTo>
                  <a:pt x="420" y="108"/>
                </a:lnTo>
                <a:lnTo>
                  <a:pt x="410" y="98"/>
                </a:lnTo>
                <a:lnTo>
                  <a:pt x="400" y="78"/>
                </a:lnTo>
                <a:lnTo>
                  <a:pt x="381" y="59"/>
                </a:lnTo>
                <a:lnTo>
                  <a:pt x="371" y="69"/>
                </a:lnTo>
                <a:lnTo>
                  <a:pt x="352" y="69"/>
                </a:lnTo>
                <a:lnTo>
                  <a:pt x="322" y="49"/>
                </a:lnTo>
                <a:lnTo>
                  <a:pt x="283" y="20"/>
                </a:lnTo>
                <a:lnTo>
                  <a:pt x="273" y="0"/>
                </a:lnTo>
                <a:lnTo>
                  <a:pt x="254" y="10"/>
                </a:lnTo>
                <a:lnTo>
                  <a:pt x="254" y="30"/>
                </a:lnTo>
                <a:lnTo>
                  <a:pt x="234" y="39"/>
                </a:lnTo>
                <a:lnTo>
                  <a:pt x="234" y="49"/>
                </a:lnTo>
                <a:lnTo>
                  <a:pt x="225" y="59"/>
                </a:lnTo>
                <a:lnTo>
                  <a:pt x="234" y="59"/>
                </a:lnTo>
                <a:lnTo>
                  <a:pt x="234" y="78"/>
                </a:lnTo>
                <a:lnTo>
                  <a:pt x="205" y="69"/>
                </a:lnTo>
                <a:lnTo>
                  <a:pt x="205" y="88"/>
                </a:lnTo>
                <a:lnTo>
                  <a:pt x="195" y="88"/>
                </a:lnTo>
                <a:lnTo>
                  <a:pt x="186" y="78"/>
                </a:lnTo>
                <a:lnTo>
                  <a:pt x="176" y="78"/>
                </a:lnTo>
                <a:lnTo>
                  <a:pt x="166" y="78"/>
                </a:lnTo>
                <a:lnTo>
                  <a:pt x="147" y="78"/>
                </a:lnTo>
                <a:lnTo>
                  <a:pt x="147" y="59"/>
                </a:lnTo>
                <a:lnTo>
                  <a:pt x="127" y="69"/>
                </a:lnTo>
                <a:lnTo>
                  <a:pt x="127" y="59"/>
                </a:lnTo>
                <a:lnTo>
                  <a:pt x="147" y="49"/>
                </a:lnTo>
                <a:lnTo>
                  <a:pt x="137" y="30"/>
                </a:lnTo>
                <a:lnTo>
                  <a:pt x="127" y="20"/>
                </a:lnTo>
                <a:lnTo>
                  <a:pt x="88" y="30"/>
                </a:lnTo>
                <a:lnTo>
                  <a:pt x="78" y="59"/>
                </a:lnTo>
                <a:lnTo>
                  <a:pt x="59" y="59"/>
                </a:lnTo>
                <a:lnTo>
                  <a:pt x="69" y="88"/>
                </a:lnTo>
                <a:lnTo>
                  <a:pt x="78" y="117"/>
                </a:lnTo>
                <a:lnTo>
                  <a:pt x="108" y="117"/>
                </a:lnTo>
                <a:lnTo>
                  <a:pt x="127" y="137"/>
                </a:lnTo>
                <a:lnTo>
                  <a:pt x="137" y="137"/>
                </a:lnTo>
                <a:lnTo>
                  <a:pt x="156" y="137"/>
                </a:lnTo>
                <a:lnTo>
                  <a:pt x="176" y="147"/>
                </a:lnTo>
                <a:lnTo>
                  <a:pt x="205" y="137"/>
                </a:lnTo>
                <a:lnTo>
                  <a:pt x="215" y="137"/>
                </a:lnTo>
                <a:lnTo>
                  <a:pt x="215" y="147"/>
                </a:lnTo>
                <a:lnTo>
                  <a:pt x="205" y="166"/>
                </a:lnTo>
                <a:lnTo>
                  <a:pt x="186" y="176"/>
                </a:lnTo>
                <a:lnTo>
                  <a:pt x="176" y="186"/>
                </a:lnTo>
                <a:lnTo>
                  <a:pt x="156" y="196"/>
                </a:lnTo>
                <a:lnTo>
                  <a:pt x="147" y="186"/>
                </a:lnTo>
                <a:lnTo>
                  <a:pt x="127" y="186"/>
                </a:lnTo>
                <a:lnTo>
                  <a:pt x="108" y="186"/>
                </a:lnTo>
                <a:lnTo>
                  <a:pt x="98" y="205"/>
                </a:lnTo>
                <a:lnTo>
                  <a:pt x="78" y="215"/>
                </a:lnTo>
                <a:lnTo>
                  <a:pt x="69" y="215"/>
                </a:lnTo>
                <a:lnTo>
                  <a:pt x="59" y="244"/>
                </a:lnTo>
                <a:lnTo>
                  <a:pt x="39" y="264"/>
                </a:lnTo>
                <a:lnTo>
                  <a:pt x="49" y="274"/>
                </a:lnTo>
                <a:lnTo>
                  <a:pt x="39" y="274"/>
                </a:lnTo>
                <a:lnTo>
                  <a:pt x="30" y="274"/>
                </a:lnTo>
                <a:lnTo>
                  <a:pt x="10" y="293"/>
                </a:lnTo>
                <a:lnTo>
                  <a:pt x="0" y="322"/>
                </a:lnTo>
                <a:lnTo>
                  <a:pt x="10" y="332"/>
                </a:lnTo>
                <a:lnTo>
                  <a:pt x="10" y="342"/>
                </a:lnTo>
                <a:lnTo>
                  <a:pt x="20" y="34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en-US" sz="1100">
              <a:latin typeface="Polo" pitchFamily="2" charset="0"/>
              <a:cs typeface="+mn-cs"/>
            </a:endParaRPr>
          </a:p>
        </p:txBody>
      </p:sp>
      <p:sp>
        <p:nvSpPr>
          <p:cNvPr id="18659" name="Rectangle 15"/>
          <p:cNvSpPr>
            <a:spLocks noChangeAspect="1" noChangeArrowheads="1"/>
          </p:cNvSpPr>
          <p:nvPr>
            <p:custDataLst>
              <p:tags r:id="rId225"/>
            </p:custDataLst>
          </p:nvPr>
        </p:nvSpPr>
        <p:spPr bwMode="auto">
          <a:xfrm>
            <a:off x="2763838" y="4918075"/>
            <a:ext cx="936625" cy="188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/>
            <a:endParaRPr lang="en-US" sz="1100"/>
          </a:p>
        </p:txBody>
      </p:sp>
      <p:sp>
        <p:nvSpPr>
          <p:cNvPr id="18660" name="Rectangle 14"/>
          <p:cNvSpPr>
            <a:spLocks noChangeAspect="1" noChangeArrowheads="1"/>
          </p:cNvSpPr>
          <p:nvPr>
            <p:custDataLst>
              <p:tags r:id="rId226"/>
            </p:custDataLst>
          </p:nvPr>
        </p:nvSpPr>
        <p:spPr bwMode="auto">
          <a:xfrm>
            <a:off x="4157663" y="3578225"/>
            <a:ext cx="936625" cy="180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/>
            <a:endParaRPr lang="en-US" sz="1100"/>
          </a:p>
        </p:txBody>
      </p:sp>
      <p:sp>
        <p:nvSpPr>
          <p:cNvPr id="18661" name="Rectangle 11"/>
          <p:cNvSpPr>
            <a:spLocks noChangeAspect="1" noChangeArrowheads="1"/>
          </p:cNvSpPr>
          <p:nvPr>
            <p:custDataLst>
              <p:tags r:id="rId227"/>
            </p:custDataLst>
          </p:nvPr>
        </p:nvSpPr>
        <p:spPr bwMode="auto">
          <a:xfrm>
            <a:off x="5864225" y="3275013"/>
            <a:ext cx="938213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/>
            <a:endParaRPr lang="en-US" sz="1100"/>
          </a:p>
        </p:txBody>
      </p:sp>
      <p:pic>
        <p:nvPicPr>
          <p:cNvPr id="18662" name="Picture 2"/>
          <p:cNvPicPr>
            <a:picLocks noChangeAspect="1" noChangeArrowheads="1"/>
          </p:cNvPicPr>
          <p:nvPr>
            <p:custDataLst>
              <p:tags r:id="rId228"/>
            </p:custDataLst>
          </p:nvPr>
        </p:nvPicPr>
        <p:blipFill>
          <a:blip r:embed="rId268" cstate="print"/>
          <a:srcRect l="9555" t="67291" r="88698" b="29976"/>
          <a:stretch>
            <a:fillRect/>
          </a:stretch>
        </p:blipFill>
        <p:spPr bwMode="auto">
          <a:xfrm>
            <a:off x="4764088" y="5054600"/>
            <a:ext cx="95250" cy="82550"/>
          </a:xfrm>
          <a:prstGeom prst="rect">
            <a:avLst/>
          </a:prstGeom>
          <a:solidFill>
            <a:srgbClr val="C0C0C0"/>
          </a:solidFill>
          <a:ln w="9525">
            <a:noFill/>
            <a:miter lim="800000"/>
            <a:headEnd/>
            <a:tailEnd/>
          </a:ln>
        </p:spPr>
      </p:pic>
      <p:pic>
        <p:nvPicPr>
          <p:cNvPr id="18663" name="Picture 2"/>
          <p:cNvPicPr>
            <a:picLocks noChangeAspect="1" noChangeArrowheads="1"/>
          </p:cNvPicPr>
          <p:nvPr>
            <p:custDataLst>
              <p:tags r:id="rId229"/>
            </p:custDataLst>
          </p:nvPr>
        </p:nvPicPr>
        <p:blipFill>
          <a:blip r:embed="rId268" cstate="print"/>
          <a:srcRect l="9555" t="67291" r="88698" b="29976"/>
          <a:stretch>
            <a:fillRect/>
          </a:stretch>
        </p:blipFill>
        <p:spPr bwMode="auto">
          <a:xfrm>
            <a:off x="2838450" y="4035425"/>
            <a:ext cx="93663" cy="82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664" name="Picture 2"/>
          <p:cNvPicPr>
            <a:picLocks noChangeAspect="1" noChangeArrowheads="1"/>
          </p:cNvPicPr>
          <p:nvPr>
            <p:custDataLst>
              <p:tags r:id="rId230"/>
            </p:custDataLst>
          </p:nvPr>
        </p:nvPicPr>
        <p:blipFill>
          <a:blip r:embed="rId268" cstate="print"/>
          <a:srcRect l="9555" t="67291" r="88698" b="29976"/>
          <a:stretch>
            <a:fillRect/>
          </a:stretch>
        </p:blipFill>
        <p:spPr bwMode="auto">
          <a:xfrm>
            <a:off x="4124325" y="4289425"/>
            <a:ext cx="93663" cy="82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665" name="Picture 2"/>
          <p:cNvPicPr>
            <a:picLocks noChangeAspect="1" noChangeArrowheads="1"/>
          </p:cNvPicPr>
          <p:nvPr>
            <p:custDataLst>
              <p:tags r:id="rId231"/>
            </p:custDataLst>
          </p:nvPr>
        </p:nvPicPr>
        <p:blipFill>
          <a:blip r:embed="rId268" cstate="print"/>
          <a:srcRect l="9555" t="67291" r="88698" b="29976"/>
          <a:stretch>
            <a:fillRect/>
          </a:stretch>
        </p:blipFill>
        <p:spPr bwMode="auto">
          <a:xfrm>
            <a:off x="3613150" y="4348163"/>
            <a:ext cx="93663" cy="79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8666" name="AutoShape 321"/>
          <p:cNvCxnSpPr>
            <a:cxnSpLocks noChangeAspect="1" noChangeShapeType="1"/>
            <a:endCxn id="18692" idx="1"/>
          </p:cNvCxnSpPr>
          <p:nvPr>
            <p:custDataLst>
              <p:tags r:id="rId232"/>
            </p:custDataLst>
          </p:nvPr>
        </p:nvCxnSpPr>
        <p:spPr bwMode="gray">
          <a:xfrm flipV="1">
            <a:off x="4832350" y="4937125"/>
            <a:ext cx="2171700" cy="158750"/>
          </a:xfrm>
          <a:prstGeom prst="straightConnector1">
            <a:avLst/>
          </a:prstGeom>
          <a:noFill/>
          <a:ln w="12700">
            <a:solidFill>
              <a:schemeClr val="tx1"/>
            </a:solidFill>
            <a:round/>
            <a:headEnd/>
            <a:tailEnd type="none" w="med" len="lg"/>
          </a:ln>
        </p:spPr>
      </p:cxnSp>
      <p:cxnSp>
        <p:nvCxnSpPr>
          <p:cNvPr id="18667" name="AutoShape 322"/>
          <p:cNvCxnSpPr>
            <a:cxnSpLocks noChangeAspect="1" noChangeShapeType="1"/>
            <a:stCxn id="18696" idx="3"/>
          </p:cNvCxnSpPr>
          <p:nvPr>
            <p:custDataLst>
              <p:tags r:id="rId233"/>
            </p:custDataLst>
          </p:nvPr>
        </p:nvCxnSpPr>
        <p:spPr bwMode="gray">
          <a:xfrm>
            <a:off x="2124075" y="3175000"/>
            <a:ext cx="762000" cy="942975"/>
          </a:xfrm>
          <a:prstGeom prst="straightConnector1">
            <a:avLst/>
          </a:prstGeom>
          <a:noFill/>
          <a:ln w="12700">
            <a:solidFill>
              <a:schemeClr val="tx1"/>
            </a:solidFill>
            <a:round/>
            <a:headEnd/>
            <a:tailEnd type="none" w="med" len="lg"/>
          </a:ln>
        </p:spPr>
      </p:cxnSp>
      <p:sp>
        <p:nvSpPr>
          <p:cNvPr id="18668" name="Freeform 323"/>
          <p:cNvSpPr>
            <a:spLocks noChangeAspect="1"/>
          </p:cNvSpPr>
          <p:nvPr>
            <p:custDataLst>
              <p:tags r:id="rId234"/>
            </p:custDataLst>
          </p:nvPr>
        </p:nvSpPr>
        <p:spPr bwMode="gray">
          <a:xfrm>
            <a:off x="3794125" y="3689350"/>
            <a:ext cx="923925" cy="1298575"/>
          </a:xfrm>
          <a:custGeom>
            <a:avLst/>
            <a:gdLst>
              <a:gd name="T0" fmla="*/ 0 w 665"/>
              <a:gd name="T1" fmla="*/ 934 h 934"/>
              <a:gd name="T2" fmla="*/ 253 w 665"/>
              <a:gd name="T3" fmla="*/ 800 h 934"/>
              <a:gd name="T4" fmla="*/ 453 w 665"/>
              <a:gd name="T5" fmla="*/ 672 h 934"/>
              <a:gd name="T6" fmla="*/ 601 w 665"/>
              <a:gd name="T7" fmla="*/ 488 h 934"/>
              <a:gd name="T8" fmla="*/ 641 w 665"/>
              <a:gd name="T9" fmla="*/ 316 h 934"/>
              <a:gd name="T10" fmla="*/ 665 w 665"/>
              <a:gd name="T11" fmla="*/ 0 h 93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65"/>
              <a:gd name="T19" fmla="*/ 0 h 934"/>
              <a:gd name="T20" fmla="*/ 665 w 665"/>
              <a:gd name="T21" fmla="*/ 934 h 934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65" h="934">
                <a:moveTo>
                  <a:pt x="0" y="934"/>
                </a:moveTo>
                <a:cubicBezTo>
                  <a:pt x="42" y="912"/>
                  <a:pt x="177" y="844"/>
                  <a:pt x="253" y="800"/>
                </a:cubicBezTo>
                <a:cubicBezTo>
                  <a:pt x="322" y="752"/>
                  <a:pt x="401" y="723"/>
                  <a:pt x="453" y="672"/>
                </a:cubicBezTo>
                <a:cubicBezTo>
                  <a:pt x="511" y="620"/>
                  <a:pt x="570" y="547"/>
                  <a:pt x="601" y="488"/>
                </a:cubicBezTo>
                <a:cubicBezTo>
                  <a:pt x="632" y="429"/>
                  <a:pt x="630" y="397"/>
                  <a:pt x="641" y="316"/>
                </a:cubicBezTo>
                <a:cubicBezTo>
                  <a:pt x="652" y="235"/>
                  <a:pt x="660" y="66"/>
                  <a:pt x="665" y="0"/>
                </a:cubicBezTo>
              </a:path>
            </a:pathLst>
          </a:custGeom>
          <a:noFill/>
          <a:ln w="38100" cap="flat" cmpd="sng">
            <a:solidFill>
              <a:schemeClr val="tx1"/>
            </a:solidFill>
            <a:prstDash val="sysDot"/>
            <a:round/>
            <a:headEnd type="none" w="med" len="med"/>
            <a:tailEnd type="none" w="med" len="lg"/>
          </a:ln>
        </p:spPr>
        <p:txBody>
          <a:bodyPr wrap="none" lIns="0" tIns="0" rIns="0" bIns="0" anchor="ctr"/>
          <a:lstStyle/>
          <a:p>
            <a:endParaRPr lang="ru-RU"/>
          </a:p>
        </p:txBody>
      </p:sp>
      <p:sp>
        <p:nvSpPr>
          <p:cNvPr id="18669" name="Freeform 324"/>
          <p:cNvSpPr>
            <a:spLocks noChangeAspect="1"/>
          </p:cNvSpPr>
          <p:nvPr>
            <p:custDataLst>
              <p:tags r:id="rId235"/>
            </p:custDataLst>
          </p:nvPr>
        </p:nvSpPr>
        <p:spPr bwMode="gray">
          <a:xfrm>
            <a:off x="5454650" y="3683000"/>
            <a:ext cx="1008063" cy="1514475"/>
          </a:xfrm>
          <a:custGeom>
            <a:avLst/>
            <a:gdLst>
              <a:gd name="T0" fmla="*/ 117 w 725"/>
              <a:gd name="T1" fmla="*/ 0 h 1088"/>
              <a:gd name="T2" fmla="*/ 25 w 725"/>
              <a:gd name="T3" fmla="*/ 412 h 1088"/>
              <a:gd name="T4" fmla="*/ 265 w 725"/>
              <a:gd name="T5" fmla="*/ 828 h 1088"/>
              <a:gd name="T6" fmla="*/ 725 w 725"/>
              <a:gd name="T7" fmla="*/ 1088 h 1088"/>
              <a:gd name="T8" fmla="*/ 0 60000 65536"/>
              <a:gd name="T9" fmla="*/ 0 60000 65536"/>
              <a:gd name="T10" fmla="*/ 0 60000 65536"/>
              <a:gd name="T11" fmla="*/ 0 60000 65536"/>
              <a:gd name="T12" fmla="*/ 0 w 725"/>
              <a:gd name="T13" fmla="*/ 0 h 1088"/>
              <a:gd name="T14" fmla="*/ 725 w 725"/>
              <a:gd name="T15" fmla="*/ 1088 h 108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725" h="1088">
                <a:moveTo>
                  <a:pt x="117" y="0"/>
                </a:moveTo>
                <a:cubicBezTo>
                  <a:pt x="102" y="69"/>
                  <a:pt x="0" y="274"/>
                  <a:pt x="25" y="412"/>
                </a:cubicBezTo>
                <a:cubicBezTo>
                  <a:pt x="17" y="537"/>
                  <a:pt x="145" y="712"/>
                  <a:pt x="265" y="828"/>
                </a:cubicBezTo>
                <a:cubicBezTo>
                  <a:pt x="382" y="941"/>
                  <a:pt x="629" y="1034"/>
                  <a:pt x="725" y="1088"/>
                </a:cubicBezTo>
              </a:path>
            </a:pathLst>
          </a:custGeom>
          <a:noFill/>
          <a:ln w="38100" cap="flat" cmpd="sng">
            <a:solidFill>
              <a:schemeClr val="tx1"/>
            </a:solidFill>
            <a:prstDash val="sysDot"/>
            <a:round/>
            <a:headEnd type="none" w="med" len="med"/>
            <a:tailEnd type="none" w="med" len="lg"/>
          </a:ln>
        </p:spPr>
        <p:txBody>
          <a:bodyPr wrap="none" lIns="0" tIns="0" rIns="0" bIns="0" anchor="ctr"/>
          <a:lstStyle/>
          <a:p>
            <a:endParaRPr lang="ru-RU"/>
          </a:p>
        </p:txBody>
      </p:sp>
      <p:sp>
        <p:nvSpPr>
          <p:cNvPr id="18670" name="Text Box 326"/>
          <p:cNvSpPr txBox="1">
            <a:spLocks noChangeAspect="1" noChangeArrowheads="1"/>
          </p:cNvSpPr>
          <p:nvPr>
            <p:custDataLst>
              <p:tags r:id="rId236"/>
            </p:custDataLst>
          </p:nvPr>
        </p:nvSpPr>
        <p:spPr bwMode="gray">
          <a:xfrm>
            <a:off x="5907088" y="5527675"/>
            <a:ext cx="73025" cy="241300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 type="none" w="med" len="lg"/>
          </a:ln>
        </p:spPr>
        <p:txBody>
          <a:bodyPr wrap="none" lIns="36000" tIns="36000" rIns="36000" bIns="36000">
            <a:spAutoFit/>
          </a:bodyPr>
          <a:lstStyle/>
          <a:p>
            <a:pPr algn="ctr"/>
            <a:endParaRPr lang="ru-RU" sz="1100"/>
          </a:p>
        </p:txBody>
      </p:sp>
      <p:sp>
        <p:nvSpPr>
          <p:cNvPr id="18671" name="Freeform 302"/>
          <p:cNvSpPr>
            <a:spLocks noChangeAspect="1"/>
          </p:cNvSpPr>
          <p:nvPr>
            <p:custDataLst>
              <p:tags r:id="rId237"/>
            </p:custDataLst>
          </p:nvPr>
        </p:nvSpPr>
        <p:spPr bwMode="auto">
          <a:xfrm>
            <a:off x="6551613" y="4584700"/>
            <a:ext cx="19050" cy="19050"/>
          </a:xfrm>
          <a:custGeom>
            <a:avLst/>
            <a:gdLst>
              <a:gd name="T0" fmla="*/ 0 w 29"/>
              <a:gd name="T1" fmla="*/ 19050 h 29"/>
              <a:gd name="T2" fmla="*/ 5912 w 29"/>
              <a:gd name="T3" fmla="*/ 6569 h 29"/>
              <a:gd name="T4" fmla="*/ 19050 w 29"/>
              <a:gd name="T5" fmla="*/ 0 h 29"/>
              <a:gd name="T6" fmla="*/ 19050 w 29"/>
              <a:gd name="T7" fmla="*/ 6569 h 29"/>
              <a:gd name="T8" fmla="*/ 19050 w 29"/>
              <a:gd name="T9" fmla="*/ 13138 h 29"/>
              <a:gd name="T10" fmla="*/ 12481 w 29"/>
              <a:gd name="T11" fmla="*/ 13138 h 29"/>
              <a:gd name="T12" fmla="*/ 12481 w 29"/>
              <a:gd name="T13" fmla="*/ 19050 h 29"/>
              <a:gd name="T14" fmla="*/ 5912 w 29"/>
              <a:gd name="T15" fmla="*/ 19050 h 29"/>
              <a:gd name="T16" fmla="*/ 0 w 29"/>
              <a:gd name="T17" fmla="*/ 19050 h 29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9"/>
              <a:gd name="T28" fmla="*/ 0 h 29"/>
              <a:gd name="T29" fmla="*/ 29 w 29"/>
              <a:gd name="T30" fmla="*/ 29 h 29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9" h="29">
                <a:moveTo>
                  <a:pt x="0" y="29"/>
                </a:moveTo>
                <a:lnTo>
                  <a:pt x="9" y="10"/>
                </a:lnTo>
                <a:lnTo>
                  <a:pt x="29" y="0"/>
                </a:lnTo>
                <a:lnTo>
                  <a:pt x="29" y="10"/>
                </a:lnTo>
                <a:lnTo>
                  <a:pt x="29" y="20"/>
                </a:lnTo>
                <a:lnTo>
                  <a:pt x="19" y="20"/>
                </a:lnTo>
                <a:lnTo>
                  <a:pt x="19" y="29"/>
                </a:lnTo>
                <a:lnTo>
                  <a:pt x="9" y="29"/>
                </a:lnTo>
                <a:lnTo>
                  <a:pt x="0" y="29"/>
                </a:lnTo>
                <a:close/>
              </a:path>
            </a:pathLst>
          </a:custGeom>
          <a:solidFill>
            <a:srgbClr val="CCECFF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grpSp>
        <p:nvGrpSpPr>
          <p:cNvPr id="18672" name="Group 299"/>
          <p:cNvGrpSpPr>
            <a:grpSpLocks noChangeAspect="1"/>
          </p:cNvGrpSpPr>
          <p:nvPr>
            <p:custDataLst>
              <p:tags r:id="rId238"/>
            </p:custDataLst>
          </p:nvPr>
        </p:nvGrpSpPr>
        <p:grpSpPr bwMode="auto">
          <a:xfrm>
            <a:off x="6551613" y="4584700"/>
            <a:ext cx="19050" cy="19050"/>
            <a:chOff x="7716" y="3005"/>
            <a:chExt cx="29" cy="29"/>
          </a:xfrm>
        </p:grpSpPr>
        <p:sp>
          <p:nvSpPr>
            <p:cNvPr id="18726" name="Freeform 301"/>
            <p:cNvSpPr>
              <a:spLocks noChangeAspect="1"/>
            </p:cNvSpPr>
            <p:nvPr/>
          </p:nvSpPr>
          <p:spPr bwMode="auto">
            <a:xfrm>
              <a:off x="7716" y="3005"/>
              <a:ext cx="29" cy="29"/>
            </a:xfrm>
            <a:custGeom>
              <a:avLst/>
              <a:gdLst>
                <a:gd name="T0" fmla="*/ 0 w 29"/>
                <a:gd name="T1" fmla="*/ 29 h 29"/>
                <a:gd name="T2" fmla="*/ 9 w 29"/>
                <a:gd name="T3" fmla="*/ 10 h 29"/>
                <a:gd name="T4" fmla="*/ 29 w 29"/>
                <a:gd name="T5" fmla="*/ 0 h 29"/>
                <a:gd name="T6" fmla="*/ 29 w 29"/>
                <a:gd name="T7" fmla="*/ 10 h 29"/>
                <a:gd name="T8" fmla="*/ 29 w 29"/>
                <a:gd name="T9" fmla="*/ 20 h 29"/>
                <a:gd name="T10" fmla="*/ 19 w 29"/>
                <a:gd name="T11" fmla="*/ 20 h 29"/>
                <a:gd name="T12" fmla="*/ 19 w 29"/>
                <a:gd name="T13" fmla="*/ 29 h 29"/>
                <a:gd name="T14" fmla="*/ 9 w 29"/>
                <a:gd name="T15" fmla="*/ 29 h 29"/>
                <a:gd name="T16" fmla="*/ 0 w 29"/>
                <a:gd name="T17" fmla="*/ 29 h 2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9"/>
                <a:gd name="T28" fmla="*/ 0 h 29"/>
                <a:gd name="T29" fmla="*/ 29 w 29"/>
                <a:gd name="T30" fmla="*/ 29 h 2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9" h="29">
                  <a:moveTo>
                    <a:pt x="0" y="29"/>
                  </a:moveTo>
                  <a:lnTo>
                    <a:pt x="9" y="10"/>
                  </a:lnTo>
                  <a:lnTo>
                    <a:pt x="29" y="0"/>
                  </a:lnTo>
                  <a:lnTo>
                    <a:pt x="29" y="10"/>
                  </a:lnTo>
                  <a:lnTo>
                    <a:pt x="29" y="20"/>
                  </a:lnTo>
                  <a:lnTo>
                    <a:pt x="19" y="20"/>
                  </a:lnTo>
                  <a:lnTo>
                    <a:pt x="19" y="29"/>
                  </a:lnTo>
                  <a:lnTo>
                    <a:pt x="9" y="29"/>
                  </a:lnTo>
                  <a:lnTo>
                    <a:pt x="0" y="29"/>
                  </a:lnTo>
                  <a:close/>
                </a:path>
              </a:pathLst>
            </a:custGeom>
            <a:solidFill>
              <a:srgbClr val="CCEC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8727" name="Freeform 300"/>
            <p:cNvSpPr>
              <a:spLocks noChangeAspect="1"/>
            </p:cNvSpPr>
            <p:nvPr/>
          </p:nvSpPr>
          <p:spPr bwMode="auto">
            <a:xfrm>
              <a:off x="7716" y="3005"/>
              <a:ext cx="29" cy="29"/>
            </a:xfrm>
            <a:custGeom>
              <a:avLst/>
              <a:gdLst>
                <a:gd name="T0" fmla="*/ 0 w 29"/>
                <a:gd name="T1" fmla="*/ 29 h 29"/>
                <a:gd name="T2" fmla="*/ 9 w 29"/>
                <a:gd name="T3" fmla="*/ 10 h 29"/>
                <a:gd name="T4" fmla="*/ 29 w 29"/>
                <a:gd name="T5" fmla="*/ 0 h 29"/>
                <a:gd name="T6" fmla="*/ 29 w 29"/>
                <a:gd name="T7" fmla="*/ 10 h 29"/>
                <a:gd name="T8" fmla="*/ 29 w 29"/>
                <a:gd name="T9" fmla="*/ 20 h 29"/>
                <a:gd name="T10" fmla="*/ 19 w 29"/>
                <a:gd name="T11" fmla="*/ 20 h 29"/>
                <a:gd name="T12" fmla="*/ 19 w 29"/>
                <a:gd name="T13" fmla="*/ 29 h 29"/>
                <a:gd name="T14" fmla="*/ 9 w 29"/>
                <a:gd name="T15" fmla="*/ 29 h 29"/>
                <a:gd name="T16" fmla="*/ 0 w 29"/>
                <a:gd name="T17" fmla="*/ 29 h 2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9"/>
                <a:gd name="T28" fmla="*/ 0 h 29"/>
                <a:gd name="T29" fmla="*/ 29 w 29"/>
                <a:gd name="T30" fmla="*/ 29 h 2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9" h="29">
                  <a:moveTo>
                    <a:pt x="0" y="29"/>
                  </a:moveTo>
                  <a:lnTo>
                    <a:pt x="9" y="10"/>
                  </a:lnTo>
                  <a:lnTo>
                    <a:pt x="29" y="0"/>
                  </a:lnTo>
                  <a:lnTo>
                    <a:pt x="29" y="10"/>
                  </a:lnTo>
                  <a:lnTo>
                    <a:pt x="29" y="20"/>
                  </a:lnTo>
                  <a:lnTo>
                    <a:pt x="19" y="20"/>
                  </a:lnTo>
                  <a:lnTo>
                    <a:pt x="19" y="29"/>
                  </a:lnTo>
                  <a:lnTo>
                    <a:pt x="9" y="29"/>
                  </a:lnTo>
                  <a:lnTo>
                    <a:pt x="0" y="29"/>
                  </a:lnTo>
                </a:path>
              </a:pathLst>
            </a:custGeom>
            <a:noFill/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18673" name="Freeform 298"/>
          <p:cNvSpPr>
            <a:spLocks noChangeAspect="1"/>
          </p:cNvSpPr>
          <p:nvPr>
            <p:custDataLst>
              <p:tags r:id="rId239"/>
            </p:custDataLst>
          </p:nvPr>
        </p:nvSpPr>
        <p:spPr bwMode="auto">
          <a:xfrm>
            <a:off x="6577013" y="4567238"/>
            <a:ext cx="38100" cy="30162"/>
          </a:xfrm>
          <a:custGeom>
            <a:avLst/>
            <a:gdLst>
              <a:gd name="T0" fmla="*/ 0 w 58"/>
              <a:gd name="T1" fmla="*/ 0 h 49"/>
              <a:gd name="T2" fmla="*/ 12481 w 58"/>
              <a:gd name="T3" fmla="*/ 0 h 49"/>
              <a:gd name="T4" fmla="*/ 19050 w 58"/>
              <a:gd name="T5" fmla="*/ 0 h 49"/>
              <a:gd name="T6" fmla="*/ 25619 w 58"/>
              <a:gd name="T7" fmla="*/ 0 h 49"/>
              <a:gd name="T8" fmla="*/ 31531 w 58"/>
              <a:gd name="T9" fmla="*/ 0 h 49"/>
              <a:gd name="T10" fmla="*/ 38100 w 58"/>
              <a:gd name="T11" fmla="*/ 0 h 49"/>
              <a:gd name="T12" fmla="*/ 31531 w 58"/>
              <a:gd name="T13" fmla="*/ 6156 h 49"/>
              <a:gd name="T14" fmla="*/ 31531 w 58"/>
              <a:gd name="T15" fmla="*/ 11696 h 49"/>
              <a:gd name="T16" fmla="*/ 38100 w 58"/>
              <a:gd name="T17" fmla="*/ 17852 h 49"/>
              <a:gd name="T18" fmla="*/ 38100 w 58"/>
              <a:gd name="T19" fmla="*/ 17852 h 49"/>
              <a:gd name="T20" fmla="*/ 31531 w 58"/>
              <a:gd name="T21" fmla="*/ 30163 h 49"/>
              <a:gd name="T22" fmla="*/ 25619 w 58"/>
              <a:gd name="T23" fmla="*/ 30163 h 49"/>
              <a:gd name="T24" fmla="*/ 19050 w 58"/>
              <a:gd name="T25" fmla="*/ 30163 h 49"/>
              <a:gd name="T26" fmla="*/ 12481 w 58"/>
              <a:gd name="T27" fmla="*/ 24007 h 49"/>
              <a:gd name="T28" fmla="*/ 12481 w 58"/>
              <a:gd name="T29" fmla="*/ 30163 h 49"/>
              <a:gd name="T30" fmla="*/ 5912 w 58"/>
              <a:gd name="T31" fmla="*/ 30163 h 49"/>
              <a:gd name="T32" fmla="*/ 5912 w 58"/>
              <a:gd name="T33" fmla="*/ 30163 h 49"/>
              <a:gd name="T34" fmla="*/ 5912 w 58"/>
              <a:gd name="T35" fmla="*/ 17852 h 49"/>
              <a:gd name="T36" fmla="*/ 5912 w 58"/>
              <a:gd name="T37" fmla="*/ 11696 h 49"/>
              <a:gd name="T38" fmla="*/ 0 w 58"/>
              <a:gd name="T39" fmla="*/ 6156 h 49"/>
              <a:gd name="T40" fmla="*/ 0 w 58"/>
              <a:gd name="T41" fmla="*/ 0 h 49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58"/>
              <a:gd name="T64" fmla="*/ 0 h 49"/>
              <a:gd name="T65" fmla="*/ 58 w 58"/>
              <a:gd name="T66" fmla="*/ 49 h 49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58" h="49">
                <a:moveTo>
                  <a:pt x="0" y="0"/>
                </a:moveTo>
                <a:lnTo>
                  <a:pt x="19" y="0"/>
                </a:lnTo>
                <a:lnTo>
                  <a:pt x="29" y="0"/>
                </a:lnTo>
                <a:lnTo>
                  <a:pt x="39" y="0"/>
                </a:lnTo>
                <a:lnTo>
                  <a:pt x="48" y="0"/>
                </a:lnTo>
                <a:lnTo>
                  <a:pt x="58" y="0"/>
                </a:lnTo>
                <a:lnTo>
                  <a:pt x="48" y="10"/>
                </a:lnTo>
                <a:lnTo>
                  <a:pt x="48" y="19"/>
                </a:lnTo>
                <a:lnTo>
                  <a:pt x="58" y="29"/>
                </a:lnTo>
                <a:lnTo>
                  <a:pt x="48" y="49"/>
                </a:lnTo>
                <a:lnTo>
                  <a:pt x="39" y="49"/>
                </a:lnTo>
                <a:lnTo>
                  <a:pt x="29" y="49"/>
                </a:lnTo>
                <a:lnTo>
                  <a:pt x="19" y="39"/>
                </a:lnTo>
                <a:lnTo>
                  <a:pt x="19" y="49"/>
                </a:lnTo>
                <a:lnTo>
                  <a:pt x="9" y="49"/>
                </a:lnTo>
                <a:lnTo>
                  <a:pt x="9" y="29"/>
                </a:lnTo>
                <a:lnTo>
                  <a:pt x="9" y="19"/>
                </a:lnTo>
                <a:lnTo>
                  <a:pt x="0" y="10"/>
                </a:lnTo>
                <a:lnTo>
                  <a:pt x="0" y="0"/>
                </a:lnTo>
                <a:close/>
              </a:path>
            </a:pathLst>
          </a:custGeom>
          <a:solidFill>
            <a:srgbClr val="CCECFF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grpSp>
        <p:nvGrpSpPr>
          <p:cNvPr id="18674" name="Group 295"/>
          <p:cNvGrpSpPr>
            <a:grpSpLocks noChangeAspect="1"/>
          </p:cNvGrpSpPr>
          <p:nvPr>
            <p:custDataLst>
              <p:tags r:id="rId240"/>
            </p:custDataLst>
          </p:nvPr>
        </p:nvGrpSpPr>
        <p:grpSpPr bwMode="auto">
          <a:xfrm>
            <a:off x="6577013" y="4567238"/>
            <a:ext cx="38100" cy="30162"/>
            <a:chOff x="7755" y="2976"/>
            <a:chExt cx="58" cy="49"/>
          </a:xfrm>
        </p:grpSpPr>
        <p:sp>
          <p:nvSpPr>
            <p:cNvPr id="18724" name="Freeform 297"/>
            <p:cNvSpPr>
              <a:spLocks noChangeAspect="1"/>
            </p:cNvSpPr>
            <p:nvPr/>
          </p:nvSpPr>
          <p:spPr bwMode="auto">
            <a:xfrm>
              <a:off x="7755" y="2976"/>
              <a:ext cx="58" cy="49"/>
            </a:xfrm>
            <a:custGeom>
              <a:avLst/>
              <a:gdLst>
                <a:gd name="T0" fmla="*/ 0 w 58"/>
                <a:gd name="T1" fmla="*/ 0 h 49"/>
                <a:gd name="T2" fmla="*/ 19 w 58"/>
                <a:gd name="T3" fmla="*/ 0 h 49"/>
                <a:gd name="T4" fmla="*/ 29 w 58"/>
                <a:gd name="T5" fmla="*/ 0 h 49"/>
                <a:gd name="T6" fmla="*/ 39 w 58"/>
                <a:gd name="T7" fmla="*/ 0 h 49"/>
                <a:gd name="T8" fmla="*/ 48 w 58"/>
                <a:gd name="T9" fmla="*/ 0 h 49"/>
                <a:gd name="T10" fmla="*/ 58 w 58"/>
                <a:gd name="T11" fmla="*/ 0 h 49"/>
                <a:gd name="T12" fmla="*/ 48 w 58"/>
                <a:gd name="T13" fmla="*/ 10 h 49"/>
                <a:gd name="T14" fmla="*/ 48 w 58"/>
                <a:gd name="T15" fmla="*/ 19 h 49"/>
                <a:gd name="T16" fmla="*/ 58 w 58"/>
                <a:gd name="T17" fmla="*/ 29 h 49"/>
                <a:gd name="T18" fmla="*/ 58 w 58"/>
                <a:gd name="T19" fmla="*/ 29 h 49"/>
                <a:gd name="T20" fmla="*/ 48 w 58"/>
                <a:gd name="T21" fmla="*/ 49 h 49"/>
                <a:gd name="T22" fmla="*/ 39 w 58"/>
                <a:gd name="T23" fmla="*/ 49 h 49"/>
                <a:gd name="T24" fmla="*/ 29 w 58"/>
                <a:gd name="T25" fmla="*/ 49 h 49"/>
                <a:gd name="T26" fmla="*/ 19 w 58"/>
                <a:gd name="T27" fmla="*/ 39 h 49"/>
                <a:gd name="T28" fmla="*/ 19 w 58"/>
                <a:gd name="T29" fmla="*/ 49 h 49"/>
                <a:gd name="T30" fmla="*/ 9 w 58"/>
                <a:gd name="T31" fmla="*/ 49 h 49"/>
                <a:gd name="T32" fmla="*/ 9 w 58"/>
                <a:gd name="T33" fmla="*/ 49 h 49"/>
                <a:gd name="T34" fmla="*/ 9 w 58"/>
                <a:gd name="T35" fmla="*/ 39 h 49"/>
                <a:gd name="T36" fmla="*/ 9 w 58"/>
                <a:gd name="T37" fmla="*/ 19 h 49"/>
                <a:gd name="T38" fmla="*/ 0 w 58"/>
                <a:gd name="T39" fmla="*/ 10 h 49"/>
                <a:gd name="T40" fmla="*/ 0 w 58"/>
                <a:gd name="T41" fmla="*/ 0 h 4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58"/>
                <a:gd name="T64" fmla="*/ 0 h 49"/>
                <a:gd name="T65" fmla="*/ 58 w 58"/>
                <a:gd name="T66" fmla="*/ 49 h 49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58" h="49">
                  <a:moveTo>
                    <a:pt x="0" y="0"/>
                  </a:moveTo>
                  <a:lnTo>
                    <a:pt x="19" y="0"/>
                  </a:lnTo>
                  <a:lnTo>
                    <a:pt x="29" y="0"/>
                  </a:lnTo>
                  <a:lnTo>
                    <a:pt x="39" y="0"/>
                  </a:lnTo>
                  <a:lnTo>
                    <a:pt x="48" y="0"/>
                  </a:lnTo>
                  <a:lnTo>
                    <a:pt x="58" y="0"/>
                  </a:lnTo>
                  <a:lnTo>
                    <a:pt x="48" y="10"/>
                  </a:lnTo>
                  <a:lnTo>
                    <a:pt x="48" y="19"/>
                  </a:lnTo>
                  <a:lnTo>
                    <a:pt x="58" y="29"/>
                  </a:lnTo>
                  <a:lnTo>
                    <a:pt x="48" y="49"/>
                  </a:lnTo>
                  <a:lnTo>
                    <a:pt x="39" y="49"/>
                  </a:lnTo>
                  <a:lnTo>
                    <a:pt x="29" y="49"/>
                  </a:lnTo>
                  <a:lnTo>
                    <a:pt x="19" y="39"/>
                  </a:lnTo>
                  <a:lnTo>
                    <a:pt x="19" y="49"/>
                  </a:lnTo>
                  <a:lnTo>
                    <a:pt x="9" y="49"/>
                  </a:lnTo>
                  <a:lnTo>
                    <a:pt x="9" y="39"/>
                  </a:lnTo>
                  <a:lnTo>
                    <a:pt x="9" y="19"/>
                  </a:lnTo>
                  <a:lnTo>
                    <a:pt x="0" y="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EC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8725" name="Freeform 296"/>
            <p:cNvSpPr>
              <a:spLocks noChangeAspect="1"/>
            </p:cNvSpPr>
            <p:nvPr/>
          </p:nvSpPr>
          <p:spPr bwMode="auto">
            <a:xfrm>
              <a:off x="7755" y="2976"/>
              <a:ext cx="58" cy="49"/>
            </a:xfrm>
            <a:custGeom>
              <a:avLst/>
              <a:gdLst>
                <a:gd name="T0" fmla="*/ 0 w 58"/>
                <a:gd name="T1" fmla="*/ 0 h 49"/>
                <a:gd name="T2" fmla="*/ 19 w 58"/>
                <a:gd name="T3" fmla="*/ 0 h 49"/>
                <a:gd name="T4" fmla="*/ 29 w 58"/>
                <a:gd name="T5" fmla="*/ 0 h 49"/>
                <a:gd name="T6" fmla="*/ 39 w 58"/>
                <a:gd name="T7" fmla="*/ 0 h 49"/>
                <a:gd name="T8" fmla="*/ 48 w 58"/>
                <a:gd name="T9" fmla="*/ 0 h 49"/>
                <a:gd name="T10" fmla="*/ 58 w 58"/>
                <a:gd name="T11" fmla="*/ 0 h 49"/>
                <a:gd name="T12" fmla="*/ 48 w 58"/>
                <a:gd name="T13" fmla="*/ 10 h 49"/>
                <a:gd name="T14" fmla="*/ 48 w 58"/>
                <a:gd name="T15" fmla="*/ 19 h 49"/>
                <a:gd name="T16" fmla="*/ 58 w 58"/>
                <a:gd name="T17" fmla="*/ 29 h 49"/>
                <a:gd name="T18" fmla="*/ 58 w 58"/>
                <a:gd name="T19" fmla="*/ 29 h 49"/>
                <a:gd name="T20" fmla="*/ 48 w 58"/>
                <a:gd name="T21" fmla="*/ 49 h 49"/>
                <a:gd name="T22" fmla="*/ 39 w 58"/>
                <a:gd name="T23" fmla="*/ 49 h 49"/>
                <a:gd name="T24" fmla="*/ 29 w 58"/>
                <a:gd name="T25" fmla="*/ 49 h 49"/>
                <a:gd name="T26" fmla="*/ 19 w 58"/>
                <a:gd name="T27" fmla="*/ 39 h 49"/>
                <a:gd name="T28" fmla="*/ 19 w 58"/>
                <a:gd name="T29" fmla="*/ 49 h 49"/>
                <a:gd name="T30" fmla="*/ 9 w 58"/>
                <a:gd name="T31" fmla="*/ 49 h 49"/>
                <a:gd name="T32" fmla="*/ 9 w 58"/>
                <a:gd name="T33" fmla="*/ 49 h 49"/>
                <a:gd name="T34" fmla="*/ 9 w 58"/>
                <a:gd name="T35" fmla="*/ 39 h 49"/>
                <a:gd name="T36" fmla="*/ 9 w 58"/>
                <a:gd name="T37" fmla="*/ 19 h 49"/>
                <a:gd name="T38" fmla="*/ 0 w 58"/>
                <a:gd name="T39" fmla="*/ 10 h 49"/>
                <a:gd name="T40" fmla="*/ 0 w 58"/>
                <a:gd name="T41" fmla="*/ 0 h 4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58"/>
                <a:gd name="T64" fmla="*/ 0 h 49"/>
                <a:gd name="T65" fmla="*/ 58 w 58"/>
                <a:gd name="T66" fmla="*/ 49 h 49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58" h="49">
                  <a:moveTo>
                    <a:pt x="0" y="0"/>
                  </a:moveTo>
                  <a:lnTo>
                    <a:pt x="19" y="0"/>
                  </a:lnTo>
                  <a:lnTo>
                    <a:pt x="29" y="0"/>
                  </a:lnTo>
                  <a:lnTo>
                    <a:pt x="39" y="0"/>
                  </a:lnTo>
                  <a:lnTo>
                    <a:pt x="48" y="0"/>
                  </a:lnTo>
                  <a:lnTo>
                    <a:pt x="58" y="0"/>
                  </a:lnTo>
                  <a:lnTo>
                    <a:pt x="48" y="10"/>
                  </a:lnTo>
                  <a:lnTo>
                    <a:pt x="48" y="19"/>
                  </a:lnTo>
                  <a:lnTo>
                    <a:pt x="58" y="29"/>
                  </a:lnTo>
                  <a:lnTo>
                    <a:pt x="48" y="49"/>
                  </a:lnTo>
                  <a:lnTo>
                    <a:pt x="39" y="49"/>
                  </a:lnTo>
                  <a:lnTo>
                    <a:pt x="29" y="49"/>
                  </a:lnTo>
                  <a:lnTo>
                    <a:pt x="19" y="39"/>
                  </a:lnTo>
                  <a:lnTo>
                    <a:pt x="19" y="49"/>
                  </a:lnTo>
                  <a:lnTo>
                    <a:pt x="9" y="49"/>
                  </a:lnTo>
                  <a:lnTo>
                    <a:pt x="9" y="39"/>
                  </a:lnTo>
                  <a:lnTo>
                    <a:pt x="9" y="19"/>
                  </a:lnTo>
                  <a:lnTo>
                    <a:pt x="0" y="10"/>
                  </a:ln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18675" name="Freeform 290"/>
          <p:cNvSpPr>
            <a:spLocks noChangeAspect="1"/>
          </p:cNvSpPr>
          <p:nvPr>
            <p:custDataLst>
              <p:tags r:id="rId241"/>
            </p:custDataLst>
          </p:nvPr>
        </p:nvSpPr>
        <p:spPr bwMode="auto">
          <a:xfrm>
            <a:off x="7480300" y="4287838"/>
            <a:ext cx="15875" cy="17462"/>
          </a:xfrm>
          <a:custGeom>
            <a:avLst/>
            <a:gdLst>
              <a:gd name="T0" fmla="*/ 0 w 20"/>
              <a:gd name="T1" fmla="*/ 0 h 29"/>
              <a:gd name="T2" fmla="*/ 7938 w 20"/>
              <a:gd name="T3" fmla="*/ 0 h 29"/>
              <a:gd name="T4" fmla="*/ 15875 w 20"/>
              <a:gd name="T5" fmla="*/ 6022 h 29"/>
              <a:gd name="T6" fmla="*/ 15875 w 20"/>
              <a:gd name="T7" fmla="*/ 12043 h 29"/>
              <a:gd name="T8" fmla="*/ 7938 w 20"/>
              <a:gd name="T9" fmla="*/ 17463 h 29"/>
              <a:gd name="T10" fmla="*/ 0 w 20"/>
              <a:gd name="T11" fmla="*/ 12043 h 29"/>
              <a:gd name="T12" fmla="*/ 0 w 20"/>
              <a:gd name="T13" fmla="*/ 6022 h 29"/>
              <a:gd name="T14" fmla="*/ 0 w 20"/>
              <a:gd name="T15" fmla="*/ 0 h 2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0"/>
              <a:gd name="T25" fmla="*/ 0 h 29"/>
              <a:gd name="T26" fmla="*/ 20 w 20"/>
              <a:gd name="T27" fmla="*/ 29 h 29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0" h="29">
                <a:moveTo>
                  <a:pt x="0" y="0"/>
                </a:moveTo>
                <a:lnTo>
                  <a:pt x="10" y="0"/>
                </a:lnTo>
                <a:lnTo>
                  <a:pt x="20" y="10"/>
                </a:lnTo>
                <a:lnTo>
                  <a:pt x="20" y="20"/>
                </a:lnTo>
                <a:lnTo>
                  <a:pt x="10" y="29"/>
                </a:lnTo>
                <a:lnTo>
                  <a:pt x="0" y="20"/>
                </a:lnTo>
                <a:lnTo>
                  <a:pt x="0" y="10"/>
                </a:lnTo>
                <a:lnTo>
                  <a:pt x="0" y="0"/>
                </a:lnTo>
                <a:close/>
              </a:path>
            </a:pathLst>
          </a:custGeom>
          <a:solidFill>
            <a:srgbClr val="969696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grpSp>
        <p:nvGrpSpPr>
          <p:cNvPr id="18676" name="Group 287"/>
          <p:cNvGrpSpPr>
            <a:grpSpLocks noChangeAspect="1"/>
          </p:cNvGrpSpPr>
          <p:nvPr>
            <p:custDataLst>
              <p:tags r:id="rId242"/>
            </p:custDataLst>
          </p:nvPr>
        </p:nvGrpSpPr>
        <p:grpSpPr bwMode="auto">
          <a:xfrm>
            <a:off x="7480300" y="4287838"/>
            <a:ext cx="15875" cy="17462"/>
            <a:chOff x="9110" y="2527"/>
            <a:chExt cx="20" cy="29"/>
          </a:xfrm>
        </p:grpSpPr>
        <p:sp>
          <p:nvSpPr>
            <p:cNvPr id="18722" name="Freeform 289"/>
            <p:cNvSpPr>
              <a:spLocks noChangeAspect="1"/>
            </p:cNvSpPr>
            <p:nvPr/>
          </p:nvSpPr>
          <p:spPr bwMode="auto">
            <a:xfrm>
              <a:off x="9110" y="2527"/>
              <a:ext cx="20" cy="29"/>
            </a:xfrm>
            <a:custGeom>
              <a:avLst/>
              <a:gdLst>
                <a:gd name="T0" fmla="*/ 0 w 20"/>
                <a:gd name="T1" fmla="*/ 0 h 29"/>
                <a:gd name="T2" fmla="*/ 10 w 20"/>
                <a:gd name="T3" fmla="*/ 0 h 29"/>
                <a:gd name="T4" fmla="*/ 20 w 20"/>
                <a:gd name="T5" fmla="*/ 10 h 29"/>
                <a:gd name="T6" fmla="*/ 20 w 20"/>
                <a:gd name="T7" fmla="*/ 20 h 29"/>
                <a:gd name="T8" fmla="*/ 10 w 20"/>
                <a:gd name="T9" fmla="*/ 29 h 29"/>
                <a:gd name="T10" fmla="*/ 0 w 20"/>
                <a:gd name="T11" fmla="*/ 20 h 29"/>
                <a:gd name="T12" fmla="*/ 0 w 20"/>
                <a:gd name="T13" fmla="*/ 10 h 29"/>
                <a:gd name="T14" fmla="*/ 0 w 20"/>
                <a:gd name="T15" fmla="*/ 0 h 2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0"/>
                <a:gd name="T25" fmla="*/ 0 h 29"/>
                <a:gd name="T26" fmla="*/ 20 w 20"/>
                <a:gd name="T27" fmla="*/ 29 h 2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0" h="29">
                  <a:moveTo>
                    <a:pt x="0" y="0"/>
                  </a:moveTo>
                  <a:lnTo>
                    <a:pt x="10" y="0"/>
                  </a:lnTo>
                  <a:lnTo>
                    <a:pt x="20" y="10"/>
                  </a:lnTo>
                  <a:lnTo>
                    <a:pt x="20" y="20"/>
                  </a:lnTo>
                  <a:lnTo>
                    <a:pt x="10" y="29"/>
                  </a:lnTo>
                  <a:lnTo>
                    <a:pt x="0" y="20"/>
                  </a:lnTo>
                  <a:lnTo>
                    <a:pt x="0" y="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6969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8723" name="Freeform 288"/>
            <p:cNvSpPr>
              <a:spLocks noChangeAspect="1"/>
            </p:cNvSpPr>
            <p:nvPr/>
          </p:nvSpPr>
          <p:spPr bwMode="auto">
            <a:xfrm>
              <a:off x="9110" y="2527"/>
              <a:ext cx="20" cy="29"/>
            </a:xfrm>
            <a:custGeom>
              <a:avLst/>
              <a:gdLst>
                <a:gd name="T0" fmla="*/ 0 w 20"/>
                <a:gd name="T1" fmla="*/ 0 h 29"/>
                <a:gd name="T2" fmla="*/ 10 w 20"/>
                <a:gd name="T3" fmla="*/ 0 h 29"/>
                <a:gd name="T4" fmla="*/ 20 w 20"/>
                <a:gd name="T5" fmla="*/ 10 h 29"/>
                <a:gd name="T6" fmla="*/ 20 w 20"/>
                <a:gd name="T7" fmla="*/ 20 h 29"/>
                <a:gd name="T8" fmla="*/ 10 w 20"/>
                <a:gd name="T9" fmla="*/ 29 h 29"/>
                <a:gd name="T10" fmla="*/ 0 w 20"/>
                <a:gd name="T11" fmla="*/ 20 h 29"/>
                <a:gd name="T12" fmla="*/ 0 w 20"/>
                <a:gd name="T13" fmla="*/ 10 h 29"/>
                <a:gd name="T14" fmla="*/ 0 w 20"/>
                <a:gd name="T15" fmla="*/ 0 h 2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0"/>
                <a:gd name="T25" fmla="*/ 0 h 29"/>
                <a:gd name="T26" fmla="*/ 20 w 20"/>
                <a:gd name="T27" fmla="*/ 29 h 2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0" h="29">
                  <a:moveTo>
                    <a:pt x="0" y="0"/>
                  </a:moveTo>
                  <a:lnTo>
                    <a:pt x="10" y="0"/>
                  </a:lnTo>
                  <a:lnTo>
                    <a:pt x="20" y="10"/>
                  </a:lnTo>
                  <a:lnTo>
                    <a:pt x="20" y="20"/>
                  </a:lnTo>
                  <a:lnTo>
                    <a:pt x="10" y="29"/>
                  </a:lnTo>
                  <a:lnTo>
                    <a:pt x="0" y="20"/>
                  </a:lnTo>
                  <a:lnTo>
                    <a:pt x="0" y="10"/>
                  </a:lnTo>
                  <a:lnTo>
                    <a:pt x="0" y="0"/>
                  </a:lnTo>
                </a:path>
              </a:pathLst>
            </a:custGeom>
            <a:solidFill>
              <a:srgbClr val="969696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18677" name="Freeform 280"/>
          <p:cNvSpPr>
            <a:spLocks noChangeAspect="1"/>
          </p:cNvSpPr>
          <p:nvPr>
            <p:custDataLst>
              <p:tags r:id="rId243"/>
            </p:custDataLst>
          </p:nvPr>
        </p:nvSpPr>
        <p:spPr bwMode="auto">
          <a:xfrm>
            <a:off x="6831013" y="4044950"/>
            <a:ext cx="7937" cy="11113"/>
          </a:xfrm>
          <a:custGeom>
            <a:avLst/>
            <a:gdLst>
              <a:gd name="T0" fmla="*/ 0 w 10"/>
              <a:gd name="T1" fmla="*/ 0 h 19"/>
              <a:gd name="T2" fmla="*/ 7937 w 10"/>
              <a:gd name="T3" fmla="*/ 0 h 19"/>
              <a:gd name="T4" fmla="*/ 7937 w 10"/>
              <a:gd name="T5" fmla="*/ 5264 h 19"/>
              <a:gd name="T6" fmla="*/ 7937 w 10"/>
              <a:gd name="T7" fmla="*/ 11112 h 19"/>
              <a:gd name="T8" fmla="*/ 0 w 10"/>
              <a:gd name="T9" fmla="*/ 11112 h 19"/>
              <a:gd name="T10" fmla="*/ 0 w 10"/>
              <a:gd name="T11" fmla="*/ 5264 h 19"/>
              <a:gd name="T12" fmla="*/ 0 w 10"/>
              <a:gd name="T13" fmla="*/ 0 h 1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0"/>
              <a:gd name="T22" fmla="*/ 0 h 19"/>
              <a:gd name="T23" fmla="*/ 10 w 10"/>
              <a:gd name="T24" fmla="*/ 19 h 1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0" h="19">
                <a:moveTo>
                  <a:pt x="0" y="0"/>
                </a:moveTo>
                <a:lnTo>
                  <a:pt x="10" y="0"/>
                </a:lnTo>
                <a:lnTo>
                  <a:pt x="10" y="9"/>
                </a:lnTo>
                <a:lnTo>
                  <a:pt x="10" y="19"/>
                </a:lnTo>
                <a:lnTo>
                  <a:pt x="0" y="19"/>
                </a:lnTo>
                <a:lnTo>
                  <a:pt x="0" y="9"/>
                </a:lnTo>
                <a:lnTo>
                  <a:pt x="0" y="0"/>
                </a:lnTo>
                <a:close/>
              </a:path>
            </a:pathLst>
          </a:custGeom>
          <a:solidFill>
            <a:srgbClr val="969696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grpSp>
        <p:nvGrpSpPr>
          <p:cNvPr id="18678" name="Group 277"/>
          <p:cNvGrpSpPr>
            <a:grpSpLocks noChangeAspect="1"/>
          </p:cNvGrpSpPr>
          <p:nvPr>
            <p:custDataLst>
              <p:tags r:id="rId244"/>
            </p:custDataLst>
          </p:nvPr>
        </p:nvGrpSpPr>
        <p:grpSpPr bwMode="auto">
          <a:xfrm>
            <a:off x="6831013" y="4044950"/>
            <a:ext cx="7937" cy="11113"/>
            <a:chOff x="8135" y="2137"/>
            <a:chExt cx="10" cy="19"/>
          </a:xfrm>
        </p:grpSpPr>
        <p:sp>
          <p:nvSpPr>
            <p:cNvPr id="18720" name="Freeform 279"/>
            <p:cNvSpPr>
              <a:spLocks noChangeAspect="1"/>
            </p:cNvSpPr>
            <p:nvPr/>
          </p:nvSpPr>
          <p:spPr bwMode="auto">
            <a:xfrm>
              <a:off x="8135" y="2137"/>
              <a:ext cx="10" cy="19"/>
            </a:xfrm>
            <a:custGeom>
              <a:avLst/>
              <a:gdLst>
                <a:gd name="T0" fmla="*/ 0 w 10"/>
                <a:gd name="T1" fmla="*/ 0 h 19"/>
                <a:gd name="T2" fmla="*/ 10 w 10"/>
                <a:gd name="T3" fmla="*/ 0 h 19"/>
                <a:gd name="T4" fmla="*/ 10 w 10"/>
                <a:gd name="T5" fmla="*/ 9 h 19"/>
                <a:gd name="T6" fmla="*/ 10 w 10"/>
                <a:gd name="T7" fmla="*/ 19 h 19"/>
                <a:gd name="T8" fmla="*/ 0 w 10"/>
                <a:gd name="T9" fmla="*/ 19 h 19"/>
                <a:gd name="T10" fmla="*/ 0 w 10"/>
                <a:gd name="T11" fmla="*/ 9 h 19"/>
                <a:gd name="T12" fmla="*/ 0 w 10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19"/>
                <a:gd name="T23" fmla="*/ 10 w 10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19">
                  <a:moveTo>
                    <a:pt x="0" y="0"/>
                  </a:moveTo>
                  <a:lnTo>
                    <a:pt x="10" y="0"/>
                  </a:lnTo>
                  <a:lnTo>
                    <a:pt x="10" y="9"/>
                  </a:lnTo>
                  <a:lnTo>
                    <a:pt x="10" y="19"/>
                  </a:lnTo>
                  <a:lnTo>
                    <a:pt x="0" y="19"/>
                  </a:lnTo>
                  <a:lnTo>
                    <a:pt x="0" y="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6969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8721" name="Freeform 278"/>
            <p:cNvSpPr>
              <a:spLocks noChangeAspect="1"/>
            </p:cNvSpPr>
            <p:nvPr/>
          </p:nvSpPr>
          <p:spPr bwMode="auto">
            <a:xfrm>
              <a:off x="8135" y="2137"/>
              <a:ext cx="10" cy="19"/>
            </a:xfrm>
            <a:custGeom>
              <a:avLst/>
              <a:gdLst>
                <a:gd name="T0" fmla="*/ 0 w 10"/>
                <a:gd name="T1" fmla="*/ 0 h 19"/>
                <a:gd name="T2" fmla="*/ 10 w 10"/>
                <a:gd name="T3" fmla="*/ 0 h 19"/>
                <a:gd name="T4" fmla="*/ 10 w 10"/>
                <a:gd name="T5" fmla="*/ 9 h 19"/>
                <a:gd name="T6" fmla="*/ 10 w 10"/>
                <a:gd name="T7" fmla="*/ 19 h 19"/>
                <a:gd name="T8" fmla="*/ 0 w 10"/>
                <a:gd name="T9" fmla="*/ 19 h 19"/>
                <a:gd name="T10" fmla="*/ 0 w 10"/>
                <a:gd name="T11" fmla="*/ 9 h 19"/>
                <a:gd name="T12" fmla="*/ 0 w 10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19"/>
                <a:gd name="T23" fmla="*/ 10 w 10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19">
                  <a:moveTo>
                    <a:pt x="0" y="0"/>
                  </a:moveTo>
                  <a:lnTo>
                    <a:pt x="10" y="0"/>
                  </a:lnTo>
                  <a:lnTo>
                    <a:pt x="10" y="9"/>
                  </a:lnTo>
                  <a:lnTo>
                    <a:pt x="10" y="19"/>
                  </a:lnTo>
                  <a:lnTo>
                    <a:pt x="0" y="19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969696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18679" name="Freeform 255"/>
          <p:cNvSpPr>
            <a:spLocks noChangeAspect="1"/>
          </p:cNvSpPr>
          <p:nvPr>
            <p:custDataLst>
              <p:tags r:id="rId245"/>
            </p:custDataLst>
          </p:nvPr>
        </p:nvSpPr>
        <p:spPr bwMode="auto">
          <a:xfrm>
            <a:off x="6526213" y="5027613"/>
            <a:ext cx="212725" cy="139700"/>
          </a:xfrm>
          <a:custGeom>
            <a:avLst/>
            <a:gdLst>
              <a:gd name="T0" fmla="*/ 0 w 321"/>
              <a:gd name="T1" fmla="*/ 78853 h 225"/>
              <a:gd name="T2" fmla="*/ 0 w 321"/>
              <a:gd name="T3" fmla="*/ 67056 h 225"/>
              <a:gd name="T4" fmla="*/ 0 w 321"/>
              <a:gd name="T5" fmla="*/ 54638 h 225"/>
              <a:gd name="T6" fmla="*/ 5964 w 321"/>
              <a:gd name="T7" fmla="*/ 42841 h 225"/>
              <a:gd name="T8" fmla="*/ 12591 w 321"/>
              <a:gd name="T9" fmla="*/ 42841 h 225"/>
              <a:gd name="T10" fmla="*/ 19218 w 321"/>
              <a:gd name="T11" fmla="*/ 36632 h 225"/>
              <a:gd name="T12" fmla="*/ 25845 w 321"/>
              <a:gd name="T13" fmla="*/ 30424 h 225"/>
              <a:gd name="T14" fmla="*/ 25845 w 321"/>
              <a:gd name="T15" fmla="*/ 30424 h 225"/>
              <a:gd name="T16" fmla="*/ 45063 w 321"/>
              <a:gd name="T17" fmla="*/ 24215 h 225"/>
              <a:gd name="T18" fmla="*/ 45063 w 321"/>
              <a:gd name="T19" fmla="*/ 12418 h 225"/>
              <a:gd name="T20" fmla="*/ 57654 w 321"/>
              <a:gd name="T21" fmla="*/ 12418 h 225"/>
              <a:gd name="T22" fmla="*/ 57654 w 321"/>
              <a:gd name="T23" fmla="*/ 18627 h 225"/>
              <a:gd name="T24" fmla="*/ 64281 w 321"/>
              <a:gd name="T25" fmla="*/ 24215 h 225"/>
              <a:gd name="T26" fmla="*/ 70908 w 321"/>
              <a:gd name="T27" fmla="*/ 12418 h 225"/>
              <a:gd name="T28" fmla="*/ 83500 w 321"/>
              <a:gd name="T29" fmla="*/ 12418 h 225"/>
              <a:gd name="T30" fmla="*/ 90126 w 321"/>
              <a:gd name="T31" fmla="*/ 12418 h 225"/>
              <a:gd name="T32" fmla="*/ 103380 w 321"/>
              <a:gd name="T33" fmla="*/ 12418 h 225"/>
              <a:gd name="T34" fmla="*/ 109345 w 321"/>
              <a:gd name="T35" fmla="*/ 12418 h 225"/>
              <a:gd name="T36" fmla="*/ 115972 w 321"/>
              <a:gd name="T37" fmla="*/ 18627 h 225"/>
              <a:gd name="T38" fmla="*/ 122599 w 321"/>
              <a:gd name="T39" fmla="*/ 24215 h 225"/>
              <a:gd name="T40" fmla="*/ 135190 w 321"/>
              <a:gd name="T41" fmla="*/ 18627 h 225"/>
              <a:gd name="T42" fmla="*/ 155071 w 321"/>
              <a:gd name="T43" fmla="*/ 18627 h 225"/>
              <a:gd name="T44" fmla="*/ 161035 w 321"/>
              <a:gd name="T45" fmla="*/ 18627 h 225"/>
              <a:gd name="T46" fmla="*/ 174289 w 321"/>
              <a:gd name="T47" fmla="*/ 12418 h 225"/>
              <a:gd name="T48" fmla="*/ 174289 w 321"/>
              <a:gd name="T49" fmla="*/ 6209 h 225"/>
              <a:gd name="T50" fmla="*/ 180916 w 321"/>
              <a:gd name="T51" fmla="*/ 6209 h 225"/>
              <a:gd name="T52" fmla="*/ 186880 w 321"/>
              <a:gd name="T53" fmla="*/ 12418 h 225"/>
              <a:gd name="T54" fmla="*/ 200134 w 321"/>
              <a:gd name="T55" fmla="*/ 0 h 225"/>
              <a:gd name="T56" fmla="*/ 206761 w 321"/>
              <a:gd name="T57" fmla="*/ 0 h 225"/>
              <a:gd name="T58" fmla="*/ 212725 w 321"/>
              <a:gd name="T59" fmla="*/ 12418 h 225"/>
              <a:gd name="T60" fmla="*/ 212725 w 321"/>
              <a:gd name="T61" fmla="*/ 18627 h 225"/>
              <a:gd name="T62" fmla="*/ 200134 w 321"/>
              <a:gd name="T63" fmla="*/ 18627 h 225"/>
              <a:gd name="T64" fmla="*/ 193507 w 321"/>
              <a:gd name="T65" fmla="*/ 24215 h 225"/>
              <a:gd name="T66" fmla="*/ 193507 w 321"/>
              <a:gd name="T67" fmla="*/ 24215 h 225"/>
              <a:gd name="T68" fmla="*/ 180916 w 321"/>
              <a:gd name="T69" fmla="*/ 30424 h 225"/>
              <a:gd name="T70" fmla="*/ 174289 w 321"/>
              <a:gd name="T71" fmla="*/ 42841 h 225"/>
              <a:gd name="T72" fmla="*/ 161035 w 321"/>
              <a:gd name="T73" fmla="*/ 60847 h 225"/>
              <a:gd name="T74" fmla="*/ 148444 w 321"/>
              <a:gd name="T75" fmla="*/ 67056 h 225"/>
              <a:gd name="T76" fmla="*/ 135190 w 321"/>
              <a:gd name="T77" fmla="*/ 78853 h 225"/>
              <a:gd name="T78" fmla="*/ 129225 w 321"/>
              <a:gd name="T79" fmla="*/ 91271 h 225"/>
              <a:gd name="T80" fmla="*/ 122599 w 321"/>
              <a:gd name="T81" fmla="*/ 109276 h 225"/>
              <a:gd name="T82" fmla="*/ 109345 w 321"/>
              <a:gd name="T83" fmla="*/ 115485 h 225"/>
              <a:gd name="T84" fmla="*/ 96753 w 321"/>
              <a:gd name="T85" fmla="*/ 127282 h 225"/>
              <a:gd name="T86" fmla="*/ 83500 w 321"/>
              <a:gd name="T87" fmla="*/ 133491 h 225"/>
              <a:gd name="T88" fmla="*/ 77535 w 321"/>
              <a:gd name="T89" fmla="*/ 133491 h 225"/>
              <a:gd name="T90" fmla="*/ 64281 w 321"/>
              <a:gd name="T91" fmla="*/ 139700 h 225"/>
              <a:gd name="T92" fmla="*/ 51690 w 321"/>
              <a:gd name="T93" fmla="*/ 139700 h 225"/>
              <a:gd name="T94" fmla="*/ 45063 w 321"/>
              <a:gd name="T95" fmla="*/ 127282 h 225"/>
              <a:gd name="T96" fmla="*/ 38436 w 321"/>
              <a:gd name="T97" fmla="*/ 127282 h 225"/>
              <a:gd name="T98" fmla="*/ 25845 w 321"/>
              <a:gd name="T99" fmla="*/ 127282 h 225"/>
              <a:gd name="T100" fmla="*/ 25845 w 321"/>
              <a:gd name="T101" fmla="*/ 109276 h 225"/>
              <a:gd name="T102" fmla="*/ 12591 w 321"/>
              <a:gd name="T103" fmla="*/ 96859 h 225"/>
              <a:gd name="T104" fmla="*/ 5964 w 321"/>
              <a:gd name="T105" fmla="*/ 91271 h 225"/>
              <a:gd name="T106" fmla="*/ 5964 w 321"/>
              <a:gd name="T107" fmla="*/ 78853 h 225"/>
              <a:gd name="T108" fmla="*/ 0 w 321"/>
              <a:gd name="T109" fmla="*/ 78853 h 225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321"/>
              <a:gd name="T166" fmla="*/ 0 h 225"/>
              <a:gd name="T167" fmla="*/ 321 w 321"/>
              <a:gd name="T168" fmla="*/ 225 h 225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321" h="225">
                <a:moveTo>
                  <a:pt x="0" y="127"/>
                </a:moveTo>
                <a:lnTo>
                  <a:pt x="0" y="108"/>
                </a:lnTo>
                <a:lnTo>
                  <a:pt x="0" y="88"/>
                </a:lnTo>
                <a:lnTo>
                  <a:pt x="9" y="69"/>
                </a:lnTo>
                <a:lnTo>
                  <a:pt x="19" y="69"/>
                </a:lnTo>
                <a:lnTo>
                  <a:pt x="29" y="59"/>
                </a:lnTo>
                <a:lnTo>
                  <a:pt x="39" y="49"/>
                </a:lnTo>
                <a:lnTo>
                  <a:pt x="68" y="39"/>
                </a:lnTo>
                <a:lnTo>
                  <a:pt x="68" y="20"/>
                </a:lnTo>
                <a:lnTo>
                  <a:pt x="87" y="20"/>
                </a:lnTo>
                <a:lnTo>
                  <a:pt x="87" y="30"/>
                </a:lnTo>
                <a:lnTo>
                  <a:pt x="97" y="39"/>
                </a:lnTo>
                <a:lnTo>
                  <a:pt x="107" y="20"/>
                </a:lnTo>
                <a:lnTo>
                  <a:pt x="126" y="20"/>
                </a:lnTo>
                <a:lnTo>
                  <a:pt x="136" y="20"/>
                </a:lnTo>
                <a:lnTo>
                  <a:pt x="156" y="20"/>
                </a:lnTo>
                <a:lnTo>
                  <a:pt x="165" y="20"/>
                </a:lnTo>
                <a:lnTo>
                  <a:pt x="175" y="30"/>
                </a:lnTo>
                <a:lnTo>
                  <a:pt x="185" y="39"/>
                </a:lnTo>
                <a:lnTo>
                  <a:pt x="204" y="30"/>
                </a:lnTo>
                <a:lnTo>
                  <a:pt x="234" y="30"/>
                </a:lnTo>
                <a:lnTo>
                  <a:pt x="243" y="30"/>
                </a:lnTo>
                <a:lnTo>
                  <a:pt x="263" y="20"/>
                </a:lnTo>
                <a:lnTo>
                  <a:pt x="263" y="10"/>
                </a:lnTo>
                <a:lnTo>
                  <a:pt x="273" y="10"/>
                </a:lnTo>
                <a:lnTo>
                  <a:pt x="282" y="20"/>
                </a:lnTo>
                <a:lnTo>
                  <a:pt x="302" y="0"/>
                </a:lnTo>
                <a:lnTo>
                  <a:pt x="312" y="0"/>
                </a:lnTo>
                <a:lnTo>
                  <a:pt x="321" y="20"/>
                </a:lnTo>
                <a:lnTo>
                  <a:pt x="321" y="30"/>
                </a:lnTo>
                <a:lnTo>
                  <a:pt x="302" y="30"/>
                </a:lnTo>
                <a:lnTo>
                  <a:pt x="292" y="39"/>
                </a:lnTo>
                <a:lnTo>
                  <a:pt x="273" y="49"/>
                </a:lnTo>
                <a:lnTo>
                  <a:pt x="263" y="69"/>
                </a:lnTo>
                <a:lnTo>
                  <a:pt x="243" y="98"/>
                </a:lnTo>
                <a:lnTo>
                  <a:pt x="224" y="108"/>
                </a:lnTo>
                <a:lnTo>
                  <a:pt x="204" y="127"/>
                </a:lnTo>
                <a:lnTo>
                  <a:pt x="195" y="147"/>
                </a:lnTo>
                <a:lnTo>
                  <a:pt x="185" y="176"/>
                </a:lnTo>
                <a:lnTo>
                  <a:pt x="165" y="186"/>
                </a:lnTo>
                <a:lnTo>
                  <a:pt x="146" y="205"/>
                </a:lnTo>
                <a:lnTo>
                  <a:pt x="126" y="215"/>
                </a:lnTo>
                <a:lnTo>
                  <a:pt x="117" y="215"/>
                </a:lnTo>
                <a:lnTo>
                  <a:pt x="97" y="225"/>
                </a:lnTo>
                <a:lnTo>
                  <a:pt x="78" y="225"/>
                </a:lnTo>
                <a:lnTo>
                  <a:pt x="68" y="205"/>
                </a:lnTo>
                <a:lnTo>
                  <a:pt x="58" y="205"/>
                </a:lnTo>
                <a:lnTo>
                  <a:pt x="39" y="205"/>
                </a:lnTo>
                <a:lnTo>
                  <a:pt x="39" y="176"/>
                </a:lnTo>
                <a:lnTo>
                  <a:pt x="19" y="156"/>
                </a:lnTo>
                <a:lnTo>
                  <a:pt x="9" y="147"/>
                </a:lnTo>
                <a:lnTo>
                  <a:pt x="9" y="127"/>
                </a:lnTo>
                <a:lnTo>
                  <a:pt x="0" y="127"/>
                </a:lnTo>
                <a:close/>
              </a:path>
            </a:pathLst>
          </a:custGeom>
          <a:solidFill>
            <a:srgbClr val="CCECFF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grpSp>
        <p:nvGrpSpPr>
          <p:cNvPr id="18680" name="Group 252"/>
          <p:cNvGrpSpPr>
            <a:grpSpLocks noChangeAspect="1"/>
          </p:cNvGrpSpPr>
          <p:nvPr>
            <p:custDataLst>
              <p:tags r:id="rId246"/>
            </p:custDataLst>
          </p:nvPr>
        </p:nvGrpSpPr>
        <p:grpSpPr bwMode="auto">
          <a:xfrm>
            <a:off x="6526213" y="5027613"/>
            <a:ext cx="212725" cy="139700"/>
            <a:chOff x="7677" y="3717"/>
            <a:chExt cx="321" cy="225"/>
          </a:xfrm>
        </p:grpSpPr>
        <p:sp>
          <p:nvSpPr>
            <p:cNvPr id="18718" name="Freeform 254"/>
            <p:cNvSpPr>
              <a:spLocks noChangeAspect="1"/>
            </p:cNvSpPr>
            <p:nvPr/>
          </p:nvSpPr>
          <p:spPr bwMode="auto">
            <a:xfrm>
              <a:off x="7677" y="3717"/>
              <a:ext cx="321" cy="225"/>
            </a:xfrm>
            <a:custGeom>
              <a:avLst/>
              <a:gdLst>
                <a:gd name="T0" fmla="*/ 0 w 321"/>
                <a:gd name="T1" fmla="*/ 127 h 225"/>
                <a:gd name="T2" fmla="*/ 0 w 321"/>
                <a:gd name="T3" fmla="*/ 108 h 225"/>
                <a:gd name="T4" fmla="*/ 0 w 321"/>
                <a:gd name="T5" fmla="*/ 88 h 225"/>
                <a:gd name="T6" fmla="*/ 9 w 321"/>
                <a:gd name="T7" fmla="*/ 69 h 225"/>
                <a:gd name="T8" fmla="*/ 19 w 321"/>
                <a:gd name="T9" fmla="*/ 69 h 225"/>
                <a:gd name="T10" fmla="*/ 29 w 321"/>
                <a:gd name="T11" fmla="*/ 59 h 225"/>
                <a:gd name="T12" fmla="*/ 39 w 321"/>
                <a:gd name="T13" fmla="*/ 49 h 225"/>
                <a:gd name="T14" fmla="*/ 39 w 321"/>
                <a:gd name="T15" fmla="*/ 49 h 225"/>
                <a:gd name="T16" fmla="*/ 68 w 321"/>
                <a:gd name="T17" fmla="*/ 39 h 225"/>
                <a:gd name="T18" fmla="*/ 68 w 321"/>
                <a:gd name="T19" fmla="*/ 20 h 225"/>
                <a:gd name="T20" fmla="*/ 78 w 321"/>
                <a:gd name="T21" fmla="*/ 20 h 225"/>
                <a:gd name="T22" fmla="*/ 87 w 321"/>
                <a:gd name="T23" fmla="*/ 30 h 225"/>
                <a:gd name="T24" fmla="*/ 97 w 321"/>
                <a:gd name="T25" fmla="*/ 39 h 225"/>
                <a:gd name="T26" fmla="*/ 107 w 321"/>
                <a:gd name="T27" fmla="*/ 20 h 225"/>
                <a:gd name="T28" fmla="*/ 126 w 321"/>
                <a:gd name="T29" fmla="*/ 20 h 225"/>
                <a:gd name="T30" fmla="*/ 136 w 321"/>
                <a:gd name="T31" fmla="*/ 10 h 225"/>
                <a:gd name="T32" fmla="*/ 156 w 321"/>
                <a:gd name="T33" fmla="*/ 20 h 225"/>
                <a:gd name="T34" fmla="*/ 165 w 321"/>
                <a:gd name="T35" fmla="*/ 20 h 225"/>
                <a:gd name="T36" fmla="*/ 175 w 321"/>
                <a:gd name="T37" fmla="*/ 30 h 225"/>
                <a:gd name="T38" fmla="*/ 185 w 321"/>
                <a:gd name="T39" fmla="*/ 30 h 225"/>
                <a:gd name="T40" fmla="*/ 204 w 321"/>
                <a:gd name="T41" fmla="*/ 30 h 225"/>
                <a:gd name="T42" fmla="*/ 234 w 321"/>
                <a:gd name="T43" fmla="*/ 30 h 225"/>
                <a:gd name="T44" fmla="*/ 243 w 321"/>
                <a:gd name="T45" fmla="*/ 30 h 225"/>
                <a:gd name="T46" fmla="*/ 263 w 321"/>
                <a:gd name="T47" fmla="*/ 20 h 225"/>
                <a:gd name="T48" fmla="*/ 263 w 321"/>
                <a:gd name="T49" fmla="*/ 10 h 225"/>
                <a:gd name="T50" fmla="*/ 273 w 321"/>
                <a:gd name="T51" fmla="*/ 10 h 225"/>
                <a:gd name="T52" fmla="*/ 282 w 321"/>
                <a:gd name="T53" fmla="*/ 10 h 225"/>
                <a:gd name="T54" fmla="*/ 302 w 321"/>
                <a:gd name="T55" fmla="*/ 0 h 225"/>
                <a:gd name="T56" fmla="*/ 312 w 321"/>
                <a:gd name="T57" fmla="*/ 0 h 225"/>
                <a:gd name="T58" fmla="*/ 321 w 321"/>
                <a:gd name="T59" fmla="*/ 10 h 225"/>
                <a:gd name="T60" fmla="*/ 321 w 321"/>
                <a:gd name="T61" fmla="*/ 30 h 225"/>
                <a:gd name="T62" fmla="*/ 302 w 321"/>
                <a:gd name="T63" fmla="*/ 30 h 225"/>
                <a:gd name="T64" fmla="*/ 292 w 321"/>
                <a:gd name="T65" fmla="*/ 30 h 225"/>
                <a:gd name="T66" fmla="*/ 292 w 321"/>
                <a:gd name="T67" fmla="*/ 39 h 225"/>
                <a:gd name="T68" fmla="*/ 282 w 321"/>
                <a:gd name="T69" fmla="*/ 49 h 225"/>
                <a:gd name="T70" fmla="*/ 263 w 321"/>
                <a:gd name="T71" fmla="*/ 69 h 225"/>
                <a:gd name="T72" fmla="*/ 243 w 321"/>
                <a:gd name="T73" fmla="*/ 98 h 225"/>
                <a:gd name="T74" fmla="*/ 224 w 321"/>
                <a:gd name="T75" fmla="*/ 108 h 225"/>
                <a:gd name="T76" fmla="*/ 204 w 321"/>
                <a:gd name="T77" fmla="*/ 127 h 225"/>
                <a:gd name="T78" fmla="*/ 195 w 321"/>
                <a:gd name="T79" fmla="*/ 147 h 225"/>
                <a:gd name="T80" fmla="*/ 185 w 321"/>
                <a:gd name="T81" fmla="*/ 176 h 225"/>
                <a:gd name="T82" fmla="*/ 165 w 321"/>
                <a:gd name="T83" fmla="*/ 195 h 225"/>
                <a:gd name="T84" fmla="*/ 146 w 321"/>
                <a:gd name="T85" fmla="*/ 205 h 225"/>
                <a:gd name="T86" fmla="*/ 136 w 321"/>
                <a:gd name="T87" fmla="*/ 215 h 225"/>
                <a:gd name="T88" fmla="*/ 117 w 321"/>
                <a:gd name="T89" fmla="*/ 215 h 225"/>
                <a:gd name="T90" fmla="*/ 97 w 321"/>
                <a:gd name="T91" fmla="*/ 225 h 225"/>
                <a:gd name="T92" fmla="*/ 78 w 321"/>
                <a:gd name="T93" fmla="*/ 225 h 225"/>
                <a:gd name="T94" fmla="*/ 68 w 321"/>
                <a:gd name="T95" fmla="*/ 215 h 225"/>
                <a:gd name="T96" fmla="*/ 58 w 321"/>
                <a:gd name="T97" fmla="*/ 215 h 225"/>
                <a:gd name="T98" fmla="*/ 39 w 321"/>
                <a:gd name="T99" fmla="*/ 205 h 225"/>
                <a:gd name="T100" fmla="*/ 39 w 321"/>
                <a:gd name="T101" fmla="*/ 176 h 225"/>
                <a:gd name="T102" fmla="*/ 19 w 321"/>
                <a:gd name="T103" fmla="*/ 156 h 225"/>
                <a:gd name="T104" fmla="*/ 9 w 321"/>
                <a:gd name="T105" fmla="*/ 147 h 225"/>
                <a:gd name="T106" fmla="*/ 9 w 321"/>
                <a:gd name="T107" fmla="*/ 127 h 225"/>
                <a:gd name="T108" fmla="*/ 0 w 321"/>
                <a:gd name="T109" fmla="*/ 127 h 225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321"/>
                <a:gd name="T166" fmla="*/ 0 h 225"/>
                <a:gd name="T167" fmla="*/ 321 w 321"/>
                <a:gd name="T168" fmla="*/ 225 h 225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321" h="225">
                  <a:moveTo>
                    <a:pt x="0" y="127"/>
                  </a:moveTo>
                  <a:lnTo>
                    <a:pt x="0" y="108"/>
                  </a:lnTo>
                  <a:lnTo>
                    <a:pt x="0" y="88"/>
                  </a:lnTo>
                  <a:lnTo>
                    <a:pt x="9" y="69"/>
                  </a:lnTo>
                  <a:lnTo>
                    <a:pt x="19" y="69"/>
                  </a:lnTo>
                  <a:lnTo>
                    <a:pt x="29" y="59"/>
                  </a:lnTo>
                  <a:lnTo>
                    <a:pt x="39" y="49"/>
                  </a:lnTo>
                  <a:lnTo>
                    <a:pt x="68" y="39"/>
                  </a:lnTo>
                  <a:lnTo>
                    <a:pt x="68" y="20"/>
                  </a:lnTo>
                  <a:lnTo>
                    <a:pt x="78" y="20"/>
                  </a:lnTo>
                  <a:lnTo>
                    <a:pt x="87" y="30"/>
                  </a:lnTo>
                  <a:lnTo>
                    <a:pt x="97" y="39"/>
                  </a:lnTo>
                  <a:lnTo>
                    <a:pt x="107" y="20"/>
                  </a:lnTo>
                  <a:lnTo>
                    <a:pt x="126" y="20"/>
                  </a:lnTo>
                  <a:lnTo>
                    <a:pt x="136" y="10"/>
                  </a:lnTo>
                  <a:lnTo>
                    <a:pt x="156" y="20"/>
                  </a:lnTo>
                  <a:lnTo>
                    <a:pt x="165" y="20"/>
                  </a:lnTo>
                  <a:lnTo>
                    <a:pt x="175" y="30"/>
                  </a:lnTo>
                  <a:lnTo>
                    <a:pt x="185" y="30"/>
                  </a:lnTo>
                  <a:lnTo>
                    <a:pt x="204" y="30"/>
                  </a:lnTo>
                  <a:lnTo>
                    <a:pt x="234" y="30"/>
                  </a:lnTo>
                  <a:lnTo>
                    <a:pt x="243" y="30"/>
                  </a:lnTo>
                  <a:lnTo>
                    <a:pt x="263" y="20"/>
                  </a:lnTo>
                  <a:lnTo>
                    <a:pt x="263" y="10"/>
                  </a:lnTo>
                  <a:lnTo>
                    <a:pt x="273" y="10"/>
                  </a:lnTo>
                  <a:lnTo>
                    <a:pt x="282" y="10"/>
                  </a:lnTo>
                  <a:lnTo>
                    <a:pt x="302" y="0"/>
                  </a:lnTo>
                  <a:lnTo>
                    <a:pt x="312" y="0"/>
                  </a:lnTo>
                  <a:lnTo>
                    <a:pt x="321" y="10"/>
                  </a:lnTo>
                  <a:lnTo>
                    <a:pt x="321" y="30"/>
                  </a:lnTo>
                  <a:lnTo>
                    <a:pt x="302" y="30"/>
                  </a:lnTo>
                  <a:lnTo>
                    <a:pt x="292" y="30"/>
                  </a:lnTo>
                  <a:lnTo>
                    <a:pt x="292" y="39"/>
                  </a:lnTo>
                  <a:lnTo>
                    <a:pt x="282" y="49"/>
                  </a:lnTo>
                  <a:lnTo>
                    <a:pt x="263" y="69"/>
                  </a:lnTo>
                  <a:lnTo>
                    <a:pt x="243" y="98"/>
                  </a:lnTo>
                  <a:lnTo>
                    <a:pt x="224" y="108"/>
                  </a:lnTo>
                  <a:lnTo>
                    <a:pt x="204" y="127"/>
                  </a:lnTo>
                  <a:lnTo>
                    <a:pt x="195" y="147"/>
                  </a:lnTo>
                  <a:lnTo>
                    <a:pt x="185" y="176"/>
                  </a:lnTo>
                  <a:lnTo>
                    <a:pt x="165" y="195"/>
                  </a:lnTo>
                  <a:lnTo>
                    <a:pt x="146" y="205"/>
                  </a:lnTo>
                  <a:lnTo>
                    <a:pt x="136" y="215"/>
                  </a:lnTo>
                  <a:lnTo>
                    <a:pt x="117" y="215"/>
                  </a:lnTo>
                  <a:lnTo>
                    <a:pt x="97" y="225"/>
                  </a:lnTo>
                  <a:lnTo>
                    <a:pt x="78" y="225"/>
                  </a:lnTo>
                  <a:lnTo>
                    <a:pt x="68" y="215"/>
                  </a:lnTo>
                  <a:lnTo>
                    <a:pt x="58" y="215"/>
                  </a:lnTo>
                  <a:lnTo>
                    <a:pt x="39" y="205"/>
                  </a:lnTo>
                  <a:lnTo>
                    <a:pt x="39" y="176"/>
                  </a:lnTo>
                  <a:lnTo>
                    <a:pt x="19" y="156"/>
                  </a:lnTo>
                  <a:lnTo>
                    <a:pt x="9" y="147"/>
                  </a:lnTo>
                  <a:lnTo>
                    <a:pt x="9" y="127"/>
                  </a:lnTo>
                  <a:lnTo>
                    <a:pt x="0" y="127"/>
                  </a:lnTo>
                  <a:close/>
                </a:path>
              </a:pathLst>
            </a:custGeom>
            <a:solidFill>
              <a:srgbClr val="FEE95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8719" name="Freeform 253"/>
            <p:cNvSpPr>
              <a:spLocks noChangeAspect="1"/>
            </p:cNvSpPr>
            <p:nvPr/>
          </p:nvSpPr>
          <p:spPr bwMode="auto">
            <a:xfrm>
              <a:off x="7677" y="3717"/>
              <a:ext cx="321" cy="225"/>
            </a:xfrm>
            <a:custGeom>
              <a:avLst/>
              <a:gdLst>
                <a:gd name="T0" fmla="*/ 0 w 321"/>
                <a:gd name="T1" fmla="*/ 127 h 225"/>
                <a:gd name="T2" fmla="*/ 0 w 321"/>
                <a:gd name="T3" fmla="*/ 108 h 225"/>
                <a:gd name="T4" fmla="*/ 0 w 321"/>
                <a:gd name="T5" fmla="*/ 88 h 225"/>
                <a:gd name="T6" fmla="*/ 9 w 321"/>
                <a:gd name="T7" fmla="*/ 69 h 225"/>
                <a:gd name="T8" fmla="*/ 19 w 321"/>
                <a:gd name="T9" fmla="*/ 69 h 225"/>
                <a:gd name="T10" fmla="*/ 29 w 321"/>
                <a:gd name="T11" fmla="*/ 59 h 225"/>
                <a:gd name="T12" fmla="*/ 39 w 321"/>
                <a:gd name="T13" fmla="*/ 49 h 225"/>
                <a:gd name="T14" fmla="*/ 39 w 321"/>
                <a:gd name="T15" fmla="*/ 49 h 225"/>
                <a:gd name="T16" fmla="*/ 68 w 321"/>
                <a:gd name="T17" fmla="*/ 39 h 225"/>
                <a:gd name="T18" fmla="*/ 68 w 321"/>
                <a:gd name="T19" fmla="*/ 20 h 225"/>
                <a:gd name="T20" fmla="*/ 78 w 321"/>
                <a:gd name="T21" fmla="*/ 20 h 225"/>
                <a:gd name="T22" fmla="*/ 87 w 321"/>
                <a:gd name="T23" fmla="*/ 30 h 225"/>
                <a:gd name="T24" fmla="*/ 97 w 321"/>
                <a:gd name="T25" fmla="*/ 39 h 225"/>
                <a:gd name="T26" fmla="*/ 107 w 321"/>
                <a:gd name="T27" fmla="*/ 20 h 225"/>
                <a:gd name="T28" fmla="*/ 126 w 321"/>
                <a:gd name="T29" fmla="*/ 20 h 225"/>
                <a:gd name="T30" fmla="*/ 136 w 321"/>
                <a:gd name="T31" fmla="*/ 10 h 225"/>
                <a:gd name="T32" fmla="*/ 156 w 321"/>
                <a:gd name="T33" fmla="*/ 20 h 225"/>
                <a:gd name="T34" fmla="*/ 165 w 321"/>
                <a:gd name="T35" fmla="*/ 20 h 225"/>
                <a:gd name="T36" fmla="*/ 175 w 321"/>
                <a:gd name="T37" fmla="*/ 30 h 225"/>
                <a:gd name="T38" fmla="*/ 185 w 321"/>
                <a:gd name="T39" fmla="*/ 30 h 225"/>
                <a:gd name="T40" fmla="*/ 204 w 321"/>
                <a:gd name="T41" fmla="*/ 30 h 225"/>
                <a:gd name="T42" fmla="*/ 234 w 321"/>
                <a:gd name="T43" fmla="*/ 30 h 225"/>
                <a:gd name="T44" fmla="*/ 243 w 321"/>
                <a:gd name="T45" fmla="*/ 30 h 225"/>
                <a:gd name="T46" fmla="*/ 263 w 321"/>
                <a:gd name="T47" fmla="*/ 20 h 225"/>
                <a:gd name="T48" fmla="*/ 263 w 321"/>
                <a:gd name="T49" fmla="*/ 10 h 225"/>
                <a:gd name="T50" fmla="*/ 273 w 321"/>
                <a:gd name="T51" fmla="*/ 10 h 225"/>
                <a:gd name="T52" fmla="*/ 282 w 321"/>
                <a:gd name="T53" fmla="*/ 10 h 225"/>
                <a:gd name="T54" fmla="*/ 302 w 321"/>
                <a:gd name="T55" fmla="*/ 0 h 225"/>
                <a:gd name="T56" fmla="*/ 312 w 321"/>
                <a:gd name="T57" fmla="*/ 0 h 225"/>
                <a:gd name="T58" fmla="*/ 321 w 321"/>
                <a:gd name="T59" fmla="*/ 10 h 225"/>
                <a:gd name="T60" fmla="*/ 321 w 321"/>
                <a:gd name="T61" fmla="*/ 30 h 225"/>
                <a:gd name="T62" fmla="*/ 302 w 321"/>
                <a:gd name="T63" fmla="*/ 30 h 225"/>
                <a:gd name="T64" fmla="*/ 292 w 321"/>
                <a:gd name="T65" fmla="*/ 30 h 225"/>
                <a:gd name="T66" fmla="*/ 292 w 321"/>
                <a:gd name="T67" fmla="*/ 39 h 225"/>
                <a:gd name="T68" fmla="*/ 282 w 321"/>
                <a:gd name="T69" fmla="*/ 49 h 225"/>
                <a:gd name="T70" fmla="*/ 263 w 321"/>
                <a:gd name="T71" fmla="*/ 69 h 225"/>
                <a:gd name="T72" fmla="*/ 243 w 321"/>
                <a:gd name="T73" fmla="*/ 98 h 225"/>
                <a:gd name="T74" fmla="*/ 224 w 321"/>
                <a:gd name="T75" fmla="*/ 108 h 225"/>
                <a:gd name="T76" fmla="*/ 204 w 321"/>
                <a:gd name="T77" fmla="*/ 127 h 225"/>
                <a:gd name="T78" fmla="*/ 195 w 321"/>
                <a:gd name="T79" fmla="*/ 147 h 225"/>
                <a:gd name="T80" fmla="*/ 185 w 321"/>
                <a:gd name="T81" fmla="*/ 176 h 225"/>
                <a:gd name="T82" fmla="*/ 165 w 321"/>
                <a:gd name="T83" fmla="*/ 195 h 225"/>
                <a:gd name="T84" fmla="*/ 146 w 321"/>
                <a:gd name="T85" fmla="*/ 205 h 225"/>
                <a:gd name="T86" fmla="*/ 136 w 321"/>
                <a:gd name="T87" fmla="*/ 215 h 225"/>
                <a:gd name="T88" fmla="*/ 117 w 321"/>
                <a:gd name="T89" fmla="*/ 215 h 225"/>
                <a:gd name="T90" fmla="*/ 97 w 321"/>
                <a:gd name="T91" fmla="*/ 225 h 225"/>
                <a:gd name="T92" fmla="*/ 78 w 321"/>
                <a:gd name="T93" fmla="*/ 225 h 225"/>
                <a:gd name="T94" fmla="*/ 68 w 321"/>
                <a:gd name="T95" fmla="*/ 215 h 225"/>
                <a:gd name="T96" fmla="*/ 58 w 321"/>
                <a:gd name="T97" fmla="*/ 215 h 225"/>
                <a:gd name="T98" fmla="*/ 39 w 321"/>
                <a:gd name="T99" fmla="*/ 205 h 225"/>
                <a:gd name="T100" fmla="*/ 39 w 321"/>
                <a:gd name="T101" fmla="*/ 176 h 225"/>
                <a:gd name="T102" fmla="*/ 19 w 321"/>
                <a:gd name="T103" fmla="*/ 156 h 225"/>
                <a:gd name="T104" fmla="*/ 9 w 321"/>
                <a:gd name="T105" fmla="*/ 147 h 225"/>
                <a:gd name="T106" fmla="*/ 9 w 321"/>
                <a:gd name="T107" fmla="*/ 127 h 225"/>
                <a:gd name="T108" fmla="*/ 0 w 321"/>
                <a:gd name="T109" fmla="*/ 127 h 225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321"/>
                <a:gd name="T166" fmla="*/ 0 h 225"/>
                <a:gd name="T167" fmla="*/ 321 w 321"/>
                <a:gd name="T168" fmla="*/ 225 h 225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321" h="225">
                  <a:moveTo>
                    <a:pt x="0" y="127"/>
                  </a:moveTo>
                  <a:lnTo>
                    <a:pt x="0" y="108"/>
                  </a:lnTo>
                  <a:lnTo>
                    <a:pt x="0" y="88"/>
                  </a:lnTo>
                  <a:lnTo>
                    <a:pt x="9" y="69"/>
                  </a:lnTo>
                  <a:lnTo>
                    <a:pt x="19" y="69"/>
                  </a:lnTo>
                  <a:lnTo>
                    <a:pt x="29" y="59"/>
                  </a:lnTo>
                  <a:lnTo>
                    <a:pt x="39" y="49"/>
                  </a:lnTo>
                  <a:lnTo>
                    <a:pt x="68" y="39"/>
                  </a:lnTo>
                  <a:lnTo>
                    <a:pt x="68" y="20"/>
                  </a:lnTo>
                  <a:lnTo>
                    <a:pt x="78" y="20"/>
                  </a:lnTo>
                  <a:lnTo>
                    <a:pt x="87" y="30"/>
                  </a:lnTo>
                  <a:lnTo>
                    <a:pt x="97" y="39"/>
                  </a:lnTo>
                  <a:lnTo>
                    <a:pt x="107" y="20"/>
                  </a:lnTo>
                  <a:lnTo>
                    <a:pt x="126" y="20"/>
                  </a:lnTo>
                  <a:lnTo>
                    <a:pt x="136" y="10"/>
                  </a:lnTo>
                  <a:lnTo>
                    <a:pt x="156" y="20"/>
                  </a:lnTo>
                  <a:lnTo>
                    <a:pt x="165" y="20"/>
                  </a:lnTo>
                  <a:lnTo>
                    <a:pt x="175" y="30"/>
                  </a:lnTo>
                  <a:lnTo>
                    <a:pt x="185" y="30"/>
                  </a:lnTo>
                  <a:lnTo>
                    <a:pt x="204" y="30"/>
                  </a:lnTo>
                  <a:lnTo>
                    <a:pt x="234" y="30"/>
                  </a:lnTo>
                  <a:lnTo>
                    <a:pt x="243" y="30"/>
                  </a:lnTo>
                  <a:lnTo>
                    <a:pt x="263" y="20"/>
                  </a:lnTo>
                  <a:lnTo>
                    <a:pt x="263" y="10"/>
                  </a:lnTo>
                  <a:lnTo>
                    <a:pt x="273" y="10"/>
                  </a:lnTo>
                  <a:lnTo>
                    <a:pt x="282" y="10"/>
                  </a:lnTo>
                  <a:lnTo>
                    <a:pt x="302" y="0"/>
                  </a:lnTo>
                  <a:lnTo>
                    <a:pt x="312" y="0"/>
                  </a:lnTo>
                  <a:lnTo>
                    <a:pt x="321" y="10"/>
                  </a:lnTo>
                  <a:lnTo>
                    <a:pt x="321" y="30"/>
                  </a:lnTo>
                  <a:lnTo>
                    <a:pt x="302" y="30"/>
                  </a:lnTo>
                  <a:lnTo>
                    <a:pt x="292" y="30"/>
                  </a:lnTo>
                  <a:lnTo>
                    <a:pt x="292" y="39"/>
                  </a:lnTo>
                  <a:lnTo>
                    <a:pt x="282" y="49"/>
                  </a:lnTo>
                  <a:lnTo>
                    <a:pt x="263" y="69"/>
                  </a:lnTo>
                  <a:lnTo>
                    <a:pt x="243" y="98"/>
                  </a:lnTo>
                  <a:lnTo>
                    <a:pt x="224" y="108"/>
                  </a:lnTo>
                  <a:lnTo>
                    <a:pt x="204" y="127"/>
                  </a:lnTo>
                  <a:lnTo>
                    <a:pt x="195" y="147"/>
                  </a:lnTo>
                  <a:lnTo>
                    <a:pt x="185" y="176"/>
                  </a:lnTo>
                  <a:lnTo>
                    <a:pt x="165" y="195"/>
                  </a:lnTo>
                  <a:lnTo>
                    <a:pt x="146" y="205"/>
                  </a:lnTo>
                  <a:lnTo>
                    <a:pt x="136" y="215"/>
                  </a:lnTo>
                  <a:lnTo>
                    <a:pt x="117" y="215"/>
                  </a:lnTo>
                  <a:lnTo>
                    <a:pt x="97" y="225"/>
                  </a:lnTo>
                  <a:lnTo>
                    <a:pt x="78" y="225"/>
                  </a:lnTo>
                  <a:lnTo>
                    <a:pt x="68" y="215"/>
                  </a:lnTo>
                  <a:lnTo>
                    <a:pt x="58" y="215"/>
                  </a:lnTo>
                  <a:lnTo>
                    <a:pt x="39" y="205"/>
                  </a:lnTo>
                  <a:lnTo>
                    <a:pt x="39" y="176"/>
                  </a:lnTo>
                  <a:lnTo>
                    <a:pt x="19" y="156"/>
                  </a:lnTo>
                  <a:lnTo>
                    <a:pt x="9" y="147"/>
                  </a:lnTo>
                  <a:lnTo>
                    <a:pt x="9" y="127"/>
                  </a:lnTo>
                  <a:lnTo>
                    <a:pt x="0" y="127"/>
                  </a:lnTo>
                </a:path>
              </a:pathLst>
            </a:custGeom>
            <a:noFill/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18681" name="Freeform 107"/>
          <p:cNvSpPr>
            <a:spLocks noChangeAspect="1"/>
          </p:cNvSpPr>
          <p:nvPr>
            <p:custDataLst>
              <p:tags r:id="rId247"/>
            </p:custDataLst>
          </p:nvPr>
        </p:nvSpPr>
        <p:spPr bwMode="auto">
          <a:xfrm>
            <a:off x="6551613" y="4584700"/>
            <a:ext cx="19050" cy="19050"/>
          </a:xfrm>
          <a:custGeom>
            <a:avLst/>
            <a:gdLst>
              <a:gd name="T0" fmla="*/ 0 w 29"/>
              <a:gd name="T1" fmla="*/ 19050 h 29"/>
              <a:gd name="T2" fmla="*/ 5912 w 29"/>
              <a:gd name="T3" fmla="*/ 6569 h 29"/>
              <a:gd name="T4" fmla="*/ 19050 w 29"/>
              <a:gd name="T5" fmla="*/ 0 h 29"/>
              <a:gd name="T6" fmla="*/ 19050 w 29"/>
              <a:gd name="T7" fmla="*/ 6569 h 29"/>
              <a:gd name="T8" fmla="*/ 19050 w 29"/>
              <a:gd name="T9" fmla="*/ 13138 h 29"/>
              <a:gd name="T10" fmla="*/ 12481 w 29"/>
              <a:gd name="T11" fmla="*/ 13138 h 29"/>
              <a:gd name="T12" fmla="*/ 12481 w 29"/>
              <a:gd name="T13" fmla="*/ 19050 h 29"/>
              <a:gd name="T14" fmla="*/ 5912 w 29"/>
              <a:gd name="T15" fmla="*/ 19050 h 29"/>
              <a:gd name="T16" fmla="*/ 0 w 29"/>
              <a:gd name="T17" fmla="*/ 19050 h 29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9"/>
              <a:gd name="T28" fmla="*/ 0 h 29"/>
              <a:gd name="T29" fmla="*/ 29 w 29"/>
              <a:gd name="T30" fmla="*/ 29 h 29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9" h="29">
                <a:moveTo>
                  <a:pt x="0" y="29"/>
                </a:moveTo>
                <a:lnTo>
                  <a:pt x="9" y="10"/>
                </a:lnTo>
                <a:lnTo>
                  <a:pt x="29" y="0"/>
                </a:lnTo>
                <a:lnTo>
                  <a:pt x="29" y="10"/>
                </a:lnTo>
                <a:lnTo>
                  <a:pt x="29" y="20"/>
                </a:lnTo>
                <a:lnTo>
                  <a:pt x="19" y="20"/>
                </a:lnTo>
                <a:lnTo>
                  <a:pt x="19" y="29"/>
                </a:lnTo>
                <a:lnTo>
                  <a:pt x="9" y="29"/>
                </a:lnTo>
                <a:lnTo>
                  <a:pt x="0" y="29"/>
                </a:lnTo>
                <a:close/>
              </a:path>
            </a:pathLst>
          </a:custGeom>
          <a:solidFill>
            <a:srgbClr val="CCECFF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grpSp>
        <p:nvGrpSpPr>
          <p:cNvPr id="18682" name="Group 104"/>
          <p:cNvGrpSpPr>
            <a:grpSpLocks noChangeAspect="1"/>
          </p:cNvGrpSpPr>
          <p:nvPr>
            <p:custDataLst>
              <p:tags r:id="rId248"/>
            </p:custDataLst>
          </p:nvPr>
        </p:nvGrpSpPr>
        <p:grpSpPr bwMode="auto">
          <a:xfrm>
            <a:off x="6551613" y="4584700"/>
            <a:ext cx="19050" cy="19050"/>
            <a:chOff x="7716" y="3005"/>
            <a:chExt cx="29" cy="29"/>
          </a:xfrm>
        </p:grpSpPr>
        <p:sp>
          <p:nvSpPr>
            <p:cNvPr id="18716" name="Freeform 106"/>
            <p:cNvSpPr>
              <a:spLocks noChangeAspect="1"/>
            </p:cNvSpPr>
            <p:nvPr/>
          </p:nvSpPr>
          <p:spPr bwMode="auto">
            <a:xfrm>
              <a:off x="7716" y="3005"/>
              <a:ext cx="29" cy="29"/>
            </a:xfrm>
            <a:custGeom>
              <a:avLst/>
              <a:gdLst>
                <a:gd name="T0" fmla="*/ 0 w 29"/>
                <a:gd name="T1" fmla="*/ 29 h 29"/>
                <a:gd name="T2" fmla="*/ 9 w 29"/>
                <a:gd name="T3" fmla="*/ 10 h 29"/>
                <a:gd name="T4" fmla="*/ 29 w 29"/>
                <a:gd name="T5" fmla="*/ 0 h 29"/>
                <a:gd name="T6" fmla="*/ 29 w 29"/>
                <a:gd name="T7" fmla="*/ 10 h 29"/>
                <a:gd name="T8" fmla="*/ 29 w 29"/>
                <a:gd name="T9" fmla="*/ 20 h 29"/>
                <a:gd name="T10" fmla="*/ 19 w 29"/>
                <a:gd name="T11" fmla="*/ 20 h 29"/>
                <a:gd name="T12" fmla="*/ 19 w 29"/>
                <a:gd name="T13" fmla="*/ 29 h 29"/>
                <a:gd name="T14" fmla="*/ 9 w 29"/>
                <a:gd name="T15" fmla="*/ 29 h 29"/>
                <a:gd name="T16" fmla="*/ 0 w 29"/>
                <a:gd name="T17" fmla="*/ 29 h 2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9"/>
                <a:gd name="T28" fmla="*/ 0 h 29"/>
                <a:gd name="T29" fmla="*/ 29 w 29"/>
                <a:gd name="T30" fmla="*/ 29 h 2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9" h="29">
                  <a:moveTo>
                    <a:pt x="0" y="29"/>
                  </a:moveTo>
                  <a:lnTo>
                    <a:pt x="9" y="10"/>
                  </a:lnTo>
                  <a:lnTo>
                    <a:pt x="29" y="0"/>
                  </a:lnTo>
                  <a:lnTo>
                    <a:pt x="29" y="10"/>
                  </a:lnTo>
                  <a:lnTo>
                    <a:pt x="29" y="20"/>
                  </a:lnTo>
                  <a:lnTo>
                    <a:pt x="19" y="20"/>
                  </a:lnTo>
                  <a:lnTo>
                    <a:pt x="19" y="29"/>
                  </a:lnTo>
                  <a:lnTo>
                    <a:pt x="9" y="29"/>
                  </a:lnTo>
                  <a:lnTo>
                    <a:pt x="0" y="29"/>
                  </a:lnTo>
                  <a:close/>
                </a:path>
              </a:pathLst>
            </a:custGeom>
            <a:solidFill>
              <a:srgbClr val="CCEC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8717" name="Freeform 105"/>
            <p:cNvSpPr>
              <a:spLocks noChangeAspect="1"/>
            </p:cNvSpPr>
            <p:nvPr/>
          </p:nvSpPr>
          <p:spPr bwMode="auto">
            <a:xfrm>
              <a:off x="7716" y="3005"/>
              <a:ext cx="29" cy="29"/>
            </a:xfrm>
            <a:custGeom>
              <a:avLst/>
              <a:gdLst>
                <a:gd name="T0" fmla="*/ 0 w 29"/>
                <a:gd name="T1" fmla="*/ 29 h 29"/>
                <a:gd name="T2" fmla="*/ 9 w 29"/>
                <a:gd name="T3" fmla="*/ 10 h 29"/>
                <a:gd name="T4" fmla="*/ 29 w 29"/>
                <a:gd name="T5" fmla="*/ 0 h 29"/>
                <a:gd name="T6" fmla="*/ 29 w 29"/>
                <a:gd name="T7" fmla="*/ 10 h 29"/>
                <a:gd name="T8" fmla="*/ 29 w 29"/>
                <a:gd name="T9" fmla="*/ 20 h 29"/>
                <a:gd name="T10" fmla="*/ 19 w 29"/>
                <a:gd name="T11" fmla="*/ 20 h 29"/>
                <a:gd name="T12" fmla="*/ 19 w 29"/>
                <a:gd name="T13" fmla="*/ 29 h 29"/>
                <a:gd name="T14" fmla="*/ 9 w 29"/>
                <a:gd name="T15" fmla="*/ 29 h 29"/>
                <a:gd name="T16" fmla="*/ 0 w 29"/>
                <a:gd name="T17" fmla="*/ 29 h 2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9"/>
                <a:gd name="T28" fmla="*/ 0 h 29"/>
                <a:gd name="T29" fmla="*/ 29 w 29"/>
                <a:gd name="T30" fmla="*/ 29 h 2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9" h="29">
                  <a:moveTo>
                    <a:pt x="0" y="29"/>
                  </a:moveTo>
                  <a:lnTo>
                    <a:pt x="9" y="10"/>
                  </a:lnTo>
                  <a:lnTo>
                    <a:pt x="29" y="0"/>
                  </a:lnTo>
                  <a:lnTo>
                    <a:pt x="29" y="10"/>
                  </a:lnTo>
                  <a:lnTo>
                    <a:pt x="29" y="20"/>
                  </a:lnTo>
                  <a:lnTo>
                    <a:pt x="19" y="20"/>
                  </a:lnTo>
                  <a:lnTo>
                    <a:pt x="19" y="29"/>
                  </a:lnTo>
                  <a:lnTo>
                    <a:pt x="9" y="29"/>
                  </a:lnTo>
                  <a:lnTo>
                    <a:pt x="0" y="29"/>
                  </a:lnTo>
                </a:path>
              </a:pathLst>
            </a:custGeom>
            <a:noFill/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18683" name="Freeform 103"/>
          <p:cNvSpPr>
            <a:spLocks noChangeAspect="1"/>
          </p:cNvSpPr>
          <p:nvPr>
            <p:custDataLst>
              <p:tags r:id="rId249"/>
            </p:custDataLst>
          </p:nvPr>
        </p:nvSpPr>
        <p:spPr bwMode="auto">
          <a:xfrm>
            <a:off x="6577013" y="4567238"/>
            <a:ext cx="38100" cy="30162"/>
          </a:xfrm>
          <a:custGeom>
            <a:avLst/>
            <a:gdLst>
              <a:gd name="T0" fmla="*/ 0 w 58"/>
              <a:gd name="T1" fmla="*/ 0 h 49"/>
              <a:gd name="T2" fmla="*/ 12481 w 58"/>
              <a:gd name="T3" fmla="*/ 0 h 49"/>
              <a:gd name="T4" fmla="*/ 19050 w 58"/>
              <a:gd name="T5" fmla="*/ 0 h 49"/>
              <a:gd name="T6" fmla="*/ 25619 w 58"/>
              <a:gd name="T7" fmla="*/ 0 h 49"/>
              <a:gd name="T8" fmla="*/ 31531 w 58"/>
              <a:gd name="T9" fmla="*/ 0 h 49"/>
              <a:gd name="T10" fmla="*/ 38100 w 58"/>
              <a:gd name="T11" fmla="*/ 0 h 49"/>
              <a:gd name="T12" fmla="*/ 31531 w 58"/>
              <a:gd name="T13" fmla="*/ 6156 h 49"/>
              <a:gd name="T14" fmla="*/ 31531 w 58"/>
              <a:gd name="T15" fmla="*/ 11696 h 49"/>
              <a:gd name="T16" fmla="*/ 38100 w 58"/>
              <a:gd name="T17" fmla="*/ 17852 h 49"/>
              <a:gd name="T18" fmla="*/ 38100 w 58"/>
              <a:gd name="T19" fmla="*/ 17852 h 49"/>
              <a:gd name="T20" fmla="*/ 31531 w 58"/>
              <a:gd name="T21" fmla="*/ 30163 h 49"/>
              <a:gd name="T22" fmla="*/ 25619 w 58"/>
              <a:gd name="T23" fmla="*/ 30163 h 49"/>
              <a:gd name="T24" fmla="*/ 19050 w 58"/>
              <a:gd name="T25" fmla="*/ 30163 h 49"/>
              <a:gd name="T26" fmla="*/ 12481 w 58"/>
              <a:gd name="T27" fmla="*/ 24007 h 49"/>
              <a:gd name="T28" fmla="*/ 12481 w 58"/>
              <a:gd name="T29" fmla="*/ 30163 h 49"/>
              <a:gd name="T30" fmla="*/ 5912 w 58"/>
              <a:gd name="T31" fmla="*/ 30163 h 49"/>
              <a:gd name="T32" fmla="*/ 5912 w 58"/>
              <a:gd name="T33" fmla="*/ 30163 h 49"/>
              <a:gd name="T34" fmla="*/ 5912 w 58"/>
              <a:gd name="T35" fmla="*/ 17852 h 49"/>
              <a:gd name="T36" fmla="*/ 5912 w 58"/>
              <a:gd name="T37" fmla="*/ 11696 h 49"/>
              <a:gd name="T38" fmla="*/ 0 w 58"/>
              <a:gd name="T39" fmla="*/ 6156 h 49"/>
              <a:gd name="T40" fmla="*/ 0 w 58"/>
              <a:gd name="T41" fmla="*/ 0 h 49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58"/>
              <a:gd name="T64" fmla="*/ 0 h 49"/>
              <a:gd name="T65" fmla="*/ 58 w 58"/>
              <a:gd name="T66" fmla="*/ 49 h 49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58" h="49">
                <a:moveTo>
                  <a:pt x="0" y="0"/>
                </a:moveTo>
                <a:lnTo>
                  <a:pt x="19" y="0"/>
                </a:lnTo>
                <a:lnTo>
                  <a:pt x="29" y="0"/>
                </a:lnTo>
                <a:lnTo>
                  <a:pt x="39" y="0"/>
                </a:lnTo>
                <a:lnTo>
                  <a:pt x="48" y="0"/>
                </a:lnTo>
                <a:lnTo>
                  <a:pt x="58" y="0"/>
                </a:lnTo>
                <a:lnTo>
                  <a:pt x="48" y="10"/>
                </a:lnTo>
                <a:lnTo>
                  <a:pt x="48" y="19"/>
                </a:lnTo>
                <a:lnTo>
                  <a:pt x="58" y="29"/>
                </a:lnTo>
                <a:lnTo>
                  <a:pt x="48" y="49"/>
                </a:lnTo>
                <a:lnTo>
                  <a:pt x="39" y="49"/>
                </a:lnTo>
                <a:lnTo>
                  <a:pt x="29" y="49"/>
                </a:lnTo>
                <a:lnTo>
                  <a:pt x="19" y="39"/>
                </a:lnTo>
                <a:lnTo>
                  <a:pt x="19" y="49"/>
                </a:lnTo>
                <a:lnTo>
                  <a:pt x="9" y="49"/>
                </a:lnTo>
                <a:lnTo>
                  <a:pt x="9" y="29"/>
                </a:lnTo>
                <a:lnTo>
                  <a:pt x="9" y="19"/>
                </a:lnTo>
                <a:lnTo>
                  <a:pt x="0" y="10"/>
                </a:lnTo>
                <a:lnTo>
                  <a:pt x="0" y="0"/>
                </a:lnTo>
                <a:close/>
              </a:path>
            </a:pathLst>
          </a:custGeom>
          <a:solidFill>
            <a:srgbClr val="CCECFF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grpSp>
        <p:nvGrpSpPr>
          <p:cNvPr id="18684" name="Group 100"/>
          <p:cNvGrpSpPr>
            <a:grpSpLocks noChangeAspect="1"/>
          </p:cNvGrpSpPr>
          <p:nvPr>
            <p:custDataLst>
              <p:tags r:id="rId250"/>
            </p:custDataLst>
          </p:nvPr>
        </p:nvGrpSpPr>
        <p:grpSpPr bwMode="auto">
          <a:xfrm>
            <a:off x="6577013" y="4567238"/>
            <a:ext cx="38100" cy="30162"/>
            <a:chOff x="7755" y="2976"/>
            <a:chExt cx="58" cy="49"/>
          </a:xfrm>
        </p:grpSpPr>
        <p:sp>
          <p:nvSpPr>
            <p:cNvPr id="18714" name="Freeform 102"/>
            <p:cNvSpPr>
              <a:spLocks noChangeAspect="1"/>
            </p:cNvSpPr>
            <p:nvPr/>
          </p:nvSpPr>
          <p:spPr bwMode="auto">
            <a:xfrm>
              <a:off x="7755" y="2976"/>
              <a:ext cx="58" cy="49"/>
            </a:xfrm>
            <a:custGeom>
              <a:avLst/>
              <a:gdLst>
                <a:gd name="T0" fmla="*/ 0 w 58"/>
                <a:gd name="T1" fmla="*/ 0 h 49"/>
                <a:gd name="T2" fmla="*/ 19 w 58"/>
                <a:gd name="T3" fmla="*/ 0 h 49"/>
                <a:gd name="T4" fmla="*/ 29 w 58"/>
                <a:gd name="T5" fmla="*/ 0 h 49"/>
                <a:gd name="T6" fmla="*/ 39 w 58"/>
                <a:gd name="T7" fmla="*/ 0 h 49"/>
                <a:gd name="T8" fmla="*/ 48 w 58"/>
                <a:gd name="T9" fmla="*/ 0 h 49"/>
                <a:gd name="T10" fmla="*/ 58 w 58"/>
                <a:gd name="T11" fmla="*/ 0 h 49"/>
                <a:gd name="T12" fmla="*/ 48 w 58"/>
                <a:gd name="T13" fmla="*/ 10 h 49"/>
                <a:gd name="T14" fmla="*/ 48 w 58"/>
                <a:gd name="T15" fmla="*/ 19 h 49"/>
                <a:gd name="T16" fmla="*/ 58 w 58"/>
                <a:gd name="T17" fmla="*/ 29 h 49"/>
                <a:gd name="T18" fmla="*/ 58 w 58"/>
                <a:gd name="T19" fmla="*/ 29 h 49"/>
                <a:gd name="T20" fmla="*/ 48 w 58"/>
                <a:gd name="T21" fmla="*/ 49 h 49"/>
                <a:gd name="T22" fmla="*/ 39 w 58"/>
                <a:gd name="T23" fmla="*/ 49 h 49"/>
                <a:gd name="T24" fmla="*/ 29 w 58"/>
                <a:gd name="T25" fmla="*/ 49 h 49"/>
                <a:gd name="T26" fmla="*/ 19 w 58"/>
                <a:gd name="T27" fmla="*/ 39 h 49"/>
                <a:gd name="T28" fmla="*/ 19 w 58"/>
                <a:gd name="T29" fmla="*/ 49 h 49"/>
                <a:gd name="T30" fmla="*/ 9 w 58"/>
                <a:gd name="T31" fmla="*/ 49 h 49"/>
                <a:gd name="T32" fmla="*/ 9 w 58"/>
                <a:gd name="T33" fmla="*/ 49 h 49"/>
                <a:gd name="T34" fmla="*/ 9 w 58"/>
                <a:gd name="T35" fmla="*/ 39 h 49"/>
                <a:gd name="T36" fmla="*/ 9 w 58"/>
                <a:gd name="T37" fmla="*/ 19 h 49"/>
                <a:gd name="T38" fmla="*/ 0 w 58"/>
                <a:gd name="T39" fmla="*/ 10 h 49"/>
                <a:gd name="T40" fmla="*/ 0 w 58"/>
                <a:gd name="T41" fmla="*/ 0 h 4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58"/>
                <a:gd name="T64" fmla="*/ 0 h 49"/>
                <a:gd name="T65" fmla="*/ 58 w 58"/>
                <a:gd name="T66" fmla="*/ 49 h 49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58" h="49">
                  <a:moveTo>
                    <a:pt x="0" y="0"/>
                  </a:moveTo>
                  <a:lnTo>
                    <a:pt x="19" y="0"/>
                  </a:lnTo>
                  <a:lnTo>
                    <a:pt x="29" y="0"/>
                  </a:lnTo>
                  <a:lnTo>
                    <a:pt x="39" y="0"/>
                  </a:lnTo>
                  <a:lnTo>
                    <a:pt x="48" y="0"/>
                  </a:lnTo>
                  <a:lnTo>
                    <a:pt x="58" y="0"/>
                  </a:lnTo>
                  <a:lnTo>
                    <a:pt x="48" y="10"/>
                  </a:lnTo>
                  <a:lnTo>
                    <a:pt x="48" y="19"/>
                  </a:lnTo>
                  <a:lnTo>
                    <a:pt x="58" y="29"/>
                  </a:lnTo>
                  <a:lnTo>
                    <a:pt x="48" y="49"/>
                  </a:lnTo>
                  <a:lnTo>
                    <a:pt x="39" y="49"/>
                  </a:lnTo>
                  <a:lnTo>
                    <a:pt x="29" y="49"/>
                  </a:lnTo>
                  <a:lnTo>
                    <a:pt x="19" y="39"/>
                  </a:lnTo>
                  <a:lnTo>
                    <a:pt x="19" y="49"/>
                  </a:lnTo>
                  <a:lnTo>
                    <a:pt x="9" y="49"/>
                  </a:lnTo>
                  <a:lnTo>
                    <a:pt x="9" y="39"/>
                  </a:lnTo>
                  <a:lnTo>
                    <a:pt x="9" y="19"/>
                  </a:lnTo>
                  <a:lnTo>
                    <a:pt x="0" y="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FBFB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8715" name="Freeform 101"/>
            <p:cNvSpPr>
              <a:spLocks noChangeAspect="1"/>
            </p:cNvSpPr>
            <p:nvPr/>
          </p:nvSpPr>
          <p:spPr bwMode="auto">
            <a:xfrm>
              <a:off x="7755" y="2976"/>
              <a:ext cx="58" cy="49"/>
            </a:xfrm>
            <a:custGeom>
              <a:avLst/>
              <a:gdLst>
                <a:gd name="T0" fmla="*/ 0 w 58"/>
                <a:gd name="T1" fmla="*/ 0 h 49"/>
                <a:gd name="T2" fmla="*/ 19 w 58"/>
                <a:gd name="T3" fmla="*/ 0 h 49"/>
                <a:gd name="T4" fmla="*/ 29 w 58"/>
                <a:gd name="T5" fmla="*/ 0 h 49"/>
                <a:gd name="T6" fmla="*/ 39 w 58"/>
                <a:gd name="T7" fmla="*/ 0 h 49"/>
                <a:gd name="T8" fmla="*/ 48 w 58"/>
                <a:gd name="T9" fmla="*/ 0 h 49"/>
                <a:gd name="T10" fmla="*/ 58 w 58"/>
                <a:gd name="T11" fmla="*/ 0 h 49"/>
                <a:gd name="T12" fmla="*/ 48 w 58"/>
                <a:gd name="T13" fmla="*/ 10 h 49"/>
                <a:gd name="T14" fmla="*/ 48 w 58"/>
                <a:gd name="T15" fmla="*/ 19 h 49"/>
                <a:gd name="T16" fmla="*/ 58 w 58"/>
                <a:gd name="T17" fmla="*/ 29 h 49"/>
                <a:gd name="T18" fmla="*/ 58 w 58"/>
                <a:gd name="T19" fmla="*/ 29 h 49"/>
                <a:gd name="T20" fmla="*/ 48 w 58"/>
                <a:gd name="T21" fmla="*/ 49 h 49"/>
                <a:gd name="T22" fmla="*/ 39 w 58"/>
                <a:gd name="T23" fmla="*/ 49 h 49"/>
                <a:gd name="T24" fmla="*/ 29 w 58"/>
                <a:gd name="T25" fmla="*/ 49 h 49"/>
                <a:gd name="T26" fmla="*/ 19 w 58"/>
                <a:gd name="T27" fmla="*/ 39 h 49"/>
                <a:gd name="T28" fmla="*/ 19 w 58"/>
                <a:gd name="T29" fmla="*/ 49 h 49"/>
                <a:gd name="T30" fmla="*/ 9 w 58"/>
                <a:gd name="T31" fmla="*/ 49 h 49"/>
                <a:gd name="T32" fmla="*/ 9 w 58"/>
                <a:gd name="T33" fmla="*/ 49 h 49"/>
                <a:gd name="T34" fmla="*/ 9 w 58"/>
                <a:gd name="T35" fmla="*/ 39 h 49"/>
                <a:gd name="T36" fmla="*/ 9 w 58"/>
                <a:gd name="T37" fmla="*/ 19 h 49"/>
                <a:gd name="T38" fmla="*/ 0 w 58"/>
                <a:gd name="T39" fmla="*/ 10 h 49"/>
                <a:gd name="T40" fmla="*/ 0 w 58"/>
                <a:gd name="T41" fmla="*/ 0 h 4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58"/>
                <a:gd name="T64" fmla="*/ 0 h 49"/>
                <a:gd name="T65" fmla="*/ 58 w 58"/>
                <a:gd name="T66" fmla="*/ 49 h 49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58" h="49">
                  <a:moveTo>
                    <a:pt x="0" y="0"/>
                  </a:moveTo>
                  <a:lnTo>
                    <a:pt x="19" y="0"/>
                  </a:lnTo>
                  <a:lnTo>
                    <a:pt x="29" y="0"/>
                  </a:lnTo>
                  <a:lnTo>
                    <a:pt x="39" y="0"/>
                  </a:lnTo>
                  <a:lnTo>
                    <a:pt x="48" y="0"/>
                  </a:lnTo>
                  <a:lnTo>
                    <a:pt x="58" y="0"/>
                  </a:lnTo>
                  <a:lnTo>
                    <a:pt x="48" y="10"/>
                  </a:lnTo>
                  <a:lnTo>
                    <a:pt x="48" y="19"/>
                  </a:lnTo>
                  <a:lnTo>
                    <a:pt x="58" y="29"/>
                  </a:lnTo>
                  <a:lnTo>
                    <a:pt x="48" y="49"/>
                  </a:lnTo>
                  <a:lnTo>
                    <a:pt x="39" y="49"/>
                  </a:lnTo>
                  <a:lnTo>
                    <a:pt x="29" y="49"/>
                  </a:lnTo>
                  <a:lnTo>
                    <a:pt x="19" y="39"/>
                  </a:lnTo>
                  <a:lnTo>
                    <a:pt x="19" y="49"/>
                  </a:lnTo>
                  <a:lnTo>
                    <a:pt x="9" y="49"/>
                  </a:lnTo>
                  <a:lnTo>
                    <a:pt x="9" y="39"/>
                  </a:lnTo>
                  <a:lnTo>
                    <a:pt x="9" y="19"/>
                  </a:lnTo>
                  <a:lnTo>
                    <a:pt x="0" y="10"/>
                  </a:ln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18685" name="Freeform 95"/>
          <p:cNvSpPr>
            <a:spLocks noChangeAspect="1"/>
          </p:cNvSpPr>
          <p:nvPr>
            <p:custDataLst>
              <p:tags r:id="rId251"/>
            </p:custDataLst>
          </p:nvPr>
        </p:nvSpPr>
        <p:spPr bwMode="auto">
          <a:xfrm>
            <a:off x="7480300" y="4287838"/>
            <a:ext cx="15875" cy="17462"/>
          </a:xfrm>
          <a:custGeom>
            <a:avLst/>
            <a:gdLst>
              <a:gd name="T0" fmla="*/ 0 w 20"/>
              <a:gd name="T1" fmla="*/ 0 h 29"/>
              <a:gd name="T2" fmla="*/ 7938 w 20"/>
              <a:gd name="T3" fmla="*/ 0 h 29"/>
              <a:gd name="T4" fmla="*/ 15875 w 20"/>
              <a:gd name="T5" fmla="*/ 6022 h 29"/>
              <a:gd name="T6" fmla="*/ 15875 w 20"/>
              <a:gd name="T7" fmla="*/ 12043 h 29"/>
              <a:gd name="T8" fmla="*/ 7938 w 20"/>
              <a:gd name="T9" fmla="*/ 17463 h 29"/>
              <a:gd name="T10" fmla="*/ 0 w 20"/>
              <a:gd name="T11" fmla="*/ 12043 h 29"/>
              <a:gd name="T12" fmla="*/ 0 w 20"/>
              <a:gd name="T13" fmla="*/ 6022 h 29"/>
              <a:gd name="T14" fmla="*/ 0 w 20"/>
              <a:gd name="T15" fmla="*/ 0 h 2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0"/>
              <a:gd name="T25" fmla="*/ 0 h 29"/>
              <a:gd name="T26" fmla="*/ 20 w 20"/>
              <a:gd name="T27" fmla="*/ 29 h 29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0" h="29">
                <a:moveTo>
                  <a:pt x="0" y="0"/>
                </a:moveTo>
                <a:lnTo>
                  <a:pt x="10" y="0"/>
                </a:lnTo>
                <a:lnTo>
                  <a:pt x="20" y="10"/>
                </a:lnTo>
                <a:lnTo>
                  <a:pt x="20" y="20"/>
                </a:lnTo>
                <a:lnTo>
                  <a:pt x="10" y="29"/>
                </a:lnTo>
                <a:lnTo>
                  <a:pt x="0" y="20"/>
                </a:lnTo>
                <a:lnTo>
                  <a:pt x="0" y="10"/>
                </a:lnTo>
                <a:lnTo>
                  <a:pt x="0" y="0"/>
                </a:lnTo>
                <a:close/>
              </a:path>
            </a:pathLst>
          </a:custGeom>
          <a:solidFill>
            <a:srgbClr val="969696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grpSp>
        <p:nvGrpSpPr>
          <p:cNvPr id="18686" name="Group 92"/>
          <p:cNvGrpSpPr>
            <a:grpSpLocks noChangeAspect="1"/>
          </p:cNvGrpSpPr>
          <p:nvPr>
            <p:custDataLst>
              <p:tags r:id="rId252"/>
            </p:custDataLst>
          </p:nvPr>
        </p:nvGrpSpPr>
        <p:grpSpPr bwMode="auto">
          <a:xfrm>
            <a:off x="7480300" y="4287838"/>
            <a:ext cx="15875" cy="17462"/>
            <a:chOff x="9110" y="2527"/>
            <a:chExt cx="20" cy="29"/>
          </a:xfrm>
        </p:grpSpPr>
        <p:sp>
          <p:nvSpPr>
            <p:cNvPr id="18712" name="Freeform 94"/>
            <p:cNvSpPr>
              <a:spLocks noChangeAspect="1"/>
            </p:cNvSpPr>
            <p:nvPr/>
          </p:nvSpPr>
          <p:spPr bwMode="auto">
            <a:xfrm>
              <a:off x="9110" y="2527"/>
              <a:ext cx="20" cy="29"/>
            </a:xfrm>
            <a:custGeom>
              <a:avLst/>
              <a:gdLst>
                <a:gd name="T0" fmla="*/ 0 w 20"/>
                <a:gd name="T1" fmla="*/ 0 h 29"/>
                <a:gd name="T2" fmla="*/ 10 w 20"/>
                <a:gd name="T3" fmla="*/ 0 h 29"/>
                <a:gd name="T4" fmla="*/ 20 w 20"/>
                <a:gd name="T5" fmla="*/ 10 h 29"/>
                <a:gd name="T6" fmla="*/ 20 w 20"/>
                <a:gd name="T7" fmla="*/ 20 h 29"/>
                <a:gd name="T8" fmla="*/ 10 w 20"/>
                <a:gd name="T9" fmla="*/ 29 h 29"/>
                <a:gd name="T10" fmla="*/ 0 w 20"/>
                <a:gd name="T11" fmla="*/ 20 h 29"/>
                <a:gd name="T12" fmla="*/ 0 w 20"/>
                <a:gd name="T13" fmla="*/ 10 h 29"/>
                <a:gd name="T14" fmla="*/ 0 w 20"/>
                <a:gd name="T15" fmla="*/ 0 h 2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0"/>
                <a:gd name="T25" fmla="*/ 0 h 29"/>
                <a:gd name="T26" fmla="*/ 20 w 20"/>
                <a:gd name="T27" fmla="*/ 29 h 2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0" h="29">
                  <a:moveTo>
                    <a:pt x="0" y="0"/>
                  </a:moveTo>
                  <a:lnTo>
                    <a:pt x="10" y="0"/>
                  </a:lnTo>
                  <a:lnTo>
                    <a:pt x="20" y="10"/>
                  </a:lnTo>
                  <a:lnTo>
                    <a:pt x="20" y="20"/>
                  </a:lnTo>
                  <a:lnTo>
                    <a:pt x="10" y="29"/>
                  </a:lnTo>
                  <a:lnTo>
                    <a:pt x="0" y="20"/>
                  </a:lnTo>
                  <a:lnTo>
                    <a:pt x="0" y="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6969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8713" name="Freeform 93"/>
            <p:cNvSpPr>
              <a:spLocks noChangeAspect="1"/>
            </p:cNvSpPr>
            <p:nvPr/>
          </p:nvSpPr>
          <p:spPr bwMode="auto">
            <a:xfrm>
              <a:off x="9110" y="2527"/>
              <a:ext cx="20" cy="29"/>
            </a:xfrm>
            <a:custGeom>
              <a:avLst/>
              <a:gdLst>
                <a:gd name="T0" fmla="*/ 0 w 20"/>
                <a:gd name="T1" fmla="*/ 0 h 29"/>
                <a:gd name="T2" fmla="*/ 10 w 20"/>
                <a:gd name="T3" fmla="*/ 0 h 29"/>
                <a:gd name="T4" fmla="*/ 20 w 20"/>
                <a:gd name="T5" fmla="*/ 10 h 29"/>
                <a:gd name="T6" fmla="*/ 20 w 20"/>
                <a:gd name="T7" fmla="*/ 20 h 29"/>
                <a:gd name="T8" fmla="*/ 10 w 20"/>
                <a:gd name="T9" fmla="*/ 29 h 29"/>
                <a:gd name="T10" fmla="*/ 0 w 20"/>
                <a:gd name="T11" fmla="*/ 20 h 29"/>
                <a:gd name="T12" fmla="*/ 0 w 20"/>
                <a:gd name="T13" fmla="*/ 10 h 29"/>
                <a:gd name="T14" fmla="*/ 0 w 20"/>
                <a:gd name="T15" fmla="*/ 0 h 2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0"/>
                <a:gd name="T25" fmla="*/ 0 h 29"/>
                <a:gd name="T26" fmla="*/ 20 w 20"/>
                <a:gd name="T27" fmla="*/ 29 h 2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0" h="29">
                  <a:moveTo>
                    <a:pt x="0" y="0"/>
                  </a:moveTo>
                  <a:lnTo>
                    <a:pt x="10" y="0"/>
                  </a:lnTo>
                  <a:lnTo>
                    <a:pt x="20" y="10"/>
                  </a:lnTo>
                  <a:lnTo>
                    <a:pt x="20" y="20"/>
                  </a:lnTo>
                  <a:lnTo>
                    <a:pt x="10" y="29"/>
                  </a:lnTo>
                  <a:lnTo>
                    <a:pt x="0" y="20"/>
                  </a:lnTo>
                  <a:lnTo>
                    <a:pt x="0" y="10"/>
                  </a:lnTo>
                  <a:lnTo>
                    <a:pt x="0" y="0"/>
                  </a:lnTo>
                </a:path>
              </a:pathLst>
            </a:custGeom>
            <a:solidFill>
              <a:srgbClr val="969696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18687" name="Freeform 85"/>
          <p:cNvSpPr>
            <a:spLocks noChangeAspect="1"/>
          </p:cNvSpPr>
          <p:nvPr>
            <p:custDataLst>
              <p:tags r:id="rId253"/>
            </p:custDataLst>
          </p:nvPr>
        </p:nvSpPr>
        <p:spPr bwMode="auto">
          <a:xfrm>
            <a:off x="6831013" y="4044950"/>
            <a:ext cx="7937" cy="11113"/>
          </a:xfrm>
          <a:custGeom>
            <a:avLst/>
            <a:gdLst>
              <a:gd name="T0" fmla="*/ 0 w 10"/>
              <a:gd name="T1" fmla="*/ 0 h 19"/>
              <a:gd name="T2" fmla="*/ 7937 w 10"/>
              <a:gd name="T3" fmla="*/ 0 h 19"/>
              <a:gd name="T4" fmla="*/ 7937 w 10"/>
              <a:gd name="T5" fmla="*/ 5264 h 19"/>
              <a:gd name="T6" fmla="*/ 7937 w 10"/>
              <a:gd name="T7" fmla="*/ 11112 h 19"/>
              <a:gd name="T8" fmla="*/ 0 w 10"/>
              <a:gd name="T9" fmla="*/ 11112 h 19"/>
              <a:gd name="T10" fmla="*/ 0 w 10"/>
              <a:gd name="T11" fmla="*/ 5264 h 19"/>
              <a:gd name="T12" fmla="*/ 0 w 10"/>
              <a:gd name="T13" fmla="*/ 0 h 1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0"/>
              <a:gd name="T22" fmla="*/ 0 h 19"/>
              <a:gd name="T23" fmla="*/ 10 w 10"/>
              <a:gd name="T24" fmla="*/ 19 h 1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0" h="19">
                <a:moveTo>
                  <a:pt x="0" y="0"/>
                </a:moveTo>
                <a:lnTo>
                  <a:pt x="10" y="0"/>
                </a:lnTo>
                <a:lnTo>
                  <a:pt x="10" y="9"/>
                </a:lnTo>
                <a:lnTo>
                  <a:pt x="10" y="19"/>
                </a:lnTo>
                <a:lnTo>
                  <a:pt x="0" y="19"/>
                </a:lnTo>
                <a:lnTo>
                  <a:pt x="0" y="9"/>
                </a:lnTo>
                <a:lnTo>
                  <a:pt x="0" y="0"/>
                </a:lnTo>
                <a:close/>
              </a:path>
            </a:pathLst>
          </a:custGeom>
          <a:solidFill>
            <a:srgbClr val="969696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grpSp>
        <p:nvGrpSpPr>
          <p:cNvPr id="18688" name="Group 82"/>
          <p:cNvGrpSpPr>
            <a:grpSpLocks noChangeAspect="1"/>
          </p:cNvGrpSpPr>
          <p:nvPr>
            <p:custDataLst>
              <p:tags r:id="rId254"/>
            </p:custDataLst>
          </p:nvPr>
        </p:nvGrpSpPr>
        <p:grpSpPr bwMode="auto">
          <a:xfrm>
            <a:off x="6831013" y="4044950"/>
            <a:ext cx="7937" cy="11113"/>
            <a:chOff x="8135" y="2137"/>
            <a:chExt cx="10" cy="19"/>
          </a:xfrm>
        </p:grpSpPr>
        <p:sp>
          <p:nvSpPr>
            <p:cNvPr id="18710" name="Freeform 84"/>
            <p:cNvSpPr>
              <a:spLocks noChangeAspect="1"/>
            </p:cNvSpPr>
            <p:nvPr/>
          </p:nvSpPr>
          <p:spPr bwMode="auto">
            <a:xfrm>
              <a:off x="8135" y="2137"/>
              <a:ext cx="10" cy="19"/>
            </a:xfrm>
            <a:custGeom>
              <a:avLst/>
              <a:gdLst>
                <a:gd name="T0" fmla="*/ 0 w 10"/>
                <a:gd name="T1" fmla="*/ 0 h 19"/>
                <a:gd name="T2" fmla="*/ 10 w 10"/>
                <a:gd name="T3" fmla="*/ 0 h 19"/>
                <a:gd name="T4" fmla="*/ 10 w 10"/>
                <a:gd name="T5" fmla="*/ 9 h 19"/>
                <a:gd name="T6" fmla="*/ 10 w 10"/>
                <a:gd name="T7" fmla="*/ 19 h 19"/>
                <a:gd name="T8" fmla="*/ 0 w 10"/>
                <a:gd name="T9" fmla="*/ 19 h 19"/>
                <a:gd name="T10" fmla="*/ 0 w 10"/>
                <a:gd name="T11" fmla="*/ 9 h 19"/>
                <a:gd name="T12" fmla="*/ 0 w 10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19"/>
                <a:gd name="T23" fmla="*/ 10 w 10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19">
                  <a:moveTo>
                    <a:pt x="0" y="0"/>
                  </a:moveTo>
                  <a:lnTo>
                    <a:pt x="10" y="0"/>
                  </a:lnTo>
                  <a:lnTo>
                    <a:pt x="10" y="9"/>
                  </a:lnTo>
                  <a:lnTo>
                    <a:pt x="10" y="19"/>
                  </a:lnTo>
                  <a:lnTo>
                    <a:pt x="0" y="19"/>
                  </a:lnTo>
                  <a:lnTo>
                    <a:pt x="0" y="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6969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8711" name="Freeform 83"/>
            <p:cNvSpPr>
              <a:spLocks noChangeAspect="1"/>
            </p:cNvSpPr>
            <p:nvPr/>
          </p:nvSpPr>
          <p:spPr bwMode="auto">
            <a:xfrm>
              <a:off x="8135" y="2137"/>
              <a:ext cx="10" cy="19"/>
            </a:xfrm>
            <a:custGeom>
              <a:avLst/>
              <a:gdLst>
                <a:gd name="T0" fmla="*/ 0 w 10"/>
                <a:gd name="T1" fmla="*/ 0 h 19"/>
                <a:gd name="T2" fmla="*/ 10 w 10"/>
                <a:gd name="T3" fmla="*/ 0 h 19"/>
                <a:gd name="T4" fmla="*/ 10 w 10"/>
                <a:gd name="T5" fmla="*/ 9 h 19"/>
                <a:gd name="T6" fmla="*/ 10 w 10"/>
                <a:gd name="T7" fmla="*/ 19 h 19"/>
                <a:gd name="T8" fmla="*/ 0 w 10"/>
                <a:gd name="T9" fmla="*/ 19 h 19"/>
                <a:gd name="T10" fmla="*/ 0 w 10"/>
                <a:gd name="T11" fmla="*/ 9 h 19"/>
                <a:gd name="T12" fmla="*/ 0 w 10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19"/>
                <a:gd name="T23" fmla="*/ 10 w 10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19">
                  <a:moveTo>
                    <a:pt x="0" y="0"/>
                  </a:moveTo>
                  <a:lnTo>
                    <a:pt x="10" y="0"/>
                  </a:lnTo>
                  <a:lnTo>
                    <a:pt x="10" y="9"/>
                  </a:lnTo>
                  <a:lnTo>
                    <a:pt x="10" y="19"/>
                  </a:lnTo>
                  <a:lnTo>
                    <a:pt x="0" y="19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969696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18689" name="Freeform 60"/>
          <p:cNvSpPr>
            <a:spLocks noChangeAspect="1"/>
          </p:cNvSpPr>
          <p:nvPr>
            <p:custDataLst>
              <p:tags r:id="rId255"/>
            </p:custDataLst>
          </p:nvPr>
        </p:nvSpPr>
        <p:spPr bwMode="auto">
          <a:xfrm>
            <a:off x="6526213" y="5027613"/>
            <a:ext cx="212725" cy="139700"/>
          </a:xfrm>
          <a:custGeom>
            <a:avLst/>
            <a:gdLst>
              <a:gd name="T0" fmla="*/ 0 w 321"/>
              <a:gd name="T1" fmla="*/ 78853 h 225"/>
              <a:gd name="T2" fmla="*/ 0 w 321"/>
              <a:gd name="T3" fmla="*/ 67056 h 225"/>
              <a:gd name="T4" fmla="*/ 0 w 321"/>
              <a:gd name="T5" fmla="*/ 54638 h 225"/>
              <a:gd name="T6" fmla="*/ 5964 w 321"/>
              <a:gd name="T7" fmla="*/ 42841 h 225"/>
              <a:gd name="T8" fmla="*/ 12591 w 321"/>
              <a:gd name="T9" fmla="*/ 42841 h 225"/>
              <a:gd name="T10" fmla="*/ 19218 w 321"/>
              <a:gd name="T11" fmla="*/ 36632 h 225"/>
              <a:gd name="T12" fmla="*/ 25845 w 321"/>
              <a:gd name="T13" fmla="*/ 30424 h 225"/>
              <a:gd name="T14" fmla="*/ 25845 w 321"/>
              <a:gd name="T15" fmla="*/ 30424 h 225"/>
              <a:gd name="T16" fmla="*/ 45063 w 321"/>
              <a:gd name="T17" fmla="*/ 24215 h 225"/>
              <a:gd name="T18" fmla="*/ 45063 w 321"/>
              <a:gd name="T19" fmla="*/ 12418 h 225"/>
              <a:gd name="T20" fmla="*/ 57654 w 321"/>
              <a:gd name="T21" fmla="*/ 12418 h 225"/>
              <a:gd name="T22" fmla="*/ 57654 w 321"/>
              <a:gd name="T23" fmla="*/ 18627 h 225"/>
              <a:gd name="T24" fmla="*/ 64281 w 321"/>
              <a:gd name="T25" fmla="*/ 24215 h 225"/>
              <a:gd name="T26" fmla="*/ 70908 w 321"/>
              <a:gd name="T27" fmla="*/ 12418 h 225"/>
              <a:gd name="T28" fmla="*/ 83500 w 321"/>
              <a:gd name="T29" fmla="*/ 12418 h 225"/>
              <a:gd name="T30" fmla="*/ 90126 w 321"/>
              <a:gd name="T31" fmla="*/ 12418 h 225"/>
              <a:gd name="T32" fmla="*/ 103380 w 321"/>
              <a:gd name="T33" fmla="*/ 12418 h 225"/>
              <a:gd name="T34" fmla="*/ 109345 w 321"/>
              <a:gd name="T35" fmla="*/ 12418 h 225"/>
              <a:gd name="T36" fmla="*/ 115972 w 321"/>
              <a:gd name="T37" fmla="*/ 18627 h 225"/>
              <a:gd name="T38" fmla="*/ 122599 w 321"/>
              <a:gd name="T39" fmla="*/ 24215 h 225"/>
              <a:gd name="T40" fmla="*/ 135190 w 321"/>
              <a:gd name="T41" fmla="*/ 18627 h 225"/>
              <a:gd name="T42" fmla="*/ 155071 w 321"/>
              <a:gd name="T43" fmla="*/ 18627 h 225"/>
              <a:gd name="T44" fmla="*/ 161035 w 321"/>
              <a:gd name="T45" fmla="*/ 18627 h 225"/>
              <a:gd name="T46" fmla="*/ 174289 w 321"/>
              <a:gd name="T47" fmla="*/ 12418 h 225"/>
              <a:gd name="T48" fmla="*/ 174289 w 321"/>
              <a:gd name="T49" fmla="*/ 6209 h 225"/>
              <a:gd name="T50" fmla="*/ 180916 w 321"/>
              <a:gd name="T51" fmla="*/ 6209 h 225"/>
              <a:gd name="T52" fmla="*/ 186880 w 321"/>
              <a:gd name="T53" fmla="*/ 12418 h 225"/>
              <a:gd name="T54" fmla="*/ 200134 w 321"/>
              <a:gd name="T55" fmla="*/ 0 h 225"/>
              <a:gd name="T56" fmla="*/ 206761 w 321"/>
              <a:gd name="T57" fmla="*/ 0 h 225"/>
              <a:gd name="T58" fmla="*/ 212725 w 321"/>
              <a:gd name="T59" fmla="*/ 12418 h 225"/>
              <a:gd name="T60" fmla="*/ 212725 w 321"/>
              <a:gd name="T61" fmla="*/ 18627 h 225"/>
              <a:gd name="T62" fmla="*/ 200134 w 321"/>
              <a:gd name="T63" fmla="*/ 18627 h 225"/>
              <a:gd name="T64" fmla="*/ 193507 w 321"/>
              <a:gd name="T65" fmla="*/ 24215 h 225"/>
              <a:gd name="T66" fmla="*/ 193507 w 321"/>
              <a:gd name="T67" fmla="*/ 24215 h 225"/>
              <a:gd name="T68" fmla="*/ 180916 w 321"/>
              <a:gd name="T69" fmla="*/ 30424 h 225"/>
              <a:gd name="T70" fmla="*/ 174289 w 321"/>
              <a:gd name="T71" fmla="*/ 42841 h 225"/>
              <a:gd name="T72" fmla="*/ 161035 w 321"/>
              <a:gd name="T73" fmla="*/ 60847 h 225"/>
              <a:gd name="T74" fmla="*/ 148444 w 321"/>
              <a:gd name="T75" fmla="*/ 67056 h 225"/>
              <a:gd name="T76" fmla="*/ 135190 w 321"/>
              <a:gd name="T77" fmla="*/ 78853 h 225"/>
              <a:gd name="T78" fmla="*/ 129225 w 321"/>
              <a:gd name="T79" fmla="*/ 91271 h 225"/>
              <a:gd name="T80" fmla="*/ 122599 w 321"/>
              <a:gd name="T81" fmla="*/ 109276 h 225"/>
              <a:gd name="T82" fmla="*/ 109345 w 321"/>
              <a:gd name="T83" fmla="*/ 115485 h 225"/>
              <a:gd name="T84" fmla="*/ 96753 w 321"/>
              <a:gd name="T85" fmla="*/ 127282 h 225"/>
              <a:gd name="T86" fmla="*/ 83500 w 321"/>
              <a:gd name="T87" fmla="*/ 133491 h 225"/>
              <a:gd name="T88" fmla="*/ 77535 w 321"/>
              <a:gd name="T89" fmla="*/ 133491 h 225"/>
              <a:gd name="T90" fmla="*/ 64281 w 321"/>
              <a:gd name="T91" fmla="*/ 139700 h 225"/>
              <a:gd name="T92" fmla="*/ 51690 w 321"/>
              <a:gd name="T93" fmla="*/ 139700 h 225"/>
              <a:gd name="T94" fmla="*/ 45063 w 321"/>
              <a:gd name="T95" fmla="*/ 127282 h 225"/>
              <a:gd name="T96" fmla="*/ 38436 w 321"/>
              <a:gd name="T97" fmla="*/ 127282 h 225"/>
              <a:gd name="T98" fmla="*/ 25845 w 321"/>
              <a:gd name="T99" fmla="*/ 127282 h 225"/>
              <a:gd name="T100" fmla="*/ 25845 w 321"/>
              <a:gd name="T101" fmla="*/ 109276 h 225"/>
              <a:gd name="T102" fmla="*/ 12591 w 321"/>
              <a:gd name="T103" fmla="*/ 96859 h 225"/>
              <a:gd name="T104" fmla="*/ 5964 w 321"/>
              <a:gd name="T105" fmla="*/ 91271 h 225"/>
              <a:gd name="T106" fmla="*/ 5964 w 321"/>
              <a:gd name="T107" fmla="*/ 78853 h 225"/>
              <a:gd name="T108" fmla="*/ 0 w 321"/>
              <a:gd name="T109" fmla="*/ 78853 h 225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321"/>
              <a:gd name="T166" fmla="*/ 0 h 225"/>
              <a:gd name="T167" fmla="*/ 321 w 321"/>
              <a:gd name="T168" fmla="*/ 225 h 225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321" h="225">
                <a:moveTo>
                  <a:pt x="0" y="127"/>
                </a:moveTo>
                <a:lnTo>
                  <a:pt x="0" y="108"/>
                </a:lnTo>
                <a:lnTo>
                  <a:pt x="0" y="88"/>
                </a:lnTo>
                <a:lnTo>
                  <a:pt x="9" y="69"/>
                </a:lnTo>
                <a:lnTo>
                  <a:pt x="19" y="69"/>
                </a:lnTo>
                <a:lnTo>
                  <a:pt x="29" y="59"/>
                </a:lnTo>
                <a:lnTo>
                  <a:pt x="39" y="49"/>
                </a:lnTo>
                <a:lnTo>
                  <a:pt x="68" y="39"/>
                </a:lnTo>
                <a:lnTo>
                  <a:pt x="68" y="20"/>
                </a:lnTo>
                <a:lnTo>
                  <a:pt x="87" y="20"/>
                </a:lnTo>
                <a:lnTo>
                  <a:pt x="87" y="30"/>
                </a:lnTo>
                <a:lnTo>
                  <a:pt x="97" y="39"/>
                </a:lnTo>
                <a:lnTo>
                  <a:pt x="107" y="20"/>
                </a:lnTo>
                <a:lnTo>
                  <a:pt x="126" y="20"/>
                </a:lnTo>
                <a:lnTo>
                  <a:pt x="136" y="20"/>
                </a:lnTo>
                <a:lnTo>
                  <a:pt x="156" y="20"/>
                </a:lnTo>
                <a:lnTo>
                  <a:pt x="165" y="20"/>
                </a:lnTo>
                <a:lnTo>
                  <a:pt x="175" y="30"/>
                </a:lnTo>
                <a:lnTo>
                  <a:pt x="185" y="39"/>
                </a:lnTo>
                <a:lnTo>
                  <a:pt x="204" y="30"/>
                </a:lnTo>
                <a:lnTo>
                  <a:pt x="234" y="30"/>
                </a:lnTo>
                <a:lnTo>
                  <a:pt x="243" y="30"/>
                </a:lnTo>
                <a:lnTo>
                  <a:pt x="263" y="20"/>
                </a:lnTo>
                <a:lnTo>
                  <a:pt x="263" y="10"/>
                </a:lnTo>
                <a:lnTo>
                  <a:pt x="273" y="10"/>
                </a:lnTo>
                <a:lnTo>
                  <a:pt x="282" y="20"/>
                </a:lnTo>
                <a:lnTo>
                  <a:pt x="302" y="0"/>
                </a:lnTo>
                <a:lnTo>
                  <a:pt x="312" y="0"/>
                </a:lnTo>
                <a:lnTo>
                  <a:pt x="321" y="20"/>
                </a:lnTo>
                <a:lnTo>
                  <a:pt x="321" y="30"/>
                </a:lnTo>
                <a:lnTo>
                  <a:pt x="302" y="30"/>
                </a:lnTo>
                <a:lnTo>
                  <a:pt x="292" y="39"/>
                </a:lnTo>
                <a:lnTo>
                  <a:pt x="273" y="49"/>
                </a:lnTo>
                <a:lnTo>
                  <a:pt x="263" y="69"/>
                </a:lnTo>
                <a:lnTo>
                  <a:pt x="243" y="98"/>
                </a:lnTo>
                <a:lnTo>
                  <a:pt x="224" y="108"/>
                </a:lnTo>
                <a:lnTo>
                  <a:pt x="204" y="127"/>
                </a:lnTo>
                <a:lnTo>
                  <a:pt x="195" y="147"/>
                </a:lnTo>
                <a:lnTo>
                  <a:pt x="185" y="176"/>
                </a:lnTo>
                <a:lnTo>
                  <a:pt x="165" y="186"/>
                </a:lnTo>
                <a:lnTo>
                  <a:pt x="146" y="205"/>
                </a:lnTo>
                <a:lnTo>
                  <a:pt x="126" y="215"/>
                </a:lnTo>
                <a:lnTo>
                  <a:pt x="117" y="215"/>
                </a:lnTo>
                <a:lnTo>
                  <a:pt x="97" y="225"/>
                </a:lnTo>
                <a:lnTo>
                  <a:pt x="78" y="225"/>
                </a:lnTo>
                <a:lnTo>
                  <a:pt x="68" y="205"/>
                </a:lnTo>
                <a:lnTo>
                  <a:pt x="58" y="205"/>
                </a:lnTo>
                <a:lnTo>
                  <a:pt x="39" y="205"/>
                </a:lnTo>
                <a:lnTo>
                  <a:pt x="39" y="176"/>
                </a:lnTo>
                <a:lnTo>
                  <a:pt x="19" y="156"/>
                </a:lnTo>
                <a:lnTo>
                  <a:pt x="9" y="147"/>
                </a:lnTo>
                <a:lnTo>
                  <a:pt x="9" y="127"/>
                </a:lnTo>
                <a:lnTo>
                  <a:pt x="0" y="127"/>
                </a:lnTo>
                <a:close/>
              </a:path>
            </a:pathLst>
          </a:custGeom>
          <a:solidFill>
            <a:srgbClr val="CCECFF"/>
          </a:solidFill>
          <a:ln w="6350" cap="rnd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grpSp>
        <p:nvGrpSpPr>
          <p:cNvPr id="18690" name="Group 57"/>
          <p:cNvGrpSpPr>
            <a:grpSpLocks noChangeAspect="1"/>
          </p:cNvGrpSpPr>
          <p:nvPr>
            <p:custDataLst>
              <p:tags r:id="rId256"/>
            </p:custDataLst>
          </p:nvPr>
        </p:nvGrpSpPr>
        <p:grpSpPr bwMode="auto">
          <a:xfrm>
            <a:off x="6526213" y="5027613"/>
            <a:ext cx="212725" cy="139700"/>
            <a:chOff x="7677" y="3717"/>
            <a:chExt cx="321" cy="225"/>
          </a:xfrm>
        </p:grpSpPr>
        <p:sp>
          <p:nvSpPr>
            <p:cNvPr id="18708" name="Freeform 59"/>
            <p:cNvSpPr>
              <a:spLocks noChangeAspect="1"/>
            </p:cNvSpPr>
            <p:nvPr/>
          </p:nvSpPr>
          <p:spPr bwMode="auto">
            <a:xfrm>
              <a:off x="7677" y="3717"/>
              <a:ext cx="321" cy="225"/>
            </a:xfrm>
            <a:custGeom>
              <a:avLst/>
              <a:gdLst>
                <a:gd name="T0" fmla="*/ 0 w 321"/>
                <a:gd name="T1" fmla="*/ 127 h 225"/>
                <a:gd name="T2" fmla="*/ 0 w 321"/>
                <a:gd name="T3" fmla="*/ 108 h 225"/>
                <a:gd name="T4" fmla="*/ 0 w 321"/>
                <a:gd name="T5" fmla="*/ 88 h 225"/>
                <a:gd name="T6" fmla="*/ 9 w 321"/>
                <a:gd name="T7" fmla="*/ 69 h 225"/>
                <a:gd name="T8" fmla="*/ 19 w 321"/>
                <a:gd name="T9" fmla="*/ 69 h 225"/>
                <a:gd name="T10" fmla="*/ 29 w 321"/>
                <a:gd name="T11" fmla="*/ 59 h 225"/>
                <a:gd name="T12" fmla="*/ 39 w 321"/>
                <a:gd name="T13" fmla="*/ 49 h 225"/>
                <a:gd name="T14" fmla="*/ 39 w 321"/>
                <a:gd name="T15" fmla="*/ 49 h 225"/>
                <a:gd name="T16" fmla="*/ 68 w 321"/>
                <a:gd name="T17" fmla="*/ 39 h 225"/>
                <a:gd name="T18" fmla="*/ 68 w 321"/>
                <a:gd name="T19" fmla="*/ 20 h 225"/>
                <a:gd name="T20" fmla="*/ 78 w 321"/>
                <a:gd name="T21" fmla="*/ 20 h 225"/>
                <a:gd name="T22" fmla="*/ 87 w 321"/>
                <a:gd name="T23" fmla="*/ 30 h 225"/>
                <a:gd name="T24" fmla="*/ 97 w 321"/>
                <a:gd name="T25" fmla="*/ 39 h 225"/>
                <a:gd name="T26" fmla="*/ 107 w 321"/>
                <a:gd name="T27" fmla="*/ 20 h 225"/>
                <a:gd name="T28" fmla="*/ 126 w 321"/>
                <a:gd name="T29" fmla="*/ 20 h 225"/>
                <a:gd name="T30" fmla="*/ 136 w 321"/>
                <a:gd name="T31" fmla="*/ 10 h 225"/>
                <a:gd name="T32" fmla="*/ 156 w 321"/>
                <a:gd name="T33" fmla="*/ 20 h 225"/>
                <a:gd name="T34" fmla="*/ 165 w 321"/>
                <a:gd name="T35" fmla="*/ 20 h 225"/>
                <a:gd name="T36" fmla="*/ 175 w 321"/>
                <a:gd name="T37" fmla="*/ 30 h 225"/>
                <a:gd name="T38" fmla="*/ 185 w 321"/>
                <a:gd name="T39" fmla="*/ 30 h 225"/>
                <a:gd name="T40" fmla="*/ 204 w 321"/>
                <a:gd name="T41" fmla="*/ 30 h 225"/>
                <a:gd name="T42" fmla="*/ 234 w 321"/>
                <a:gd name="T43" fmla="*/ 30 h 225"/>
                <a:gd name="T44" fmla="*/ 243 w 321"/>
                <a:gd name="T45" fmla="*/ 30 h 225"/>
                <a:gd name="T46" fmla="*/ 263 w 321"/>
                <a:gd name="T47" fmla="*/ 20 h 225"/>
                <a:gd name="T48" fmla="*/ 263 w 321"/>
                <a:gd name="T49" fmla="*/ 10 h 225"/>
                <a:gd name="T50" fmla="*/ 273 w 321"/>
                <a:gd name="T51" fmla="*/ 10 h 225"/>
                <a:gd name="T52" fmla="*/ 282 w 321"/>
                <a:gd name="T53" fmla="*/ 10 h 225"/>
                <a:gd name="T54" fmla="*/ 302 w 321"/>
                <a:gd name="T55" fmla="*/ 0 h 225"/>
                <a:gd name="T56" fmla="*/ 312 w 321"/>
                <a:gd name="T57" fmla="*/ 0 h 225"/>
                <a:gd name="T58" fmla="*/ 321 w 321"/>
                <a:gd name="T59" fmla="*/ 10 h 225"/>
                <a:gd name="T60" fmla="*/ 321 w 321"/>
                <a:gd name="T61" fmla="*/ 30 h 225"/>
                <a:gd name="T62" fmla="*/ 302 w 321"/>
                <a:gd name="T63" fmla="*/ 30 h 225"/>
                <a:gd name="T64" fmla="*/ 292 w 321"/>
                <a:gd name="T65" fmla="*/ 30 h 225"/>
                <a:gd name="T66" fmla="*/ 292 w 321"/>
                <a:gd name="T67" fmla="*/ 39 h 225"/>
                <a:gd name="T68" fmla="*/ 282 w 321"/>
                <a:gd name="T69" fmla="*/ 49 h 225"/>
                <a:gd name="T70" fmla="*/ 263 w 321"/>
                <a:gd name="T71" fmla="*/ 69 h 225"/>
                <a:gd name="T72" fmla="*/ 243 w 321"/>
                <a:gd name="T73" fmla="*/ 98 h 225"/>
                <a:gd name="T74" fmla="*/ 224 w 321"/>
                <a:gd name="T75" fmla="*/ 108 h 225"/>
                <a:gd name="T76" fmla="*/ 204 w 321"/>
                <a:gd name="T77" fmla="*/ 127 h 225"/>
                <a:gd name="T78" fmla="*/ 195 w 321"/>
                <a:gd name="T79" fmla="*/ 147 h 225"/>
                <a:gd name="T80" fmla="*/ 185 w 321"/>
                <a:gd name="T81" fmla="*/ 176 h 225"/>
                <a:gd name="T82" fmla="*/ 165 w 321"/>
                <a:gd name="T83" fmla="*/ 195 h 225"/>
                <a:gd name="T84" fmla="*/ 146 w 321"/>
                <a:gd name="T85" fmla="*/ 205 h 225"/>
                <a:gd name="T86" fmla="*/ 136 w 321"/>
                <a:gd name="T87" fmla="*/ 215 h 225"/>
                <a:gd name="T88" fmla="*/ 117 w 321"/>
                <a:gd name="T89" fmla="*/ 215 h 225"/>
                <a:gd name="T90" fmla="*/ 97 w 321"/>
                <a:gd name="T91" fmla="*/ 225 h 225"/>
                <a:gd name="T92" fmla="*/ 78 w 321"/>
                <a:gd name="T93" fmla="*/ 225 h 225"/>
                <a:gd name="T94" fmla="*/ 68 w 321"/>
                <a:gd name="T95" fmla="*/ 215 h 225"/>
                <a:gd name="T96" fmla="*/ 58 w 321"/>
                <a:gd name="T97" fmla="*/ 215 h 225"/>
                <a:gd name="T98" fmla="*/ 39 w 321"/>
                <a:gd name="T99" fmla="*/ 205 h 225"/>
                <a:gd name="T100" fmla="*/ 39 w 321"/>
                <a:gd name="T101" fmla="*/ 176 h 225"/>
                <a:gd name="T102" fmla="*/ 19 w 321"/>
                <a:gd name="T103" fmla="*/ 156 h 225"/>
                <a:gd name="T104" fmla="*/ 9 w 321"/>
                <a:gd name="T105" fmla="*/ 147 h 225"/>
                <a:gd name="T106" fmla="*/ 9 w 321"/>
                <a:gd name="T107" fmla="*/ 127 h 225"/>
                <a:gd name="T108" fmla="*/ 0 w 321"/>
                <a:gd name="T109" fmla="*/ 127 h 225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321"/>
                <a:gd name="T166" fmla="*/ 0 h 225"/>
                <a:gd name="T167" fmla="*/ 321 w 321"/>
                <a:gd name="T168" fmla="*/ 225 h 225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321" h="225">
                  <a:moveTo>
                    <a:pt x="0" y="127"/>
                  </a:moveTo>
                  <a:lnTo>
                    <a:pt x="0" y="108"/>
                  </a:lnTo>
                  <a:lnTo>
                    <a:pt x="0" y="88"/>
                  </a:lnTo>
                  <a:lnTo>
                    <a:pt x="9" y="69"/>
                  </a:lnTo>
                  <a:lnTo>
                    <a:pt x="19" y="69"/>
                  </a:lnTo>
                  <a:lnTo>
                    <a:pt x="29" y="59"/>
                  </a:lnTo>
                  <a:lnTo>
                    <a:pt x="39" y="49"/>
                  </a:lnTo>
                  <a:lnTo>
                    <a:pt x="68" y="39"/>
                  </a:lnTo>
                  <a:lnTo>
                    <a:pt x="68" y="20"/>
                  </a:lnTo>
                  <a:lnTo>
                    <a:pt x="78" y="20"/>
                  </a:lnTo>
                  <a:lnTo>
                    <a:pt x="87" y="30"/>
                  </a:lnTo>
                  <a:lnTo>
                    <a:pt x="97" y="39"/>
                  </a:lnTo>
                  <a:lnTo>
                    <a:pt x="107" y="20"/>
                  </a:lnTo>
                  <a:lnTo>
                    <a:pt x="126" y="20"/>
                  </a:lnTo>
                  <a:lnTo>
                    <a:pt x="136" y="10"/>
                  </a:lnTo>
                  <a:lnTo>
                    <a:pt x="156" y="20"/>
                  </a:lnTo>
                  <a:lnTo>
                    <a:pt x="165" y="20"/>
                  </a:lnTo>
                  <a:lnTo>
                    <a:pt x="175" y="30"/>
                  </a:lnTo>
                  <a:lnTo>
                    <a:pt x="185" y="30"/>
                  </a:lnTo>
                  <a:lnTo>
                    <a:pt x="204" y="30"/>
                  </a:lnTo>
                  <a:lnTo>
                    <a:pt x="234" y="30"/>
                  </a:lnTo>
                  <a:lnTo>
                    <a:pt x="243" y="30"/>
                  </a:lnTo>
                  <a:lnTo>
                    <a:pt x="263" y="20"/>
                  </a:lnTo>
                  <a:lnTo>
                    <a:pt x="263" y="10"/>
                  </a:lnTo>
                  <a:lnTo>
                    <a:pt x="273" y="10"/>
                  </a:lnTo>
                  <a:lnTo>
                    <a:pt x="282" y="10"/>
                  </a:lnTo>
                  <a:lnTo>
                    <a:pt x="302" y="0"/>
                  </a:lnTo>
                  <a:lnTo>
                    <a:pt x="312" y="0"/>
                  </a:lnTo>
                  <a:lnTo>
                    <a:pt x="321" y="10"/>
                  </a:lnTo>
                  <a:lnTo>
                    <a:pt x="321" y="30"/>
                  </a:lnTo>
                  <a:lnTo>
                    <a:pt x="302" y="30"/>
                  </a:lnTo>
                  <a:lnTo>
                    <a:pt x="292" y="30"/>
                  </a:lnTo>
                  <a:lnTo>
                    <a:pt x="292" y="39"/>
                  </a:lnTo>
                  <a:lnTo>
                    <a:pt x="282" y="49"/>
                  </a:lnTo>
                  <a:lnTo>
                    <a:pt x="263" y="69"/>
                  </a:lnTo>
                  <a:lnTo>
                    <a:pt x="243" y="98"/>
                  </a:lnTo>
                  <a:lnTo>
                    <a:pt x="224" y="108"/>
                  </a:lnTo>
                  <a:lnTo>
                    <a:pt x="204" y="127"/>
                  </a:lnTo>
                  <a:lnTo>
                    <a:pt x="195" y="147"/>
                  </a:lnTo>
                  <a:lnTo>
                    <a:pt x="185" y="176"/>
                  </a:lnTo>
                  <a:lnTo>
                    <a:pt x="165" y="195"/>
                  </a:lnTo>
                  <a:lnTo>
                    <a:pt x="146" y="205"/>
                  </a:lnTo>
                  <a:lnTo>
                    <a:pt x="136" y="215"/>
                  </a:lnTo>
                  <a:lnTo>
                    <a:pt x="117" y="215"/>
                  </a:lnTo>
                  <a:lnTo>
                    <a:pt x="97" y="225"/>
                  </a:lnTo>
                  <a:lnTo>
                    <a:pt x="78" y="225"/>
                  </a:lnTo>
                  <a:lnTo>
                    <a:pt x="68" y="215"/>
                  </a:lnTo>
                  <a:lnTo>
                    <a:pt x="58" y="215"/>
                  </a:lnTo>
                  <a:lnTo>
                    <a:pt x="39" y="205"/>
                  </a:lnTo>
                  <a:lnTo>
                    <a:pt x="39" y="176"/>
                  </a:lnTo>
                  <a:lnTo>
                    <a:pt x="19" y="156"/>
                  </a:lnTo>
                  <a:lnTo>
                    <a:pt x="9" y="147"/>
                  </a:lnTo>
                  <a:lnTo>
                    <a:pt x="9" y="127"/>
                  </a:lnTo>
                  <a:lnTo>
                    <a:pt x="0" y="127"/>
                  </a:lnTo>
                  <a:close/>
                </a:path>
              </a:pathLst>
            </a:custGeom>
            <a:solidFill>
              <a:srgbClr val="17365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8709" name="Freeform 58"/>
            <p:cNvSpPr>
              <a:spLocks noChangeAspect="1"/>
            </p:cNvSpPr>
            <p:nvPr/>
          </p:nvSpPr>
          <p:spPr bwMode="auto">
            <a:xfrm>
              <a:off x="7677" y="3717"/>
              <a:ext cx="321" cy="225"/>
            </a:xfrm>
            <a:custGeom>
              <a:avLst/>
              <a:gdLst>
                <a:gd name="T0" fmla="*/ 0 w 321"/>
                <a:gd name="T1" fmla="*/ 127 h 225"/>
                <a:gd name="T2" fmla="*/ 0 w 321"/>
                <a:gd name="T3" fmla="*/ 108 h 225"/>
                <a:gd name="T4" fmla="*/ 0 w 321"/>
                <a:gd name="T5" fmla="*/ 88 h 225"/>
                <a:gd name="T6" fmla="*/ 9 w 321"/>
                <a:gd name="T7" fmla="*/ 69 h 225"/>
                <a:gd name="T8" fmla="*/ 19 w 321"/>
                <a:gd name="T9" fmla="*/ 69 h 225"/>
                <a:gd name="T10" fmla="*/ 29 w 321"/>
                <a:gd name="T11" fmla="*/ 59 h 225"/>
                <a:gd name="T12" fmla="*/ 39 w 321"/>
                <a:gd name="T13" fmla="*/ 49 h 225"/>
                <a:gd name="T14" fmla="*/ 39 w 321"/>
                <a:gd name="T15" fmla="*/ 49 h 225"/>
                <a:gd name="T16" fmla="*/ 68 w 321"/>
                <a:gd name="T17" fmla="*/ 39 h 225"/>
                <a:gd name="T18" fmla="*/ 68 w 321"/>
                <a:gd name="T19" fmla="*/ 20 h 225"/>
                <a:gd name="T20" fmla="*/ 78 w 321"/>
                <a:gd name="T21" fmla="*/ 20 h 225"/>
                <a:gd name="T22" fmla="*/ 87 w 321"/>
                <a:gd name="T23" fmla="*/ 30 h 225"/>
                <a:gd name="T24" fmla="*/ 97 w 321"/>
                <a:gd name="T25" fmla="*/ 39 h 225"/>
                <a:gd name="T26" fmla="*/ 107 w 321"/>
                <a:gd name="T27" fmla="*/ 20 h 225"/>
                <a:gd name="T28" fmla="*/ 126 w 321"/>
                <a:gd name="T29" fmla="*/ 20 h 225"/>
                <a:gd name="T30" fmla="*/ 136 w 321"/>
                <a:gd name="T31" fmla="*/ 10 h 225"/>
                <a:gd name="T32" fmla="*/ 156 w 321"/>
                <a:gd name="T33" fmla="*/ 20 h 225"/>
                <a:gd name="T34" fmla="*/ 165 w 321"/>
                <a:gd name="T35" fmla="*/ 20 h 225"/>
                <a:gd name="T36" fmla="*/ 175 w 321"/>
                <a:gd name="T37" fmla="*/ 30 h 225"/>
                <a:gd name="T38" fmla="*/ 185 w 321"/>
                <a:gd name="T39" fmla="*/ 30 h 225"/>
                <a:gd name="T40" fmla="*/ 204 w 321"/>
                <a:gd name="T41" fmla="*/ 30 h 225"/>
                <a:gd name="T42" fmla="*/ 234 w 321"/>
                <a:gd name="T43" fmla="*/ 30 h 225"/>
                <a:gd name="T44" fmla="*/ 243 w 321"/>
                <a:gd name="T45" fmla="*/ 30 h 225"/>
                <a:gd name="T46" fmla="*/ 263 w 321"/>
                <a:gd name="T47" fmla="*/ 20 h 225"/>
                <a:gd name="T48" fmla="*/ 263 w 321"/>
                <a:gd name="T49" fmla="*/ 10 h 225"/>
                <a:gd name="T50" fmla="*/ 273 w 321"/>
                <a:gd name="T51" fmla="*/ 10 h 225"/>
                <a:gd name="T52" fmla="*/ 282 w 321"/>
                <a:gd name="T53" fmla="*/ 10 h 225"/>
                <a:gd name="T54" fmla="*/ 302 w 321"/>
                <a:gd name="T55" fmla="*/ 0 h 225"/>
                <a:gd name="T56" fmla="*/ 312 w 321"/>
                <a:gd name="T57" fmla="*/ 0 h 225"/>
                <a:gd name="T58" fmla="*/ 321 w 321"/>
                <a:gd name="T59" fmla="*/ 10 h 225"/>
                <a:gd name="T60" fmla="*/ 321 w 321"/>
                <a:gd name="T61" fmla="*/ 30 h 225"/>
                <a:gd name="T62" fmla="*/ 302 w 321"/>
                <a:gd name="T63" fmla="*/ 30 h 225"/>
                <a:gd name="T64" fmla="*/ 292 w 321"/>
                <a:gd name="T65" fmla="*/ 30 h 225"/>
                <a:gd name="T66" fmla="*/ 292 w 321"/>
                <a:gd name="T67" fmla="*/ 39 h 225"/>
                <a:gd name="T68" fmla="*/ 282 w 321"/>
                <a:gd name="T69" fmla="*/ 49 h 225"/>
                <a:gd name="T70" fmla="*/ 263 w 321"/>
                <a:gd name="T71" fmla="*/ 69 h 225"/>
                <a:gd name="T72" fmla="*/ 243 w 321"/>
                <a:gd name="T73" fmla="*/ 98 h 225"/>
                <a:gd name="T74" fmla="*/ 224 w 321"/>
                <a:gd name="T75" fmla="*/ 108 h 225"/>
                <a:gd name="T76" fmla="*/ 204 w 321"/>
                <a:gd name="T77" fmla="*/ 127 h 225"/>
                <a:gd name="T78" fmla="*/ 195 w 321"/>
                <a:gd name="T79" fmla="*/ 147 h 225"/>
                <a:gd name="T80" fmla="*/ 185 w 321"/>
                <a:gd name="T81" fmla="*/ 176 h 225"/>
                <a:gd name="T82" fmla="*/ 165 w 321"/>
                <a:gd name="T83" fmla="*/ 195 h 225"/>
                <a:gd name="T84" fmla="*/ 146 w 321"/>
                <a:gd name="T85" fmla="*/ 205 h 225"/>
                <a:gd name="T86" fmla="*/ 136 w 321"/>
                <a:gd name="T87" fmla="*/ 215 h 225"/>
                <a:gd name="T88" fmla="*/ 117 w 321"/>
                <a:gd name="T89" fmla="*/ 215 h 225"/>
                <a:gd name="T90" fmla="*/ 97 w 321"/>
                <a:gd name="T91" fmla="*/ 225 h 225"/>
                <a:gd name="T92" fmla="*/ 78 w 321"/>
                <a:gd name="T93" fmla="*/ 225 h 225"/>
                <a:gd name="T94" fmla="*/ 68 w 321"/>
                <a:gd name="T95" fmla="*/ 215 h 225"/>
                <a:gd name="T96" fmla="*/ 58 w 321"/>
                <a:gd name="T97" fmla="*/ 215 h 225"/>
                <a:gd name="T98" fmla="*/ 39 w 321"/>
                <a:gd name="T99" fmla="*/ 205 h 225"/>
                <a:gd name="T100" fmla="*/ 39 w 321"/>
                <a:gd name="T101" fmla="*/ 176 h 225"/>
                <a:gd name="T102" fmla="*/ 19 w 321"/>
                <a:gd name="T103" fmla="*/ 156 h 225"/>
                <a:gd name="T104" fmla="*/ 9 w 321"/>
                <a:gd name="T105" fmla="*/ 147 h 225"/>
                <a:gd name="T106" fmla="*/ 9 w 321"/>
                <a:gd name="T107" fmla="*/ 127 h 225"/>
                <a:gd name="T108" fmla="*/ 0 w 321"/>
                <a:gd name="T109" fmla="*/ 127 h 225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321"/>
                <a:gd name="T166" fmla="*/ 0 h 225"/>
                <a:gd name="T167" fmla="*/ 321 w 321"/>
                <a:gd name="T168" fmla="*/ 225 h 225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321" h="225">
                  <a:moveTo>
                    <a:pt x="0" y="127"/>
                  </a:moveTo>
                  <a:lnTo>
                    <a:pt x="0" y="108"/>
                  </a:lnTo>
                  <a:lnTo>
                    <a:pt x="0" y="88"/>
                  </a:lnTo>
                  <a:lnTo>
                    <a:pt x="9" y="69"/>
                  </a:lnTo>
                  <a:lnTo>
                    <a:pt x="19" y="69"/>
                  </a:lnTo>
                  <a:lnTo>
                    <a:pt x="29" y="59"/>
                  </a:lnTo>
                  <a:lnTo>
                    <a:pt x="39" y="49"/>
                  </a:lnTo>
                  <a:lnTo>
                    <a:pt x="68" y="39"/>
                  </a:lnTo>
                  <a:lnTo>
                    <a:pt x="68" y="20"/>
                  </a:lnTo>
                  <a:lnTo>
                    <a:pt x="78" y="20"/>
                  </a:lnTo>
                  <a:lnTo>
                    <a:pt x="87" y="30"/>
                  </a:lnTo>
                  <a:lnTo>
                    <a:pt x="97" y="39"/>
                  </a:lnTo>
                  <a:lnTo>
                    <a:pt x="107" y="20"/>
                  </a:lnTo>
                  <a:lnTo>
                    <a:pt x="126" y="20"/>
                  </a:lnTo>
                  <a:lnTo>
                    <a:pt x="136" y="10"/>
                  </a:lnTo>
                  <a:lnTo>
                    <a:pt x="156" y="20"/>
                  </a:lnTo>
                  <a:lnTo>
                    <a:pt x="165" y="20"/>
                  </a:lnTo>
                  <a:lnTo>
                    <a:pt x="175" y="30"/>
                  </a:lnTo>
                  <a:lnTo>
                    <a:pt x="185" y="30"/>
                  </a:lnTo>
                  <a:lnTo>
                    <a:pt x="204" y="30"/>
                  </a:lnTo>
                  <a:lnTo>
                    <a:pt x="234" y="30"/>
                  </a:lnTo>
                  <a:lnTo>
                    <a:pt x="243" y="30"/>
                  </a:lnTo>
                  <a:lnTo>
                    <a:pt x="263" y="20"/>
                  </a:lnTo>
                  <a:lnTo>
                    <a:pt x="263" y="10"/>
                  </a:lnTo>
                  <a:lnTo>
                    <a:pt x="273" y="10"/>
                  </a:lnTo>
                  <a:lnTo>
                    <a:pt x="282" y="10"/>
                  </a:lnTo>
                  <a:lnTo>
                    <a:pt x="302" y="0"/>
                  </a:lnTo>
                  <a:lnTo>
                    <a:pt x="312" y="0"/>
                  </a:lnTo>
                  <a:lnTo>
                    <a:pt x="321" y="10"/>
                  </a:lnTo>
                  <a:lnTo>
                    <a:pt x="321" y="30"/>
                  </a:lnTo>
                  <a:lnTo>
                    <a:pt x="302" y="30"/>
                  </a:lnTo>
                  <a:lnTo>
                    <a:pt x="292" y="30"/>
                  </a:lnTo>
                  <a:lnTo>
                    <a:pt x="292" y="39"/>
                  </a:lnTo>
                  <a:lnTo>
                    <a:pt x="282" y="49"/>
                  </a:lnTo>
                  <a:lnTo>
                    <a:pt x="263" y="69"/>
                  </a:lnTo>
                  <a:lnTo>
                    <a:pt x="243" y="98"/>
                  </a:lnTo>
                  <a:lnTo>
                    <a:pt x="224" y="108"/>
                  </a:lnTo>
                  <a:lnTo>
                    <a:pt x="204" y="127"/>
                  </a:lnTo>
                  <a:lnTo>
                    <a:pt x="195" y="147"/>
                  </a:lnTo>
                  <a:lnTo>
                    <a:pt x="185" y="176"/>
                  </a:lnTo>
                  <a:lnTo>
                    <a:pt x="165" y="195"/>
                  </a:lnTo>
                  <a:lnTo>
                    <a:pt x="146" y="205"/>
                  </a:lnTo>
                  <a:lnTo>
                    <a:pt x="136" y="215"/>
                  </a:lnTo>
                  <a:lnTo>
                    <a:pt x="117" y="215"/>
                  </a:lnTo>
                  <a:lnTo>
                    <a:pt x="97" y="225"/>
                  </a:lnTo>
                  <a:lnTo>
                    <a:pt x="78" y="225"/>
                  </a:lnTo>
                  <a:lnTo>
                    <a:pt x="68" y="215"/>
                  </a:lnTo>
                  <a:lnTo>
                    <a:pt x="58" y="215"/>
                  </a:lnTo>
                  <a:lnTo>
                    <a:pt x="39" y="205"/>
                  </a:lnTo>
                  <a:lnTo>
                    <a:pt x="39" y="176"/>
                  </a:lnTo>
                  <a:lnTo>
                    <a:pt x="19" y="156"/>
                  </a:lnTo>
                  <a:lnTo>
                    <a:pt x="9" y="147"/>
                  </a:lnTo>
                  <a:lnTo>
                    <a:pt x="9" y="127"/>
                  </a:lnTo>
                  <a:lnTo>
                    <a:pt x="0" y="127"/>
                  </a:lnTo>
                </a:path>
              </a:pathLst>
            </a:custGeom>
            <a:solidFill>
              <a:srgbClr val="BFBFB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18691" name="Text Box 375"/>
          <p:cNvSpPr txBox="1">
            <a:spLocks noChangeArrowheads="1"/>
          </p:cNvSpPr>
          <p:nvPr>
            <p:custDataLst>
              <p:tags r:id="rId257"/>
            </p:custDataLst>
          </p:nvPr>
        </p:nvSpPr>
        <p:spPr bwMode="auto">
          <a:xfrm>
            <a:off x="6994525" y="3738563"/>
            <a:ext cx="1825625" cy="406400"/>
          </a:xfrm>
          <a:prstGeom prst="rect">
            <a:avLst/>
          </a:prstGeom>
          <a:solidFill>
            <a:srgbClr val="F21C0A"/>
          </a:solidFill>
          <a:ln w="12700" algn="ctr">
            <a:solidFill>
              <a:srgbClr val="F21C0A"/>
            </a:solidFill>
            <a:miter lim="800000"/>
            <a:headEnd/>
            <a:tailEnd/>
          </a:ln>
        </p:spPr>
        <p:txBody>
          <a:bodyPr lIns="36000" rIns="36000" anchor="ctr" anchorCtr="1"/>
          <a:lstStyle/>
          <a:p>
            <a:pPr defTabSz="1019175"/>
            <a:r>
              <a:rPr lang="ru-RU" sz="1400" b="1">
                <a:latin typeface="PoloCyr"/>
              </a:rPr>
              <a:t>Березовская ГРЭС</a:t>
            </a:r>
            <a:endParaRPr lang="en-GB" sz="1400" b="1">
              <a:latin typeface="PoloCyr"/>
            </a:endParaRPr>
          </a:p>
        </p:txBody>
      </p:sp>
      <p:sp>
        <p:nvSpPr>
          <p:cNvPr id="18692" name="Text Box 477"/>
          <p:cNvSpPr txBox="1">
            <a:spLocks noChangeArrowheads="1"/>
          </p:cNvSpPr>
          <p:nvPr>
            <p:custDataLst>
              <p:tags r:id="rId258"/>
            </p:custDataLst>
          </p:nvPr>
        </p:nvSpPr>
        <p:spPr bwMode="auto">
          <a:xfrm>
            <a:off x="7004050" y="4144963"/>
            <a:ext cx="1816100" cy="1584325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2"/>
            </a:solidFill>
            <a:miter lim="800000"/>
            <a:headEnd/>
            <a:tailEnd/>
          </a:ln>
        </p:spPr>
        <p:txBody>
          <a:bodyPr lIns="45720" rIns="45720" anchor="b"/>
          <a:lstStyle/>
          <a:p>
            <a:pPr marL="342900" indent="-342900" defTabSz="1019175">
              <a:tabLst>
                <a:tab pos="2057400" algn="r"/>
              </a:tabLst>
            </a:pPr>
            <a:r>
              <a:rPr lang="ru-RU" sz="1100" dirty="0">
                <a:solidFill>
                  <a:schemeClr val="tx1"/>
                </a:solidFill>
                <a:latin typeface="PoloCyr"/>
              </a:rPr>
              <a:t>Строительство 3-го энергоблока ПСУ</a:t>
            </a:r>
          </a:p>
          <a:p>
            <a:pPr marL="342900" indent="-342900" defTabSz="1019175">
              <a:tabLst>
                <a:tab pos="2057400" algn="r"/>
              </a:tabLst>
            </a:pPr>
            <a:r>
              <a:rPr lang="ru-RU" sz="1100" u="sng" dirty="0">
                <a:solidFill>
                  <a:schemeClr val="tx1"/>
                </a:solidFill>
                <a:latin typeface="PoloCyr"/>
              </a:rPr>
              <a:t>Мощность </a:t>
            </a:r>
            <a:r>
              <a:rPr lang="ru-RU" sz="1100" dirty="0">
                <a:solidFill>
                  <a:schemeClr val="tx1"/>
                </a:solidFill>
                <a:latin typeface="PoloCyr"/>
              </a:rPr>
              <a:t>– 800 МВт</a:t>
            </a:r>
          </a:p>
          <a:p>
            <a:pPr marL="342900" indent="-342900" defTabSz="1019175">
              <a:tabLst>
                <a:tab pos="2057400" algn="r"/>
              </a:tabLst>
            </a:pPr>
            <a:r>
              <a:rPr lang="ru-RU" sz="1100" u="sng" dirty="0">
                <a:solidFill>
                  <a:schemeClr val="tx1"/>
                </a:solidFill>
                <a:latin typeface="PoloCyr"/>
              </a:rPr>
              <a:t>Прогнозируемый пуск</a:t>
            </a:r>
            <a:r>
              <a:rPr lang="ru-RU" sz="1100" dirty="0">
                <a:solidFill>
                  <a:schemeClr val="tx1"/>
                </a:solidFill>
                <a:latin typeface="PoloCyr"/>
              </a:rPr>
              <a:t>: </a:t>
            </a:r>
          </a:p>
          <a:p>
            <a:pPr marL="342900" indent="-342900" defTabSz="1019175">
              <a:tabLst>
                <a:tab pos="2057400" algn="r"/>
              </a:tabLst>
            </a:pPr>
            <a:r>
              <a:rPr lang="ru-RU" sz="1100" dirty="0">
                <a:solidFill>
                  <a:schemeClr val="tx1"/>
                </a:solidFill>
                <a:latin typeface="PoloCyr"/>
              </a:rPr>
              <a:t>2014 г.</a:t>
            </a:r>
          </a:p>
          <a:p>
            <a:pPr marL="342900" indent="-342900" defTabSz="1019175">
              <a:tabLst>
                <a:tab pos="2057400" algn="r"/>
              </a:tabLst>
            </a:pPr>
            <a:r>
              <a:rPr lang="ru-RU" sz="1100" dirty="0">
                <a:solidFill>
                  <a:schemeClr val="tx1"/>
                </a:solidFill>
                <a:latin typeface="PoloCyr"/>
              </a:rPr>
              <a:t>Увеличение в 2010-2011 гг. </a:t>
            </a:r>
          </a:p>
          <a:p>
            <a:pPr marL="342900" indent="-342900" defTabSz="1019175">
              <a:tabLst>
                <a:tab pos="2057400" algn="r"/>
              </a:tabLst>
            </a:pPr>
            <a:r>
              <a:rPr lang="ru-RU" sz="1100" dirty="0">
                <a:solidFill>
                  <a:schemeClr val="tx1"/>
                </a:solidFill>
                <a:latin typeface="PoloCyr"/>
              </a:rPr>
              <a:t>мощности 2-х энергоблоков</a:t>
            </a:r>
          </a:p>
          <a:p>
            <a:pPr marL="342900" indent="-342900" defTabSz="1019175">
              <a:tabLst>
                <a:tab pos="2057400" algn="r"/>
              </a:tabLst>
            </a:pPr>
            <a:r>
              <a:rPr lang="ru-RU" sz="1100" dirty="0">
                <a:solidFill>
                  <a:schemeClr val="tx1"/>
                </a:solidFill>
                <a:latin typeface="PoloCyr"/>
              </a:rPr>
              <a:t>по 50 МВт каждый</a:t>
            </a:r>
          </a:p>
          <a:p>
            <a:pPr marL="342900" indent="-342900" defTabSz="1019175">
              <a:tabLst>
                <a:tab pos="2057400" algn="r"/>
              </a:tabLst>
            </a:pPr>
            <a:endParaRPr lang="en-US" sz="1100" dirty="0">
              <a:solidFill>
                <a:schemeClr val="tx1"/>
              </a:solidFill>
              <a:latin typeface="PoloCyr"/>
            </a:endParaRPr>
          </a:p>
        </p:txBody>
      </p:sp>
      <p:sp>
        <p:nvSpPr>
          <p:cNvPr id="18693" name="Text Box 477"/>
          <p:cNvSpPr txBox="1">
            <a:spLocks noChangeArrowheads="1"/>
          </p:cNvSpPr>
          <p:nvPr>
            <p:custDataLst>
              <p:tags r:id="rId259"/>
            </p:custDataLst>
          </p:nvPr>
        </p:nvSpPr>
        <p:spPr bwMode="auto">
          <a:xfrm>
            <a:off x="6988175" y="2559050"/>
            <a:ext cx="1831975" cy="1082675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2"/>
            </a:solidFill>
            <a:miter lim="800000"/>
            <a:headEnd/>
            <a:tailEnd/>
          </a:ln>
        </p:spPr>
        <p:txBody>
          <a:bodyPr lIns="36000" rIns="45720" anchor="b"/>
          <a:lstStyle/>
          <a:p>
            <a:pPr marL="342900" indent="-342900" defTabSz="1019175">
              <a:tabLst>
                <a:tab pos="2057400" algn="r"/>
              </a:tabLst>
            </a:pPr>
            <a:r>
              <a:rPr lang="ru-RU" sz="1100">
                <a:solidFill>
                  <a:schemeClr val="tx1"/>
                </a:solidFill>
                <a:latin typeface="PoloCyr"/>
              </a:rPr>
              <a:t>Строительство 2-х энергоблоков ПГУ-400</a:t>
            </a:r>
          </a:p>
          <a:p>
            <a:pPr marL="342900" indent="-342900" defTabSz="1019175">
              <a:tabLst>
                <a:tab pos="2057400" algn="r"/>
              </a:tabLst>
            </a:pPr>
            <a:r>
              <a:rPr lang="ru-RU" sz="1100" u="sng">
                <a:solidFill>
                  <a:schemeClr val="tx1"/>
                </a:solidFill>
                <a:latin typeface="PoloCyr"/>
              </a:rPr>
              <a:t>Мощность</a:t>
            </a:r>
            <a:r>
              <a:rPr lang="ru-RU" sz="1100">
                <a:solidFill>
                  <a:schemeClr val="tx1"/>
                </a:solidFill>
                <a:latin typeface="PoloCyr"/>
              </a:rPr>
              <a:t> – 800 МВт</a:t>
            </a:r>
          </a:p>
          <a:p>
            <a:pPr marL="342900" indent="-342900" defTabSz="1019175">
              <a:tabLst>
                <a:tab pos="2057400" algn="r"/>
              </a:tabLst>
            </a:pPr>
            <a:endParaRPr lang="ru-RU" sz="1100">
              <a:solidFill>
                <a:schemeClr val="tx1"/>
              </a:solidFill>
              <a:latin typeface="PoloCyr"/>
            </a:endParaRPr>
          </a:p>
        </p:txBody>
      </p:sp>
      <p:sp>
        <p:nvSpPr>
          <p:cNvPr id="18694" name="Text Box 477"/>
          <p:cNvSpPr txBox="1">
            <a:spLocks noChangeArrowheads="1"/>
          </p:cNvSpPr>
          <p:nvPr>
            <p:custDataLst>
              <p:tags r:id="rId260"/>
            </p:custDataLst>
          </p:nvPr>
        </p:nvSpPr>
        <p:spPr bwMode="auto">
          <a:xfrm>
            <a:off x="368300" y="4794250"/>
            <a:ext cx="1755775" cy="923925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accent2"/>
            </a:solidFill>
            <a:miter lim="800000"/>
            <a:headEnd/>
            <a:tailEnd/>
          </a:ln>
        </p:spPr>
        <p:txBody>
          <a:bodyPr lIns="36000" tIns="36000" rIns="36000" anchor="b"/>
          <a:lstStyle/>
          <a:p>
            <a:pPr marL="342900" indent="-342900" defTabSz="1019175">
              <a:tabLst>
                <a:tab pos="2057400" algn="r"/>
              </a:tabLst>
            </a:pPr>
            <a:r>
              <a:rPr lang="ru-RU" sz="1100">
                <a:solidFill>
                  <a:schemeClr val="tx1"/>
                </a:solidFill>
                <a:latin typeface="PoloCyr"/>
              </a:rPr>
              <a:t>Строительство  энергоблока ПГУ</a:t>
            </a:r>
          </a:p>
          <a:p>
            <a:pPr marL="342900" indent="-342900" defTabSz="1019175">
              <a:tabLst>
                <a:tab pos="2057400" algn="r"/>
              </a:tabLst>
            </a:pPr>
            <a:r>
              <a:rPr lang="ru-RU" sz="1100" u="sng">
                <a:solidFill>
                  <a:schemeClr val="tx1"/>
                </a:solidFill>
                <a:latin typeface="PoloCyr"/>
              </a:rPr>
              <a:t>Мощность</a:t>
            </a:r>
            <a:r>
              <a:rPr lang="ru-RU" sz="1100">
                <a:solidFill>
                  <a:schemeClr val="tx1"/>
                </a:solidFill>
                <a:latin typeface="PoloCyr"/>
              </a:rPr>
              <a:t> – 400 МВт</a:t>
            </a:r>
          </a:p>
          <a:p>
            <a:pPr marL="342900" indent="-342900" defTabSz="1019175">
              <a:tabLst>
                <a:tab pos="2057400" algn="r"/>
              </a:tabLst>
            </a:pPr>
            <a:endParaRPr lang="ru-RU" sz="1100">
              <a:solidFill>
                <a:schemeClr val="tx1"/>
              </a:solidFill>
              <a:latin typeface="PoloCyr"/>
            </a:endParaRPr>
          </a:p>
        </p:txBody>
      </p:sp>
      <p:sp>
        <p:nvSpPr>
          <p:cNvPr id="18695" name="Text Box 379"/>
          <p:cNvSpPr txBox="1">
            <a:spLocks noChangeArrowheads="1"/>
          </p:cNvSpPr>
          <p:nvPr>
            <p:custDataLst>
              <p:tags r:id="rId261"/>
            </p:custDataLst>
          </p:nvPr>
        </p:nvSpPr>
        <p:spPr bwMode="auto">
          <a:xfrm>
            <a:off x="363538" y="2298700"/>
            <a:ext cx="1760537" cy="406400"/>
          </a:xfrm>
          <a:prstGeom prst="rect">
            <a:avLst/>
          </a:prstGeom>
          <a:solidFill>
            <a:srgbClr val="F21C0A"/>
          </a:solidFill>
          <a:ln w="12700" algn="ctr">
            <a:solidFill>
              <a:srgbClr val="F21C0A"/>
            </a:solidFill>
            <a:miter lim="800000"/>
            <a:headEnd/>
            <a:tailEnd/>
          </a:ln>
        </p:spPr>
        <p:txBody>
          <a:bodyPr lIns="36000" rIns="36000" anchor="ctr" anchorCtr="1"/>
          <a:lstStyle/>
          <a:p>
            <a:pPr defTabSz="1019175">
              <a:lnSpc>
                <a:spcPts val="2600"/>
              </a:lnSpc>
            </a:pPr>
            <a:r>
              <a:rPr lang="ru-RU" sz="1400" b="1">
                <a:latin typeface="PoloCyr"/>
              </a:rPr>
              <a:t>Шатурская ГРЭС</a:t>
            </a:r>
            <a:endParaRPr lang="en-GB" sz="1400" b="1">
              <a:latin typeface="PoloCyr"/>
            </a:endParaRPr>
          </a:p>
        </p:txBody>
      </p:sp>
      <p:sp>
        <p:nvSpPr>
          <p:cNvPr id="18696" name="Text Box 477"/>
          <p:cNvSpPr txBox="1">
            <a:spLocks noChangeArrowheads="1"/>
          </p:cNvSpPr>
          <p:nvPr>
            <p:custDataLst>
              <p:tags r:id="rId262"/>
            </p:custDataLst>
          </p:nvPr>
        </p:nvSpPr>
        <p:spPr bwMode="auto">
          <a:xfrm>
            <a:off x="363538" y="2706688"/>
            <a:ext cx="1760537" cy="935037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2"/>
            </a:solidFill>
            <a:miter lim="800000"/>
            <a:headEnd/>
            <a:tailEnd/>
          </a:ln>
        </p:spPr>
        <p:txBody>
          <a:bodyPr lIns="36000" tIns="36000" rIns="36000" anchor="b"/>
          <a:lstStyle/>
          <a:p>
            <a:pPr marL="342900" indent="-342900" defTabSz="1019175">
              <a:tabLst>
                <a:tab pos="2057400" algn="r"/>
              </a:tabLst>
            </a:pPr>
            <a:r>
              <a:rPr lang="ru-RU" sz="1100">
                <a:solidFill>
                  <a:schemeClr val="tx1"/>
                </a:solidFill>
                <a:latin typeface="PoloCyr"/>
              </a:rPr>
              <a:t>Строительство </a:t>
            </a:r>
            <a:br>
              <a:rPr lang="ru-RU" sz="1100">
                <a:solidFill>
                  <a:schemeClr val="tx1"/>
                </a:solidFill>
                <a:latin typeface="PoloCyr"/>
              </a:rPr>
            </a:br>
            <a:r>
              <a:rPr lang="ru-RU" sz="1100">
                <a:solidFill>
                  <a:schemeClr val="tx1"/>
                </a:solidFill>
                <a:latin typeface="PoloCyr"/>
              </a:rPr>
              <a:t>энергоблока</a:t>
            </a:r>
            <a:r>
              <a:rPr lang="en-US" sz="1100">
                <a:solidFill>
                  <a:schemeClr val="tx1"/>
                </a:solidFill>
                <a:latin typeface="PoloCyr"/>
              </a:rPr>
              <a:t> </a:t>
            </a:r>
            <a:r>
              <a:rPr lang="ru-RU" sz="1100">
                <a:solidFill>
                  <a:schemeClr val="tx1"/>
                </a:solidFill>
                <a:latin typeface="PoloCyr"/>
              </a:rPr>
              <a:t>ПГУ</a:t>
            </a:r>
          </a:p>
          <a:p>
            <a:pPr marL="342900" indent="-342900" defTabSz="1019175">
              <a:tabLst>
                <a:tab pos="2057400" algn="r"/>
              </a:tabLst>
            </a:pPr>
            <a:r>
              <a:rPr lang="ru-RU" sz="1100" u="sng">
                <a:solidFill>
                  <a:schemeClr val="tx1"/>
                </a:solidFill>
                <a:latin typeface="PoloCyr"/>
              </a:rPr>
              <a:t>Мощность</a:t>
            </a:r>
            <a:r>
              <a:rPr lang="ru-RU" sz="1100">
                <a:solidFill>
                  <a:schemeClr val="tx1"/>
                </a:solidFill>
                <a:latin typeface="PoloCyr"/>
              </a:rPr>
              <a:t> – 400 МВт </a:t>
            </a:r>
          </a:p>
          <a:p>
            <a:pPr marL="342900" indent="-342900" defTabSz="1019175">
              <a:tabLst>
                <a:tab pos="2057400" algn="r"/>
              </a:tabLst>
            </a:pPr>
            <a:endParaRPr lang="ru-RU" sz="1100">
              <a:solidFill>
                <a:schemeClr val="tx1"/>
              </a:solidFill>
              <a:latin typeface="PoloCyr"/>
            </a:endParaRPr>
          </a:p>
        </p:txBody>
      </p:sp>
      <p:cxnSp>
        <p:nvCxnSpPr>
          <p:cNvPr id="18697" name="AutoShape 381"/>
          <p:cNvCxnSpPr>
            <a:cxnSpLocks noChangeAspect="1" noChangeShapeType="1"/>
            <a:endCxn id="18694" idx="3"/>
          </p:cNvCxnSpPr>
          <p:nvPr>
            <p:custDataLst>
              <p:tags r:id="rId263"/>
            </p:custDataLst>
          </p:nvPr>
        </p:nvCxnSpPr>
        <p:spPr bwMode="gray">
          <a:xfrm flipH="1">
            <a:off x="2124075" y="4387850"/>
            <a:ext cx="1489075" cy="868363"/>
          </a:xfrm>
          <a:prstGeom prst="straightConnector1">
            <a:avLst/>
          </a:prstGeom>
          <a:noFill/>
          <a:ln w="12700">
            <a:solidFill>
              <a:schemeClr val="tx1"/>
            </a:solidFill>
            <a:round/>
            <a:headEnd/>
            <a:tailEnd type="none" w="med" len="lg"/>
          </a:ln>
        </p:spPr>
      </p:cxnSp>
      <p:cxnSp>
        <p:nvCxnSpPr>
          <p:cNvPr id="18698" name="AutoShape 382"/>
          <p:cNvCxnSpPr>
            <a:cxnSpLocks noChangeAspect="1" noChangeShapeType="1"/>
          </p:cNvCxnSpPr>
          <p:nvPr>
            <p:custDataLst>
              <p:tags r:id="rId264"/>
            </p:custDataLst>
          </p:nvPr>
        </p:nvCxnSpPr>
        <p:spPr bwMode="gray">
          <a:xfrm flipV="1">
            <a:off x="4211638" y="3065463"/>
            <a:ext cx="2776537" cy="1254125"/>
          </a:xfrm>
          <a:prstGeom prst="straightConnector1">
            <a:avLst/>
          </a:prstGeom>
          <a:noFill/>
          <a:ln w="12700">
            <a:solidFill>
              <a:schemeClr val="tx1"/>
            </a:solidFill>
            <a:round/>
            <a:headEnd/>
            <a:tailEnd type="none" w="med" len="lg"/>
          </a:ln>
        </p:spPr>
      </p:cxnSp>
      <p:sp>
        <p:nvSpPr>
          <p:cNvPr id="18699" name="Text Box 383"/>
          <p:cNvSpPr txBox="1">
            <a:spLocks noChangeArrowheads="1"/>
          </p:cNvSpPr>
          <p:nvPr>
            <p:custDataLst>
              <p:tags r:id="rId265"/>
            </p:custDataLst>
          </p:nvPr>
        </p:nvSpPr>
        <p:spPr bwMode="auto">
          <a:xfrm>
            <a:off x="368300" y="4413250"/>
            <a:ext cx="1755775" cy="381000"/>
          </a:xfrm>
          <a:prstGeom prst="rect">
            <a:avLst/>
          </a:prstGeom>
          <a:solidFill>
            <a:srgbClr val="F21C0A"/>
          </a:solidFill>
          <a:ln w="12700" algn="ctr">
            <a:solidFill>
              <a:srgbClr val="F21C0A"/>
            </a:solidFill>
            <a:miter lim="800000"/>
            <a:headEnd/>
            <a:tailEnd/>
          </a:ln>
        </p:spPr>
        <p:txBody>
          <a:bodyPr lIns="36000" rIns="36000" anchor="ctr" anchorCtr="1"/>
          <a:lstStyle/>
          <a:p>
            <a:pPr defTabSz="1019175"/>
            <a:r>
              <a:rPr lang="ru-RU" sz="1400" b="1">
                <a:latin typeface="PoloCyr"/>
              </a:rPr>
              <a:t>Яйвинская ГРЭС</a:t>
            </a:r>
            <a:endParaRPr lang="en-GB" sz="1400" b="1">
              <a:latin typeface="PoloCyr"/>
            </a:endParaRPr>
          </a:p>
        </p:txBody>
      </p:sp>
      <p:sp>
        <p:nvSpPr>
          <p:cNvPr id="18700" name="Text Box 384"/>
          <p:cNvSpPr txBox="1">
            <a:spLocks noChangeArrowheads="1"/>
          </p:cNvSpPr>
          <p:nvPr>
            <p:custDataLst>
              <p:tags r:id="rId266"/>
            </p:custDataLst>
          </p:nvPr>
        </p:nvSpPr>
        <p:spPr bwMode="auto">
          <a:xfrm>
            <a:off x="6988175" y="2252663"/>
            <a:ext cx="1831975" cy="381000"/>
          </a:xfrm>
          <a:prstGeom prst="rect">
            <a:avLst/>
          </a:prstGeom>
          <a:solidFill>
            <a:srgbClr val="F21C0A"/>
          </a:solidFill>
          <a:ln w="12700" algn="ctr">
            <a:solidFill>
              <a:srgbClr val="F21C0A"/>
            </a:solidFill>
            <a:miter lim="800000"/>
            <a:headEnd/>
            <a:tailEnd/>
          </a:ln>
        </p:spPr>
        <p:txBody>
          <a:bodyPr lIns="36000" rIns="36000" anchor="ctr" anchorCtr="1"/>
          <a:lstStyle/>
          <a:p>
            <a:pPr algn="ctr" defTabSz="1019175" eaLnBrk="0" hangingPunct="0">
              <a:lnSpc>
                <a:spcPct val="80000"/>
              </a:lnSpc>
            </a:pPr>
            <a:r>
              <a:rPr lang="ru-RU" sz="1400" b="1">
                <a:solidFill>
                  <a:srgbClr val="FFFFFF"/>
                </a:solidFill>
                <a:latin typeface="PoloCyr"/>
              </a:rPr>
              <a:t>Сургутская ГРЭС-2</a:t>
            </a:r>
            <a:endParaRPr lang="en-GB" sz="1400" b="1">
              <a:solidFill>
                <a:srgbClr val="FFFFFF"/>
              </a:solidFill>
              <a:latin typeface="PoloCyr"/>
            </a:endParaRPr>
          </a:p>
        </p:txBody>
      </p:sp>
      <p:sp>
        <p:nvSpPr>
          <p:cNvPr id="18701" name="Text Box 389"/>
          <p:cNvSpPr txBox="1">
            <a:spLocks noChangeArrowheads="1"/>
          </p:cNvSpPr>
          <p:nvPr/>
        </p:nvSpPr>
        <p:spPr bwMode="auto">
          <a:xfrm>
            <a:off x="523875" y="1089025"/>
            <a:ext cx="80105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>
                <a:solidFill>
                  <a:schemeClr val="tx1"/>
                </a:solidFill>
                <a:latin typeface="PoloCyr"/>
              </a:rPr>
              <a:t>Общий объем</a:t>
            </a:r>
            <a:r>
              <a:rPr lang="en-GB" sz="1400">
                <a:solidFill>
                  <a:schemeClr val="tx1"/>
                </a:solidFill>
                <a:latin typeface="PoloCyr"/>
              </a:rPr>
              <a:t> </a:t>
            </a:r>
            <a:r>
              <a:rPr lang="ru-RU" sz="1400">
                <a:solidFill>
                  <a:schemeClr val="tx1"/>
                </a:solidFill>
                <a:latin typeface="PoloCyr"/>
              </a:rPr>
              <a:t>инвестиций в новое строительство </a:t>
            </a:r>
            <a:r>
              <a:rPr lang="ru-RU" sz="1400" b="1">
                <a:solidFill>
                  <a:schemeClr val="tx1"/>
                </a:solidFill>
                <a:latin typeface="PoloCyr"/>
              </a:rPr>
              <a:t>2007-2014 гг. ≈ 2,8 млрд. евро</a:t>
            </a:r>
            <a:endParaRPr lang="en-GB" sz="1400" b="1">
              <a:solidFill>
                <a:schemeClr val="tx1"/>
              </a:solidFill>
              <a:latin typeface="PoloCyr"/>
            </a:endParaRPr>
          </a:p>
        </p:txBody>
      </p:sp>
      <p:sp>
        <p:nvSpPr>
          <p:cNvPr id="18702" name="Text Box 390"/>
          <p:cNvSpPr txBox="1">
            <a:spLocks noChangeArrowheads="1"/>
          </p:cNvSpPr>
          <p:nvPr/>
        </p:nvSpPr>
        <p:spPr bwMode="auto">
          <a:xfrm>
            <a:off x="527050" y="1377950"/>
            <a:ext cx="63500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400" dirty="0">
                <a:solidFill>
                  <a:schemeClr val="tx1"/>
                </a:solidFill>
                <a:latin typeface="PoloCyr"/>
              </a:rPr>
              <a:t>Новые мощности - </a:t>
            </a:r>
            <a:r>
              <a:rPr lang="ru-RU" sz="1400" b="1" dirty="0">
                <a:solidFill>
                  <a:schemeClr val="tx1"/>
                </a:solidFill>
                <a:latin typeface="PoloCyr"/>
              </a:rPr>
              <a:t>2 400 МВт</a:t>
            </a:r>
            <a:r>
              <a:rPr lang="ru-RU" sz="1400" dirty="0">
                <a:solidFill>
                  <a:schemeClr val="tx1"/>
                </a:solidFill>
                <a:latin typeface="PoloCyr"/>
              </a:rPr>
              <a:t>.   Модернизация действующих мощностей </a:t>
            </a:r>
            <a:r>
              <a:rPr lang="ru-RU" sz="1400" b="1" dirty="0">
                <a:solidFill>
                  <a:schemeClr val="tx1"/>
                </a:solidFill>
                <a:latin typeface="PoloCyr"/>
              </a:rPr>
              <a:t>100 МВт</a:t>
            </a:r>
            <a:r>
              <a:rPr lang="ru-RU" sz="1400" dirty="0">
                <a:solidFill>
                  <a:schemeClr val="tx1"/>
                </a:solidFill>
                <a:latin typeface="PoloCyr"/>
              </a:rPr>
              <a:t>.</a:t>
            </a:r>
            <a:endParaRPr lang="en-GB" sz="1400" dirty="0">
              <a:solidFill>
                <a:schemeClr val="tx1"/>
              </a:solidFill>
              <a:latin typeface="PoloCyr"/>
            </a:endParaRPr>
          </a:p>
        </p:txBody>
      </p:sp>
      <p:sp>
        <p:nvSpPr>
          <p:cNvPr id="18703" name="Text Box 5"/>
          <p:cNvSpPr txBox="1">
            <a:spLocks noChangeArrowheads="1"/>
          </p:cNvSpPr>
          <p:nvPr/>
        </p:nvSpPr>
        <p:spPr bwMode="auto">
          <a:xfrm>
            <a:off x="971550" y="5972175"/>
            <a:ext cx="7361238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Arial" charset="0"/>
              </a:rPr>
              <a:t>E.ON AG – крупнейший иностранный инвестор в электроэнергетику России</a:t>
            </a:r>
            <a:endParaRPr lang="en-GB" sz="1600">
              <a:latin typeface="Arial" charset="0"/>
            </a:endParaRPr>
          </a:p>
        </p:txBody>
      </p:sp>
      <p:sp>
        <p:nvSpPr>
          <p:cNvPr id="18706" name="Номер слайда 1"/>
          <p:cNvSpPr txBox="1">
            <a:spLocks/>
          </p:cNvSpPr>
          <p:nvPr/>
        </p:nvSpPr>
        <p:spPr bwMode="auto">
          <a:xfrm>
            <a:off x="8001000" y="6553200"/>
            <a:ext cx="5334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eaLnBrk="0" hangingPunct="0">
              <a:lnSpc>
                <a:spcPts val="900"/>
              </a:lnSpc>
            </a:pPr>
            <a:fld id="{CFFD7780-DC51-44F7-80B2-5C22154636E5}" type="slidenum">
              <a:rPr noProof="1">
                <a:solidFill>
                  <a:schemeClr val="tx1"/>
                </a:solidFill>
              </a:rPr>
              <a:pPr algn="r" eaLnBrk="0" hangingPunct="0">
                <a:lnSpc>
                  <a:spcPts val="900"/>
                </a:lnSpc>
              </a:pPr>
              <a:t>2</a:t>
            </a:fld>
            <a:endParaRPr lang="ru-RU" noProof="1">
              <a:solidFill>
                <a:schemeClr val="tx1"/>
              </a:solidFill>
            </a:endParaRPr>
          </a:p>
        </p:txBody>
      </p:sp>
      <p:sp>
        <p:nvSpPr>
          <p:cNvPr id="18707" name="Text Box 390"/>
          <p:cNvSpPr txBox="1">
            <a:spLocks noChangeArrowheads="1"/>
          </p:cNvSpPr>
          <p:nvPr/>
        </p:nvSpPr>
        <p:spPr bwMode="auto">
          <a:xfrm>
            <a:off x="527050" y="1808163"/>
            <a:ext cx="8616950" cy="51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>
                <a:solidFill>
                  <a:schemeClr val="tx1"/>
                </a:solidFill>
                <a:latin typeface="PoloCyr"/>
              </a:rPr>
              <a:t>Ввод новых мощностей позволит повысить топливную эффективность работы компании (с </a:t>
            </a:r>
            <a:r>
              <a:rPr lang="ru-RU" sz="1400" b="1">
                <a:solidFill>
                  <a:schemeClr val="tx1"/>
                </a:solidFill>
                <a:latin typeface="PoloCyr"/>
              </a:rPr>
              <a:t>322,2</a:t>
            </a:r>
            <a:r>
              <a:rPr lang="ru-RU" sz="1400">
                <a:solidFill>
                  <a:schemeClr val="tx1"/>
                </a:solidFill>
                <a:latin typeface="PoloCyr"/>
              </a:rPr>
              <a:t> г/кВтч в 2009 г. до </a:t>
            </a:r>
            <a:r>
              <a:rPr lang="ru-RU" sz="1400" b="1">
                <a:solidFill>
                  <a:schemeClr val="tx1"/>
                </a:solidFill>
                <a:latin typeface="PoloCyr"/>
              </a:rPr>
              <a:t>301,2</a:t>
            </a:r>
            <a:r>
              <a:rPr lang="ru-RU" sz="1400">
                <a:solidFill>
                  <a:schemeClr val="tx1"/>
                </a:solidFill>
                <a:latin typeface="PoloCyr"/>
              </a:rPr>
              <a:t> г/кВтч в 2012 г. )</a:t>
            </a:r>
            <a:endParaRPr lang="en-GB" sz="1400">
              <a:solidFill>
                <a:schemeClr val="tx1"/>
              </a:solidFill>
              <a:latin typeface="PoloCyr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Номер слайда 1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87AB8602-F5AA-4133-8F07-BA3AB0F2AE83}" type="slidenum">
              <a:rPr smtClean="0">
                <a:latin typeface="Polo"/>
                <a:cs typeface="Arial" charset="0"/>
              </a:rPr>
              <a:pPr/>
              <a:t>3</a:t>
            </a:fld>
            <a:endParaRPr lang="ru-RU" smtClean="0">
              <a:latin typeface="Polo"/>
              <a:cs typeface="Arial" charset="0"/>
            </a:endParaRPr>
          </a:p>
        </p:txBody>
      </p:sp>
      <p:sp>
        <p:nvSpPr>
          <p:cNvPr id="20482" name="Нижний колонтитул 2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/>
          <a:p>
            <a:r>
              <a:rPr lang="ru-RU" smtClean="0">
                <a:latin typeface="Polo"/>
                <a:cs typeface="Arial" charset="0"/>
              </a:rPr>
              <a:t>      </a:t>
            </a:r>
          </a:p>
        </p:txBody>
      </p:sp>
      <p:sp>
        <p:nvSpPr>
          <p:cNvPr id="20484" name="Rectangle 3"/>
          <p:cNvSpPr txBox="1">
            <a:spLocks noChangeArrowheads="1"/>
          </p:cNvSpPr>
          <p:nvPr/>
        </p:nvSpPr>
        <p:spPr bwMode="auto">
          <a:xfrm>
            <a:off x="611188" y="5922963"/>
            <a:ext cx="8353425" cy="4318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/>
          <a:lstStyle/>
          <a:p>
            <a:pPr marL="203200" indent="-203200">
              <a:lnSpc>
                <a:spcPts val="2000"/>
              </a:lnSpc>
              <a:buClr>
                <a:srgbClr val="F21C0A"/>
              </a:buClr>
              <a:buSzPct val="100000"/>
            </a:pPr>
            <a:r>
              <a:rPr lang="ru-RU" sz="1600">
                <a:latin typeface="PoloCyr"/>
              </a:rPr>
              <a:t>Текущий статус – штатная эксплуатация энергоблока ПГУ</a:t>
            </a:r>
          </a:p>
        </p:txBody>
      </p:sp>
      <p:sp>
        <p:nvSpPr>
          <p:cNvPr id="20485" name="TextBox 12"/>
          <p:cNvSpPr txBox="1">
            <a:spLocks noChangeArrowheads="1"/>
          </p:cNvSpPr>
          <p:nvPr/>
        </p:nvSpPr>
        <p:spPr bwMode="auto">
          <a:xfrm>
            <a:off x="7272338" y="2249488"/>
            <a:ext cx="889000" cy="3460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ts val="2000"/>
              </a:lnSpc>
            </a:pPr>
            <a:r>
              <a:rPr lang="ru-RU" sz="1600" b="1">
                <a:solidFill>
                  <a:schemeClr val="bg2"/>
                </a:solidFill>
                <a:latin typeface="PoloCyr"/>
              </a:rPr>
              <a:t>400 МВт</a:t>
            </a:r>
          </a:p>
        </p:txBody>
      </p:sp>
      <p:sp>
        <p:nvSpPr>
          <p:cNvPr id="20486" name="TextBox 13"/>
          <p:cNvSpPr txBox="1">
            <a:spLocks noChangeArrowheads="1"/>
          </p:cNvSpPr>
          <p:nvPr/>
        </p:nvSpPr>
        <p:spPr bwMode="auto">
          <a:xfrm>
            <a:off x="7291388" y="2643188"/>
            <a:ext cx="1524000" cy="60483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ts val="2000"/>
              </a:lnSpc>
            </a:pPr>
            <a:r>
              <a:rPr lang="ru-RU" sz="1600" b="1">
                <a:solidFill>
                  <a:schemeClr val="bg2"/>
                </a:solidFill>
                <a:latin typeface="PoloCyr"/>
              </a:rPr>
              <a:t>не менее </a:t>
            </a:r>
          </a:p>
          <a:p>
            <a:pPr>
              <a:lnSpc>
                <a:spcPts val="2000"/>
              </a:lnSpc>
            </a:pPr>
            <a:r>
              <a:rPr lang="ru-RU" sz="1600" b="1">
                <a:solidFill>
                  <a:schemeClr val="bg2"/>
                </a:solidFill>
                <a:latin typeface="PoloCyr"/>
              </a:rPr>
              <a:t>2 200 млн.кВтч</a:t>
            </a:r>
          </a:p>
        </p:txBody>
      </p:sp>
      <p:sp>
        <p:nvSpPr>
          <p:cNvPr id="20487" name="TextBox 14"/>
          <p:cNvSpPr txBox="1">
            <a:spLocks noChangeArrowheads="1"/>
          </p:cNvSpPr>
          <p:nvPr/>
        </p:nvSpPr>
        <p:spPr bwMode="auto">
          <a:xfrm>
            <a:off x="7326313" y="3400425"/>
            <a:ext cx="1327150" cy="3492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ts val="2000"/>
              </a:lnSpc>
            </a:pPr>
            <a:r>
              <a:rPr lang="ru-RU" sz="1600" b="1">
                <a:solidFill>
                  <a:schemeClr val="bg2"/>
                </a:solidFill>
                <a:latin typeface="PoloCyr"/>
              </a:rPr>
              <a:t>2007/2011 год</a:t>
            </a:r>
          </a:p>
        </p:txBody>
      </p:sp>
      <p:sp>
        <p:nvSpPr>
          <p:cNvPr id="20488" name="TextBox 15"/>
          <p:cNvSpPr txBox="1">
            <a:spLocks noChangeArrowheads="1"/>
          </p:cNvSpPr>
          <p:nvPr/>
        </p:nvSpPr>
        <p:spPr bwMode="auto">
          <a:xfrm>
            <a:off x="7369175" y="3976688"/>
            <a:ext cx="527050" cy="3460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ts val="2000"/>
              </a:lnSpc>
            </a:pPr>
            <a:r>
              <a:rPr lang="ru-RU" sz="1600" b="1">
                <a:solidFill>
                  <a:schemeClr val="bg2"/>
                </a:solidFill>
                <a:latin typeface="PoloCyr"/>
              </a:rPr>
              <a:t>56%</a:t>
            </a:r>
          </a:p>
        </p:txBody>
      </p:sp>
      <p:sp>
        <p:nvSpPr>
          <p:cNvPr id="20489" name="TextBox 16"/>
          <p:cNvSpPr txBox="1">
            <a:spLocks noChangeArrowheads="1"/>
          </p:cNvSpPr>
          <p:nvPr/>
        </p:nvSpPr>
        <p:spPr bwMode="auto">
          <a:xfrm>
            <a:off x="7316788" y="4408488"/>
            <a:ext cx="963612" cy="3460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ts val="2000"/>
              </a:lnSpc>
            </a:pPr>
            <a:r>
              <a:rPr lang="ru-RU" sz="1600" b="1">
                <a:solidFill>
                  <a:schemeClr val="bg2"/>
                </a:solidFill>
                <a:latin typeface="PoloCyr"/>
              </a:rPr>
              <a:t>газ</a:t>
            </a:r>
            <a:r>
              <a:rPr lang="ru-RU" sz="1600">
                <a:solidFill>
                  <a:schemeClr val="bg2"/>
                </a:solidFill>
                <a:latin typeface="PoloCyr"/>
              </a:rPr>
              <a:t> (99%)</a:t>
            </a:r>
          </a:p>
        </p:txBody>
      </p:sp>
      <p:cxnSp>
        <p:nvCxnSpPr>
          <p:cNvPr id="20490" name="Прямая соединительная линия 19"/>
          <p:cNvCxnSpPr>
            <a:cxnSpLocks noChangeShapeType="1"/>
          </p:cNvCxnSpPr>
          <p:nvPr/>
        </p:nvCxnSpPr>
        <p:spPr bwMode="auto">
          <a:xfrm>
            <a:off x="4356100" y="2667000"/>
            <a:ext cx="3887788" cy="0"/>
          </a:xfrm>
          <a:prstGeom prst="line">
            <a:avLst/>
          </a:prstGeom>
          <a:noFill/>
          <a:ln w="12700" algn="ctr">
            <a:solidFill>
              <a:srgbClr val="F21C0A"/>
            </a:solidFill>
            <a:round/>
            <a:headEnd/>
            <a:tailEnd/>
          </a:ln>
        </p:spPr>
      </p:cxnSp>
      <p:cxnSp>
        <p:nvCxnSpPr>
          <p:cNvPr id="20491" name="Прямая соединительная линия 20"/>
          <p:cNvCxnSpPr>
            <a:cxnSpLocks noChangeShapeType="1"/>
          </p:cNvCxnSpPr>
          <p:nvPr/>
        </p:nvCxnSpPr>
        <p:spPr bwMode="auto">
          <a:xfrm>
            <a:off x="4356100" y="3314700"/>
            <a:ext cx="3887788" cy="0"/>
          </a:xfrm>
          <a:prstGeom prst="line">
            <a:avLst/>
          </a:prstGeom>
          <a:noFill/>
          <a:ln w="12700" algn="ctr">
            <a:solidFill>
              <a:srgbClr val="F21C0A"/>
            </a:solidFill>
            <a:round/>
            <a:headEnd/>
            <a:tailEnd/>
          </a:ln>
        </p:spPr>
      </p:cxnSp>
      <p:cxnSp>
        <p:nvCxnSpPr>
          <p:cNvPr id="20492" name="Прямая соединительная линия 21"/>
          <p:cNvCxnSpPr>
            <a:cxnSpLocks noChangeShapeType="1"/>
          </p:cNvCxnSpPr>
          <p:nvPr/>
        </p:nvCxnSpPr>
        <p:spPr bwMode="auto">
          <a:xfrm>
            <a:off x="4356100" y="3890963"/>
            <a:ext cx="3887788" cy="0"/>
          </a:xfrm>
          <a:prstGeom prst="line">
            <a:avLst/>
          </a:prstGeom>
          <a:noFill/>
          <a:ln w="12700" algn="ctr">
            <a:solidFill>
              <a:srgbClr val="F21C0A"/>
            </a:solidFill>
            <a:round/>
            <a:headEnd/>
            <a:tailEnd/>
          </a:ln>
        </p:spPr>
      </p:cxnSp>
      <p:cxnSp>
        <p:nvCxnSpPr>
          <p:cNvPr id="20493" name="Прямая соединительная линия 22"/>
          <p:cNvCxnSpPr>
            <a:cxnSpLocks noChangeShapeType="1"/>
          </p:cNvCxnSpPr>
          <p:nvPr/>
        </p:nvCxnSpPr>
        <p:spPr bwMode="auto">
          <a:xfrm>
            <a:off x="4356100" y="4395788"/>
            <a:ext cx="3887788" cy="0"/>
          </a:xfrm>
          <a:prstGeom prst="line">
            <a:avLst/>
          </a:prstGeom>
          <a:noFill/>
          <a:ln w="12700" algn="ctr">
            <a:solidFill>
              <a:srgbClr val="F21C0A"/>
            </a:solidFill>
            <a:round/>
            <a:headEnd/>
            <a:tailEnd/>
          </a:ln>
        </p:spPr>
      </p:cxnSp>
      <p:sp>
        <p:nvSpPr>
          <p:cNvPr id="20494" name="Text Box 22"/>
          <p:cNvSpPr txBox="1">
            <a:spLocks noChangeArrowheads="1"/>
          </p:cNvSpPr>
          <p:nvPr/>
        </p:nvSpPr>
        <p:spPr bwMode="auto">
          <a:xfrm>
            <a:off x="4356100" y="2216150"/>
            <a:ext cx="2632075" cy="666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ts val="2600"/>
              </a:lnSpc>
            </a:pPr>
            <a:r>
              <a:rPr lang="ru-RU" sz="1600">
                <a:solidFill>
                  <a:schemeClr val="tx1"/>
                </a:solidFill>
                <a:latin typeface="PoloCyr"/>
              </a:rPr>
              <a:t>Установленная мощность –</a:t>
            </a:r>
          </a:p>
          <a:p>
            <a:endParaRPr lang="en-GB" sz="1600">
              <a:solidFill>
                <a:schemeClr val="tx1"/>
              </a:solidFill>
            </a:endParaRPr>
          </a:p>
        </p:txBody>
      </p:sp>
      <p:sp>
        <p:nvSpPr>
          <p:cNvPr id="20495" name="Text Box 23"/>
          <p:cNvSpPr txBox="1">
            <a:spLocks noChangeArrowheads="1"/>
          </p:cNvSpPr>
          <p:nvPr/>
        </p:nvSpPr>
        <p:spPr bwMode="auto">
          <a:xfrm>
            <a:off x="4356100" y="2662238"/>
            <a:ext cx="2693988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solidFill>
                  <a:schemeClr val="tx1"/>
                </a:solidFill>
                <a:latin typeface="PoloCyr"/>
              </a:rPr>
              <a:t>Предполагаемая выработка </a:t>
            </a:r>
          </a:p>
          <a:p>
            <a:r>
              <a:rPr lang="ru-RU" sz="1600">
                <a:solidFill>
                  <a:schemeClr val="tx1"/>
                </a:solidFill>
                <a:latin typeface="PoloCyr"/>
              </a:rPr>
              <a:t>электроэнергии в год –</a:t>
            </a:r>
            <a:endParaRPr lang="en-GB" sz="1600">
              <a:solidFill>
                <a:schemeClr val="tx1"/>
              </a:solidFill>
              <a:latin typeface="PoloCyr"/>
            </a:endParaRPr>
          </a:p>
        </p:txBody>
      </p:sp>
      <p:sp>
        <p:nvSpPr>
          <p:cNvPr id="20496" name="Text Box 24"/>
          <p:cNvSpPr txBox="1">
            <a:spLocks noChangeArrowheads="1"/>
          </p:cNvSpPr>
          <p:nvPr/>
        </p:nvSpPr>
        <p:spPr bwMode="auto">
          <a:xfrm>
            <a:off x="4356100" y="3314700"/>
            <a:ext cx="2693988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solidFill>
                  <a:schemeClr val="tx1"/>
                </a:solidFill>
                <a:latin typeface="PoloCyr"/>
              </a:rPr>
              <a:t>Дата начала строительства/ </a:t>
            </a:r>
          </a:p>
          <a:p>
            <a:r>
              <a:rPr lang="ru-RU" sz="1600">
                <a:solidFill>
                  <a:schemeClr val="tx1"/>
                </a:solidFill>
                <a:latin typeface="PoloCyr"/>
              </a:rPr>
              <a:t>ввода ПГУ в эксплуатацию –</a:t>
            </a:r>
            <a:endParaRPr lang="en-GB" sz="1600">
              <a:solidFill>
                <a:schemeClr val="tx1"/>
              </a:solidFill>
              <a:latin typeface="PoloCyr"/>
            </a:endParaRPr>
          </a:p>
        </p:txBody>
      </p:sp>
      <p:sp>
        <p:nvSpPr>
          <p:cNvPr id="20497" name="Text Box 25"/>
          <p:cNvSpPr txBox="1">
            <a:spLocks noChangeArrowheads="1"/>
          </p:cNvSpPr>
          <p:nvPr/>
        </p:nvSpPr>
        <p:spPr bwMode="auto">
          <a:xfrm>
            <a:off x="4356100" y="3986213"/>
            <a:ext cx="688975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solidFill>
                  <a:schemeClr val="tx1"/>
                </a:solidFill>
                <a:latin typeface="PoloCyr"/>
              </a:rPr>
              <a:t>КПД –</a:t>
            </a:r>
            <a:endParaRPr lang="en-GB" sz="1600">
              <a:solidFill>
                <a:schemeClr val="tx1"/>
              </a:solidFill>
              <a:latin typeface="PoloCyr"/>
            </a:endParaRPr>
          </a:p>
        </p:txBody>
      </p:sp>
      <p:sp>
        <p:nvSpPr>
          <p:cNvPr id="20498" name="Text Box 26"/>
          <p:cNvSpPr txBox="1">
            <a:spLocks noChangeArrowheads="1"/>
          </p:cNvSpPr>
          <p:nvPr/>
        </p:nvSpPr>
        <p:spPr bwMode="auto">
          <a:xfrm>
            <a:off x="4356100" y="4405313"/>
            <a:ext cx="1047750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ts val="2600"/>
              </a:lnSpc>
            </a:pPr>
            <a:r>
              <a:rPr lang="ru-RU" sz="1600">
                <a:solidFill>
                  <a:schemeClr val="tx1"/>
                </a:solidFill>
                <a:latin typeface="PoloCyr"/>
              </a:rPr>
              <a:t>Топливо –</a:t>
            </a:r>
            <a:endParaRPr lang="en-GB" sz="1600">
              <a:solidFill>
                <a:schemeClr val="tx1"/>
              </a:solidFill>
              <a:latin typeface="PoloCyr"/>
            </a:endParaRPr>
          </a:p>
        </p:txBody>
      </p:sp>
      <p:sp>
        <p:nvSpPr>
          <p:cNvPr id="26" name="TextBox 25"/>
          <p:cNvSpPr txBox="1">
            <a:spLocks noChangeArrowheads="1"/>
          </p:cNvSpPr>
          <p:nvPr/>
        </p:nvSpPr>
        <p:spPr bwMode="auto">
          <a:xfrm>
            <a:off x="257175" y="1449388"/>
            <a:ext cx="8707438" cy="800100"/>
          </a:xfrm>
          <a:prstGeom prst="rect">
            <a:avLst/>
          </a:prstGeom>
          <a:noFill/>
          <a:ln w="1587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800" dirty="0">
                <a:solidFill>
                  <a:schemeClr val="tx1"/>
                </a:solidFill>
                <a:latin typeface="PoloCyr" pitchFamily="2" charset="0"/>
                <a:cs typeface="+mn-cs"/>
              </a:rPr>
              <a:t>Парогазовая технология – самый эффективный способ тепловой генерации электроэнергии на сегодняшний день</a:t>
            </a:r>
          </a:p>
          <a:p>
            <a:pPr algn="ctr">
              <a:defRPr/>
            </a:pPr>
            <a:endParaRPr lang="ru-RU" dirty="0">
              <a:solidFill>
                <a:schemeClr val="tx1"/>
              </a:solidFill>
              <a:latin typeface="Polo" pitchFamily="2" charset="0"/>
              <a:cs typeface="+mn-cs"/>
            </a:endParaRPr>
          </a:p>
        </p:txBody>
      </p:sp>
      <p:sp>
        <p:nvSpPr>
          <p:cNvPr id="27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96863" y="1008063"/>
            <a:ext cx="7342188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eaLnBrk="0" hangingPunct="0">
              <a:lnSpc>
                <a:spcPts val="3400"/>
              </a:lnSpc>
              <a:defRPr/>
            </a:pPr>
            <a:r>
              <a:rPr lang="ru-RU" sz="2400" kern="0" dirty="0">
                <a:solidFill>
                  <a:schemeClr val="tx1"/>
                </a:solidFill>
                <a:latin typeface="PoloCyr" pitchFamily="2" charset="0"/>
                <a:ea typeface="+mj-ea"/>
                <a:cs typeface="+mj-cs"/>
              </a:rPr>
              <a:t>Новый конденсационный одновальный блок ПГУ-400</a:t>
            </a:r>
          </a:p>
        </p:txBody>
      </p:sp>
      <p:pic>
        <p:nvPicPr>
          <p:cNvPr id="20502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96863" y="2595563"/>
            <a:ext cx="3554412" cy="254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Номер слайда 1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170101B4-4EFE-4A73-B908-F01AF3DDEDA5}" type="slidenum">
              <a:rPr smtClean="0">
                <a:latin typeface="Polo"/>
                <a:cs typeface="Arial" charset="0"/>
              </a:rPr>
              <a:pPr/>
              <a:t>4</a:t>
            </a:fld>
            <a:endParaRPr lang="ru-RU" smtClean="0">
              <a:latin typeface="Polo"/>
              <a:cs typeface="Arial" charset="0"/>
            </a:endParaRPr>
          </a:p>
        </p:txBody>
      </p:sp>
      <p:sp>
        <p:nvSpPr>
          <p:cNvPr id="21506" name="Нижний колонтитул 2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/>
          <a:p>
            <a:r>
              <a:rPr lang="ru-RU" smtClean="0">
                <a:latin typeface="Polo"/>
                <a:cs typeface="Arial" charset="0"/>
              </a:rPr>
              <a:t>      </a:t>
            </a:r>
          </a:p>
        </p:txBody>
      </p:sp>
      <p:sp>
        <p:nvSpPr>
          <p:cNvPr id="4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41313" y="1096963"/>
            <a:ext cx="7596981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ts val="3400"/>
              </a:lnSpc>
              <a:defRPr/>
            </a:pPr>
            <a:r>
              <a:rPr lang="ru-RU" sz="2400" kern="0" dirty="0">
                <a:solidFill>
                  <a:schemeClr val="tx1"/>
                </a:solidFill>
                <a:latin typeface="PoloCyr" pitchFamily="2" charset="0"/>
                <a:ea typeface="+mj-ea"/>
                <a:cs typeface="+mj-cs"/>
              </a:rPr>
              <a:t>Проект строительства 2-х ПГУ-400 Сургутской ГРЭС-2</a:t>
            </a:r>
          </a:p>
        </p:txBody>
      </p:sp>
      <p:sp>
        <p:nvSpPr>
          <p:cNvPr id="21510" name="TextBox 13"/>
          <p:cNvSpPr txBox="1">
            <a:spLocks noChangeArrowheads="1"/>
          </p:cNvSpPr>
          <p:nvPr/>
        </p:nvSpPr>
        <p:spPr bwMode="auto">
          <a:xfrm>
            <a:off x="7299325" y="3278188"/>
            <a:ext cx="1673225" cy="6000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ts val="2000"/>
              </a:lnSpc>
            </a:pPr>
            <a:r>
              <a:rPr lang="ru-RU" sz="1600" b="1">
                <a:solidFill>
                  <a:schemeClr val="bg2"/>
                </a:solidFill>
                <a:latin typeface="PoloCyr"/>
              </a:rPr>
              <a:t>не менее </a:t>
            </a:r>
          </a:p>
          <a:p>
            <a:pPr>
              <a:lnSpc>
                <a:spcPts val="2000"/>
              </a:lnSpc>
            </a:pPr>
            <a:r>
              <a:rPr lang="ru-RU" sz="1600" b="1">
                <a:solidFill>
                  <a:schemeClr val="bg2"/>
                </a:solidFill>
                <a:latin typeface="PoloCyr"/>
              </a:rPr>
              <a:t>4 500 млн.кВтч</a:t>
            </a:r>
          </a:p>
        </p:txBody>
      </p:sp>
      <p:sp>
        <p:nvSpPr>
          <p:cNvPr id="21511" name="TextBox 14"/>
          <p:cNvSpPr txBox="1">
            <a:spLocks noChangeArrowheads="1"/>
          </p:cNvSpPr>
          <p:nvPr/>
        </p:nvSpPr>
        <p:spPr bwMode="auto">
          <a:xfrm>
            <a:off x="7435850" y="4252913"/>
            <a:ext cx="1536700" cy="3460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ts val="2000"/>
              </a:lnSpc>
            </a:pPr>
            <a:r>
              <a:rPr lang="ru-RU" sz="1600" b="1">
                <a:solidFill>
                  <a:schemeClr val="bg2"/>
                </a:solidFill>
                <a:latin typeface="PoloCyr"/>
              </a:rPr>
              <a:t>2008/2011 год</a:t>
            </a:r>
          </a:p>
        </p:txBody>
      </p:sp>
      <p:sp>
        <p:nvSpPr>
          <p:cNvPr id="21512" name="TextBox 15"/>
          <p:cNvSpPr txBox="1">
            <a:spLocks noChangeArrowheads="1"/>
          </p:cNvSpPr>
          <p:nvPr/>
        </p:nvSpPr>
        <p:spPr bwMode="auto">
          <a:xfrm>
            <a:off x="7347744" y="4761131"/>
            <a:ext cx="590550" cy="3488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ts val="2000"/>
              </a:lnSpc>
            </a:pPr>
            <a:r>
              <a:rPr lang="ru-RU" sz="1600" b="1" dirty="0">
                <a:solidFill>
                  <a:schemeClr val="bg2"/>
                </a:solidFill>
                <a:latin typeface="PoloCyr"/>
              </a:rPr>
              <a:t>56%</a:t>
            </a:r>
          </a:p>
        </p:txBody>
      </p:sp>
      <p:sp>
        <p:nvSpPr>
          <p:cNvPr id="21513" name="TextBox 16"/>
          <p:cNvSpPr txBox="1">
            <a:spLocks noChangeArrowheads="1"/>
          </p:cNvSpPr>
          <p:nvPr/>
        </p:nvSpPr>
        <p:spPr bwMode="auto">
          <a:xfrm>
            <a:off x="6532563" y="5226050"/>
            <a:ext cx="1711325" cy="3460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ts val="2000"/>
              </a:lnSpc>
            </a:pPr>
            <a:r>
              <a:rPr lang="ru-RU" sz="1600" b="1" dirty="0">
                <a:solidFill>
                  <a:schemeClr val="bg2"/>
                </a:solidFill>
                <a:latin typeface="PoloCyr"/>
              </a:rPr>
              <a:t>газ (попутный) </a:t>
            </a:r>
            <a:endParaRPr lang="ru-RU" sz="1600" dirty="0">
              <a:solidFill>
                <a:schemeClr val="bg2"/>
              </a:solidFill>
              <a:latin typeface="PoloCyr"/>
            </a:endParaRPr>
          </a:p>
        </p:txBody>
      </p:sp>
      <p:cxnSp>
        <p:nvCxnSpPr>
          <p:cNvPr id="21514" name="Прямая соединительная линия 19"/>
          <p:cNvCxnSpPr>
            <a:cxnSpLocks noChangeShapeType="1"/>
          </p:cNvCxnSpPr>
          <p:nvPr/>
        </p:nvCxnSpPr>
        <p:spPr bwMode="auto">
          <a:xfrm>
            <a:off x="4356100" y="3159125"/>
            <a:ext cx="3887788" cy="0"/>
          </a:xfrm>
          <a:prstGeom prst="line">
            <a:avLst/>
          </a:prstGeom>
          <a:noFill/>
          <a:ln w="12700" algn="ctr">
            <a:solidFill>
              <a:srgbClr val="F21C0A"/>
            </a:solidFill>
            <a:round/>
            <a:headEnd/>
            <a:tailEnd/>
          </a:ln>
        </p:spPr>
      </p:cxnSp>
      <p:cxnSp>
        <p:nvCxnSpPr>
          <p:cNvPr id="21515" name="Прямая соединительная линия 20"/>
          <p:cNvCxnSpPr>
            <a:cxnSpLocks noChangeShapeType="1"/>
          </p:cNvCxnSpPr>
          <p:nvPr/>
        </p:nvCxnSpPr>
        <p:spPr bwMode="auto">
          <a:xfrm>
            <a:off x="4424363" y="3878263"/>
            <a:ext cx="3887787" cy="0"/>
          </a:xfrm>
          <a:prstGeom prst="line">
            <a:avLst/>
          </a:prstGeom>
          <a:noFill/>
          <a:ln w="12700" algn="ctr">
            <a:solidFill>
              <a:srgbClr val="F21C0A"/>
            </a:solidFill>
            <a:round/>
            <a:headEnd/>
            <a:tailEnd/>
          </a:ln>
        </p:spPr>
      </p:cxnSp>
      <p:cxnSp>
        <p:nvCxnSpPr>
          <p:cNvPr id="21516" name="Прямая соединительная линия 21"/>
          <p:cNvCxnSpPr>
            <a:cxnSpLocks noChangeShapeType="1"/>
          </p:cNvCxnSpPr>
          <p:nvPr/>
        </p:nvCxnSpPr>
        <p:spPr bwMode="auto">
          <a:xfrm>
            <a:off x="4403725" y="4616450"/>
            <a:ext cx="3887788" cy="0"/>
          </a:xfrm>
          <a:prstGeom prst="line">
            <a:avLst/>
          </a:prstGeom>
          <a:noFill/>
          <a:ln w="12700" algn="ctr">
            <a:solidFill>
              <a:srgbClr val="F21C0A"/>
            </a:solidFill>
            <a:round/>
            <a:headEnd/>
            <a:tailEnd/>
          </a:ln>
        </p:spPr>
      </p:cxnSp>
      <p:cxnSp>
        <p:nvCxnSpPr>
          <p:cNvPr id="21517" name="Прямая соединительная линия 22"/>
          <p:cNvCxnSpPr>
            <a:cxnSpLocks noChangeShapeType="1"/>
          </p:cNvCxnSpPr>
          <p:nvPr/>
        </p:nvCxnSpPr>
        <p:spPr bwMode="auto">
          <a:xfrm>
            <a:off x="4346575" y="5149850"/>
            <a:ext cx="3887788" cy="0"/>
          </a:xfrm>
          <a:prstGeom prst="line">
            <a:avLst/>
          </a:prstGeom>
          <a:noFill/>
          <a:ln w="12700" algn="ctr">
            <a:solidFill>
              <a:srgbClr val="F21C0A"/>
            </a:solidFill>
            <a:round/>
            <a:headEnd/>
            <a:tailEnd/>
          </a:ln>
        </p:spPr>
      </p:cxnSp>
      <p:cxnSp>
        <p:nvCxnSpPr>
          <p:cNvPr id="21518" name="Прямая соединительная линия 23"/>
          <p:cNvCxnSpPr>
            <a:cxnSpLocks noChangeShapeType="1"/>
          </p:cNvCxnSpPr>
          <p:nvPr/>
        </p:nvCxnSpPr>
        <p:spPr bwMode="auto">
          <a:xfrm>
            <a:off x="4356100" y="5634038"/>
            <a:ext cx="3887788" cy="0"/>
          </a:xfrm>
          <a:prstGeom prst="line">
            <a:avLst/>
          </a:prstGeom>
          <a:noFill/>
          <a:ln w="12700" algn="ctr">
            <a:solidFill>
              <a:srgbClr val="F21C0A"/>
            </a:solidFill>
            <a:round/>
            <a:headEnd/>
            <a:tailEnd/>
          </a:ln>
        </p:spPr>
      </p:cxnSp>
      <p:sp>
        <p:nvSpPr>
          <p:cNvPr id="21519" name="Text Box 23"/>
          <p:cNvSpPr txBox="1">
            <a:spLocks noChangeArrowheads="1"/>
          </p:cNvSpPr>
          <p:nvPr/>
        </p:nvSpPr>
        <p:spPr bwMode="auto">
          <a:xfrm>
            <a:off x="4267200" y="3297238"/>
            <a:ext cx="2908300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solidFill>
                  <a:schemeClr val="tx1"/>
                </a:solidFill>
                <a:latin typeface="PoloCyr"/>
              </a:rPr>
              <a:t>Предполагаемая выработка </a:t>
            </a:r>
          </a:p>
          <a:p>
            <a:r>
              <a:rPr lang="ru-RU" sz="1600">
                <a:solidFill>
                  <a:schemeClr val="tx1"/>
                </a:solidFill>
                <a:latin typeface="PoloCyr"/>
              </a:rPr>
              <a:t>электроэнергии в год –</a:t>
            </a:r>
            <a:endParaRPr lang="en-GB" sz="1600">
              <a:solidFill>
                <a:schemeClr val="tx1"/>
              </a:solidFill>
              <a:latin typeface="PoloCyr"/>
            </a:endParaRPr>
          </a:p>
        </p:txBody>
      </p:sp>
      <p:sp>
        <p:nvSpPr>
          <p:cNvPr id="21520" name="Text Box 24"/>
          <p:cNvSpPr txBox="1">
            <a:spLocks noChangeArrowheads="1"/>
          </p:cNvSpPr>
          <p:nvPr/>
        </p:nvSpPr>
        <p:spPr bwMode="auto">
          <a:xfrm>
            <a:off x="4302125" y="4017963"/>
            <a:ext cx="4670425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600">
                <a:solidFill>
                  <a:schemeClr val="tx1"/>
                </a:solidFill>
                <a:latin typeface="PoloCyr"/>
              </a:rPr>
              <a:t>Дата начала строительства/</a:t>
            </a:r>
          </a:p>
          <a:p>
            <a:r>
              <a:rPr lang="ru-RU" sz="1600">
                <a:solidFill>
                  <a:schemeClr val="tx1"/>
                </a:solidFill>
                <a:latin typeface="PoloCyr"/>
              </a:rPr>
              <a:t> ввода ПГУ в эксплуатацию –</a:t>
            </a:r>
            <a:endParaRPr lang="en-GB" sz="1600">
              <a:solidFill>
                <a:schemeClr val="tx1"/>
              </a:solidFill>
              <a:latin typeface="PoloCyr"/>
            </a:endParaRPr>
          </a:p>
        </p:txBody>
      </p:sp>
      <p:sp>
        <p:nvSpPr>
          <p:cNvPr id="21521" name="Text Box 25"/>
          <p:cNvSpPr txBox="1">
            <a:spLocks noChangeArrowheads="1"/>
          </p:cNvSpPr>
          <p:nvPr/>
        </p:nvSpPr>
        <p:spPr bwMode="auto">
          <a:xfrm>
            <a:off x="4424363" y="4761131"/>
            <a:ext cx="757238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 dirty="0">
                <a:solidFill>
                  <a:schemeClr val="tx1"/>
                </a:solidFill>
                <a:latin typeface="PoloCyr"/>
              </a:rPr>
              <a:t>КПД –</a:t>
            </a:r>
            <a:endParaRPr lang="en-GB" sz="1600" dirty="0">
              <a:solidFill>
                <a:schemeClr val="tx1"/>
              </a:solidFill>
              <a:latin typeface="PoloCyr"/>
            </a:endParaRPr>
          </a:p>
        </p:txBody>
      </p:sp>
      <p:sp>
        <p:nvSpPr>
          <p:cNvPr id="21522" name="Text Box 26"/>
          <p:cNvSpPr txBox="1">
            <a:spLocks noChangeArrowheads="1"/>
          </p:cNvSpPr>
          <p:nvPr/>
        </p:nvSpPr>
        <p:spPr bwMode="auto">
          <a:xfrm>
            <a:off x="4521200" y="5149850"/>
            <a:ext cx="1154113" cy="422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ts val="2600"/>
              </a:lnSpc>
            </a:pPr>
            <a:r>
              <a:rPr lang="ru-RU" sz="1600">
                <a:solidFill>
                  <a:schemeClr val="tx1"/>
                </a:solidFill>
                <a:latin typeface="PoloCyr"/>
              </a:rPr>
              <a:t>Топливо –</a:t>
            </a:r>
            <a:endParaRPr lang="en-GB" sz="1600">
              <a:solidFill>
                <a:schemeClr val="tx1"/>
              </a:solidFill>
              <a:latin typeface="PoloCyr"/>
            </a:endParaRPr>
          </a:p>
        </p:txBody>
      </p:sp>
      <p:sp>
        <p:nvSpPr>
          <p:cNvPr id="21523" name="Text Box 23"/>
          <p:cNvSpPr txBox="1">
            <a:spLocks noChangeArrowheads="1"/>
          </p:cNvSpPr>
          <p:nvPr/>
        </p:nvSpPr>
        <p:spPr bwMode="auto">
          <a:xfrm>
            <a:off x="4335463" y="2663825"/>
            <a:ext cx="2840037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solidFill>
                  <a:schemeClr val="tx1"/>
                </a:solidFill>
                <a:latin typeface="PoloCyr"/>
              </a:rPr>
              <a:t>Используемая технология –</a:t>
            </a:r>
            <a:endParaRPr lang="en-GB" sz="1600">
              <a:solidFill>
                <a:schemeClr val="tx1"/>
              </a:solidFill>
              <a:latin typeface="PoloCyr"/>
            </a:endParaRPr>
          </a:p>
        </p:txBody>
      </p:sp>
      <p:sp>
        <p:nvSpPr>
          <p:cNvPr id="21524" name="TextBox 14"/>
          <p:cNvSpPr txBox="1">
            <a:spLocks noChangeArrowheads="1"/>
          </p:cNvSpPr>
          <p:nvPr/>
        </p:nvSpPr>
        <p:spPr bwMode="auto">
          <a:xfrm>
            <a:off x="7175500" y="2293938"/>
            <a:ext cx="1852613" cy="8540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ts val="2000"/>
              </a:lnSpc>
            </a:pPr>
            <a:r>
              <a:rPr lang="ru-RU" sz="1600" b="1">
                <a:solidFill>
                  <a:schemeClr val="bg2"/>
                </a:solidFill>
                <a:latin typeface="PoloCyr"/>
              </a:rPr>
              <a:t>одновальный блок ПГУ-400 МВт</a:t>
            </a:r>
          </a:p>
        </p:txBody>
      </p:sp>
      <p:sp>
        <p:nvSpPr>
          <p:cNvPr id="21526" name="Rectangle 6"/>
          <p:cNvSpPr txBox="1">
            <a:spLocks noChangeArrowheads="1"/>
          </p:cNvSpPr>
          <p:nvPr/>
        </p:nvSpPr>
        <p:spPr bwMode="gray">
          <a:xfrm>
            <a:off x="341313" y="1538288"/>
            <a:ext cx="33274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ts val="3400"/>
              </a:lnSpc>
            </a:pPr>
            <a:r>
              <a:rPr lang="ru-RU" sz="1800" b="1" dirty="0">
                <a:solidFill>
                  <a:schemeClr val="tx1"/>
                </a:solidFill>
                <a:latin typeface="PoloCyr"/>
              </a:rPr>
              <a:t>Общая информация</a:t>
            </a:r>
          </a:p>
        </p:txBody>
      </p:sp>
      <p:pic>
        <p:nvPicPr>
          <p:cNvPr id="21527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41313" y="2293938"/>
            <a:ext cx="3817937" cy="2855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Номер слайда 1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10339FDB-F7F2-4531-8E1E-4AA4A5B73DEB}" type="slidenum">
              <a:rPr smtClean="0">
                <a:latin typeface="Polo"/>
                <a:cs typeface="Arial" charset="0"/>
              </a:rPr>
              <a:pPr/>
              <a:t>5</a:t>
            </a:fld>
            <a:endParaRPr lang="ru-RU" smtClean="0">
              <a:latin typeface="Polo"/>
              <a:cs typeface="Arial" charset="0"/>
            </a:endParaRPr>
          </a:p>
        </p:txBody>
      </p:sp>
      <p:sp>
        <p:nvSpPr>
          <p:cNvPr id="22530" name="Нижний колонтитул 2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/>
          <a:p>
            <a:r>
              <a:rPr lang="ru-RU" smtClean="0">
                <a:latin typeface="Polo"/>
                <a:cs typeface="Arial" charset="0"/>
              </a:rPr>
              <a:t>      </a:t>
            </a:r>
          </a:p>
        </p:txBody>
      </p:sp>
      <p:sp>
        <p:nvSpPr>
          <p:cNvPr id="4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22262" y="996950"/>
            <a:ext cx="7342188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ts val="3400"/>
              </a:lnSpc>
              <a:defRPr/>
            </a:pPr>
            <a:r>
              <a:rPr lang="ru-RU" sz="2400" kern="0" dirty="0">
                <a:solidFill>
                  <a:schemeClr val="tx1"/>
                </a:solidFill>
                <a:latin typeface="PoloCyr" pitchFamily="2" charset="0"/>
                <a:ea typeface="+mj-ea"/>
                <a:cs typeface="+mj-cs"/>
              </a:rPr>
              <a:t>Проект строительства ПГУ-400 Яйвинской ГРЭС</a:t>
            </a:r>
          </a:p>
        </p:txBody>
      </p:sp>
      <p:sp>
        <p:nvSpPr>
          <p:cNvPr id="22534" name="TextBox 13"/>
          <p:cNvSpPr txBox="1">
            <a:spLocks noChangeArrowheads="1"/>
          </p:cNvSpPr>
          <p:nvPr/>
        </p:nvSpPr>
        <p:spPr bwMode="auto">
          <a:xfrm>
            <a:off x="7394575" y="2597150"/>
            <a:ext cx="1673225" cy="6000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ts val="2000"/>
              </a:lnSpc>
            </a:pPr>
            <a:r>
              <a:rPr lang="ru-RU" sz="1600" b="1">
                <a:solidFill>
                  <a:schemeClr val="bg2"/>
                </a:solidFill>
                <a:latin typeface="PoloCyr"/>
              </a:rPr>
              <a:t>не менее </a:t>
            </a:r>
          </a:p>
          <a:p>
            <a:pPr>
              <a:lnSpc>
                <a:spcPts val="2000"/>
              </a:lnSpc>
            </a:pPr>
            <a:r>
              <a:rPr lang="ru-RU" sz="1600" b="1">
                <a:solidFill>
                  <a:schemeClr val="bg2"/>
                </a:solidFill>
                <a:latin typeface="PoloCyr"/>
              </a:rPr>
              <a:t>2 300 млн.кВтч</a:t>
            </a:r>
          </a:p>
        </p:txBody>
      </p:sp>
      <p:sp>
        <p:nvSpPr>
          <p:cNvPr id="22535" name="TextBox 14"/>
          <p:cNvSpPr txBox="1">
            <a:spLocks noChangeArrowheads="1"/>
          </p:cNvSpPr>
          <p:nvPr/>
        </p:nvSpPr>
        <p:spPr bwMode="auto">
          <a:xfrm>
            <a:off x="7569200" y="3435350"/>
            <a:ext cx="1547813" cy="3460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ts val="2000"/>
              </a:lnSpc>
            </a:pPr>
            <a:r>
              <a:rPr lang="ru-RU" sz="1600" b="1" dirty="0">
                <a:solidFill>
                  <a:schemeClr val="bg2"/>
                </a:solidFill>
                <a:latin typeface="PoloCyr"/>
              </a:rPr>
              <a:t>2009-2011 год</a:t>
            </a:r>
          </a:p>
        </p:txBody>
      </p:sp>
      <p:sp>
        <p:nvSpPr>
          <p:cNvPr id="22536" name="TextBox 15"/>
          <p:cNvSpPr txBox="1">
            <a:spLocks noChangeArrowheads="1"/>
          </p:cNvSpPr>
          <p:nvPr/>
        </p:nvSpPr>
        <p:spPr bwMode="auto">
          <a:xfrm>
            <a:off x="7394575" y="4087812"/>
            <a:ext cx="760412" cy="3460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ts val="2000"/>
              </a:lnSpc>
            </a:pPr>
            <a:r>
              <a:rPr lang="ru-RU" sz="1600" b="1" dirty="0">
                <a:solidFill>
                  <a:schemeClr val="bg2"/>
                </a:solidFill>
                <a:latin typeface="PoloCyr"/>
              </a:rPr>
              <a:t>56,6%</a:t>
            </a:r>
          </a:p>
        </p:txBody>
      </p:sp>
      <p:sp>
        <p:nvSpPr>
          <p:cNvPr id="22537" name="TextBox 16"/>
          <p:cNvSpPr txBox="1">
            <a:spLocks noChangeArrowheads="1"/>
          </p:cNvSpPr>
          <p:nvPr/>
        </p:nvSpPr>
        <p:spPr bwMode="auto">
          <a:xfrm>
            <a:off x="6430963" y="4543425"/>
            <a:ext cx="1711325" cy="3460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>
              <a:lnSpc>
                <a:spcPts val="2000"/>
              </a:lnSpc>
            </a:pPr>
            <a:r>
              <a:rPr lang="ru-RU" sz="1600" b="1" dirty="0">
                <a:solidFill>
                  <a:schemeClr val="bg2"/>
                </a:solidFill>
                <a:latin typeface="PoloCyr"/>
              </a:rPr>
              <a:t>газ</a:t>
            </a:r>
            <a:endParaRPr lang="ru-RU" sz="1600" dirty="0">
              <a:solidFill>
                <a:schemeClr val="bg2"/>
              </a:solidFill>
              <a:latin typeface="PoloCyr"/>
            </a:endParaRPr>
          </a:p>
        </p:txBody>
      </p:sp>
      <p:cxnSp>
        <p:nvCxnSpPr>
          <p:cNvPr id="22538" name="Прямая соединительная линия 19"/>
          <p:cNvCxnSpPr>
            <a:cxnSpLocks noChangeShapeType="1"/>
          </p:cNvCxnSpPr>
          <p:nvPr/>
        </p:nvCxnSpPr>
        <p:spPr bwMode="auto">
          <a:xfrm>
            <a:off x="4551363" y="2597150"/>
            <a:ext cx="3887787" cy="0"/>
          </a:xfrm>
          <a:prstGeom prst="line">
            <a:avLst/>
          </a:prstGeom>
          <a:noFill/>
          <a:ln w="12700" algn="ctr">
            <a:solidFill>
              <a:srgbClr val="F21C0A"/>
            </a:solidFill>
            <a:round/>
            <a:headEnd/>
            <a:tailEnd/>
          </a:ln>
        </p:spPr>
      </p:cxnSp>
      <p:cxnSp>
        <p:nvCxnSpPr>
          <p:cNvPr id="22539" name="Прямая соединительная линия 20"/>
          <p:cNvCxnSpPr>
            <a:cxnSpLocks noChangeShapeType="1"/>
          </p:cNvCxnSpPr>
          <p:nvPr/>
        </p:nvCxnSpPr>
        <p:spPr bwMode="auto">
          <a:xfrm>
            <a:off x="4486275" y="3201988"/>
            <a:ext cx="3887788" cy="0"/>
          </a:xfrm>
          <a:prstGeom prst="line">
            <a:avLst/>
          </a:prstGeom>
          <a:noFill/>
          <a:ln w="12700" algn="ctr">
            <a:solidFill>
              <a:srgbClr val="F21C0A"/>
            </a:solidFill>
            <a:round/>
            <a:headEnd/>
            <a:tailEnd/>
          </a:ln>
        </p:spPr>
      </p:cxnSp>
      <p:cxnSp>
        <p:nvCxnSpPr>
          <p:cNvPr id="22540" name="Прямая соединительная линия 21"/>
          <p:cNvCxnSpPr>
            <a:cxnSpLocks noChangeShapeType="1"/>
          </p:cNvCxnSpPr>
          <p:nvPr/>
        </p:nvCxnSpPr>
        <p:spPr bwMode="auto">
          <a:xfrm>
            <a:off x="4475163" y="3924300"/>
            <a:ext cx="3887787" cy="0"/>
          </a:xfrm>
          <a:prstGeom prst="line">
            <a:avLst/>
          </a:prstGeom>
          <a:noFill/>
          <a:ln w="12700" algn="ctr">
            <a:solidFill>
              <a:srgbClr val="F21C0A"/>
            </a:solidFill>
            <a:round/>
            <a:headEnd/>
            <a:tailEnd/>
          </a:ln>
        </p:spPr>
      </p:cxnSp>
      <p:cxnSp>
        <p:nvCxnSpPr>
          <p:cNvPr id="22541" name="Прямая соединительная линия 22"/>
          <p:cNvCxnSpPr>
            <a:cxnSpLocks noChangeShapeType="1"/>
          </p:cNvCxnSpPr>
          <p:nvPr/>
        </p:nvCxnSpPr>
        <p:spPr bwMode="auto">
          <a:xfrm>
            <a:off x="4486275" y="4467225"/>
            <a:ext cx="3887788" cy="0"/>
          </a:xfrm>
          <a:prstGeom prst="line">
            <a:avLst/>
          </a:prstGeom>
          <a:noFill/>
          <a:ln w="12700" algn="ctr">
            <a:solidFill>
              <a:srgbClr val="F21C0A"/>
            </a:solidFill>
            <a:round/>
            <a:headEnd/>
            <a:tailEnd/>
          </a:ln>
        </p:spPr>
      </p:cxnSp>
      <p:cxnSp>
        <p:nvCxnSpPr>
          <p:cNvPr id="22542" name="Прямая соединительная линия 23"/>
          <p:cNvCxnSpPr>
            <a:cxnSpLocks noChangeShapeType="1"/>
          </p:cNvCxnSpPr>
          <p:nvPr/>
        </p:nvCxnSpPr>
        <p:spPr bwMode="auto">
          <a:xfrm>
            <a:off x="4392613" y="5003800"/>
            <a:ext cx="3887787" cy="0"/>
          </a:xfrm>
          <a:prstGeom prst="line">
            <a:avLst/>
          </a:prstGeom>
          <a:noFill/>
          <a:ln w="12700" algn="ctr">
            <a:solidFill>
              <a:srgbClr val="F21C0A"/>
            </a:solidFill>
            <a:round/>
            <a:headEnd/>
            <a:tailEnd/>
          </a:ln>
        </p:spPr>
      </p:cxnSp>
      <p:sp>
        <p:nvSpPr>
          <p:cNvPr id="22543" name="Text Box 23"/>
          <p:cNvSpPr txBox="1">
            <a:spLocks noChangeArrowheads="1"/>
          </p:cNvSpPr>
          <p:nvPr/>
        </p:nvSpPr>
        <p:spPr bwMode="auto">
          <a:xfrm>
            <a:off x="4486275" y="2620963"/>
            <a:ext cx="2908300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solidFill>
                  <a:schemeClr val="tx1"/>
                </a:solidFill>
                <a:latin typeface="PoloCyr"/>
              </a:rPr>
              <a:t>Предполагаемая выработка </a:t>
            </a:r>
          </a:p>
          <a:p>
            <a:r>
              <a:rPr lang="ru-RU" sz="1600">
                <a:solidFill>
                  <a:schemeClr val="tx1"/>
                </a:solidFill>
                <a:latin typeface="PoloCyr"/>
              </a:rPr>
              <a:t>электроэнергии в год –</a:t>
            </a:r>
            <a:endParaRPr lang="en-GB" sz="1600">
              <a:solidFill>
                <a:schemeClr val="tx1"/>
              </a:solidFill>
              <a:latin typeface="PoloCyr"/>
            </a:endParaRPr>
          </a:p>
        </p:txBody>
      </p:sp>
      <p:sp>
        <p:nvSpPr>
          <p:cNvPr id="22544" name="Text Box 24"/>
          <p:cNvSpPr txBox="1">
            <a:spLocks noChangeArrowheads="1"/>
          </p:cNvSpPr>
          <p:nvPr/>
        </p:nvSpPr>
        <p:spPr bwMode="auto">
          <a:xfrm>
            <a:off x="4551363" y="3203575"/>
            <a:ext cx="3017837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 dirty="0">
                <a:solidFill>
                  <a:schemeClr val="tx1"/>
                </a:solidFill>
                <a:latin typeface="PoloCyr"/>
              </a:rPr>
              <a:t>Дата начала строительства/</a:t>
            </a:r>
          </a:p>
          <a:p>
            <a:r>
              <a:rPr lang="ru-RU" sz="1600" dirty="0">
                <a:solidFill>
                  <a:schemeClr val="tx1"/>
                </a:solidFill>
                <a:latin typeface="PoloCyr"/>
              </a:rPr>
              <a:t> ввода ПГУ в эксплуатацию  –</a:t>
            </a:r>
            <a:endParaRPr lang="en-GB" sz="1600" dirty="0">
              <a:solidFill>
                <a:schemeClr val="tx1"/>
              </a:solidFill>
              <a:latin typeface="PoloCyr"/>
            </a:endParaRPr>
          </a:p>
        </p:txBody>
      </p:sp>
      <p:sp>
        <p:nvSpPr>
          <p:cNvPr id="22545" name="Text Box 25"/>
          <p:cNvSpPr txBox="1">
            <a:spLocks noChangeArrowheads="1"/>
          </p:cNvSpPr>
          <p:nvPr/>
        </p:nvSpPr>
        <p:spPr bwMode="auto">
          <a:xfrm>
            <a:off x="4700588" y="3924300"/>
            <a:ext cx="757237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solidFill>
                  <a:schemeClr val="tx1"/>
                </a:solidFill>
                <a:latin typeface="PoloCyr"/>
              </a:rPr>
              <a:t>КПД –</a:t>
            </a:r>
            <a:endParaRPr lang="en-GB" sz="1600">
              <a:solidFill>
                <a:schemeClr val="tx1"/>
              </a:solidFill>
              <a:latin typeface="PoloCyr"/>
            </a:endParaRPr>
          </a:p>
        </p:txBody>
      </p:sp>
      <p:sp>
        <p:nvSpPr>
          <p:cNvPr id="22546" name="Text Box 26"/>
          <p:cNvSpPr txBox="1">
            <a:spLocks noChangeArrowheads="1"/>
          </p:cNvSpPr>
          <p:nvPr/>
        </p:nvSpPr>
        <p:spPr bwMode="auto">
          <a:xfrm>
            <a:off x="4521200" y="4467225"/>
            <a:ext cx="1154113" cy="422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ts val="2600"/>
              </a:lnSpc>
            </a:pPr>
            <a:r>
              <a:rPr lang="ru-RU" sz="1600">
                <a:solidFill>
                  <a:schemeClr val="tx1"/>
                </a:solidFill>
                <a:latin typeface="PoloCyr"/>
              </a:rPr>
              <a:t>Топливо –</a:t>
            </a:r>
            <a:endParaRPr lang="en-GB" sz="1600">
              <a:solidFill>
                <a:schemeClr val="tx1"/>
              </a:solidFill>
              <a:latin typeface="PoloCyr"/>
            </a:endParaRPr>
          </a:p>
        </p:txBody>
      </p:sp>
      <p:sp>
        <p:nvSpPr>
          <p:cNvPr id="22547" name="Text Box 23"/>
          <p:cNvSpPr txBox="1">
            <a:spLocks noChangeArrowheads="1"/>
          </p:cNvSpPr>
          <p:nvPr/>
        </p:nvSpPr>
        <p:spPr bwMode="auto">
          <a:xfrm>
            <a:off x="4521200" y="2079625"/>
            <a:ext cx="2840038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solidFill>
                  <a:schemeClr val="tx1"/>
                </a:solidFill>
                <a:latin typeface="PoloCyr"/>
              </a:rPr>
              <a:t>Используемая технология –</a:t>
            </a:r>
            <a:endParaRPr lang="en-GB" sz="1600">
              <a:solidFill>
                <a:schemeClr val="tx1"/>
              </a:solidFill>
              <a:latin typeface="PoloCyr"/>
            </a:endParaRPr>
          </a:p>
        </p:txBody>
      </p:sp>
      <p:sp>
        <p:nvSpPr>
          <p:cNvPr id="22548" name="TextBox 14"/>
          <p:cNvSpPr txBox="1">
            <a:spLocks noChangeArrowheads="1"/>
          </p:cNvSpPr>
          <p:nvPr/>
        </p:nvSpPr>
        <p:spPr bwMode="auto">
          <a:xfrm>
            <a:off x="7226300" y="1743075"/>
            <a:ext cx="1852613" cy="8540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ts val="2000"/>
              </a:lnSpc>
            </a:pPr>
            <a:r>
              <a:rPr lang="ru-RU" sz="1600" b="1">
                <a:solidFill>
                  <a:schemeClr val="bg2"/>
                </a:solidFill>
                <a:latin typeface="PoloCyr"/>
              </a:rPr>
              <a:t>одновальный блок ПГУ-400 МВт</a:t>
            </a:r>
          </a:p>
        </p:txBody>
      </p:sp>
      <p:sp>
        <p:nvSpPr>
          <p:cNvPr id="22550" name="Rectangle 6"/>
          <p:cNvSpPr txBox="1">
            <a:spLocks noChangeArrowheads="1"/>
          </p:cNvSpPr>
          <p:nvPr/>
        </p:nvSpPr>
        <p:spPr bwMode="gray">
          <a:xfrm>
            <a:off x="115888" y="1438275"/>
            <a:ext cx="33274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ts val="3400"/>
              </a:lnSpc>
            </a:pPr>
            <a:r>
              <a:rPr lang="ru-RU" sz="1800" b="1" dirty="0">
                <a:solidFill>
                  <a:schemeClr val="tx1"/>
                </a:solidFill>
                <a:latin typeface="PoloCyr"/>
              </a:rPr>
              <a:t>Общая информация</a:t>
            </a:r>
          </a:p>
        </p:txBody>
      </p:sp>
      <p:pic>
        <p:nvPicPr>
          <p:cNvPr id="22551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5888" y="1898650"/>
            <a:ext cx="4276725" cy="3281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Номер слайда 1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60BD39B7-9D2E-494C-9EB5-C951E66B7880}" type="slidenum">
              <a:rPr smtClean="0">
                <a:latin typeface="Polo"/>
                <a:cs typeface="Arial" charset="0"/>
              </a:rPr>
              <a:pPr/>
              <a:t>6</a:t>
            </a:fld>
            <a:endParaRPr lang="ru-RU" smtClean="0">
              <a:latin typeface="Polo"/>
              <a:cs typeface="Arial" charset="0"/>
            </a:endParaRPr>
          </a:p>
        </p:txBody>
      </p:sp>
      <p:sp>
        <p:nvSpPr>
          <p:cNvPr id="23554" name="Нижний колонтитул 2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/>
          <a:p>
            <a:r>
              <a:rPr lang="ru-RU" smtClean="0">
                <a:latin typeface="Polo"/>
                <a:cs typeface="Arial" charset="0"/>
              </a:rPr>
              <a:t>      </a:t>
            </a:r>
          </a:p>
        </p:txBody>
      </p:sp>
      <p:sp>
        <p:nvSpPr>
          <p:cNvPr id="23555" name="TextBox 3"/>
          <p:cNvSpPr txBox="1">
            <a:spLocks noChangeArrowheads="1"/>
          </p:cNvSpPr>
          <p:nvPr/>
        </p:nvSpPr>
        <p:spPr bwMode="auto">
          <a:xfrm>
            <a:off x="3941763" y="1898650"/>
            <a:ext cx="4449762" cy="369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03200" indent="-203200">
              <a:buClr>
                <a:srgbClr val="F21C0A"/>
              </a:buClr>
              <a:buSzPct val="100000"/>
              <a:buFont typeface="Wingdings"/>
              <a:buChar char=""/>
            </a:pPr>
            <a:r>
              <a:rPr lang="ru-RU" sz="1400" dirty="0">
                <a:solidFill>
                  <a:schemeClr val="tx1"/>
                </a:solidFill>
              </a:rPr>
              <a:t> </a:t>
            </a:r>
            <a:r>
              <a:rPr lang="ru-RU" sz="1300" dirty="0">
                <a:solidFill>
                  <a:schemeClr val="tx1"/>
                </a:solidFill>
                <a:latin typeface="PoloCyr" pitchFamily="2" charset="0"/>
              </a:rPr>
              <a:t>Одновальная ПГУ-400 по классификации </a:t>
            </a:r>
            <a:r>
              <a:rPr lang="ru-RU" sz="1300" dirty="0" err="1">
                <a:solidFill>
                  <a:schemeClr val="tx1"/>
                </a:solidFill>
                <a:latin typeface="PoloCyr" pitchFamily="2" charset="0"/>
              </a:rPr>
              <a:t>Дженерал</a:t>
            </a:r>
            <a:r>
              <a:rPr lang="ru-RU" sz="1300" dirty="0">
                <a:solidFill>
                  <a:schemeClr val="tx1"/>
                </a:solidFill>
                <a:latin typeface="PoloCyr" pitchFamily="2" charset="0"/>
              </a:rPr>
              <a:t> Электрик Инк.  STAG 109FA (спроектирована на частоту сети 50 Гц)</a:t>
            </a:r>
          </a:p>
          <a:p>
            <a:pPr marL="203200" indent="-203200" algn="just">
              <a:lnSpc>
                <a:spcPct val="125000"/>
              </a:lnSpc>
              <a:buClr>
                <a:srgbClr val="F21C0A"/>
              </a:buClr>
              <a:buSzPct val="100000"/>
              <a:buFont typeface="Wingdings"/>
              <a:buChar char=""/>
            </a:pPr>
            <a:r>
              <a:rPr lang="ru-RU" sz="1300" dirty="0">
                <a:solidFill>
                  <a:schemeClr val="tx1"/>
                </a:solidFill>
                <a:latin typeface="PoloCyr" pitchFamily="2" charset="0"/>
              </a:rPr>
              <a:t>Газотурбинная установка (ГТУ) производства «</a:t>
            </a:r>
            <a:r>
              <a:rPr lang="en-US" sz="1300" dirty="0">
                <a:solidFill>
                  <a:schemeClr val="tx1"/>
                </a:solidFill>
                <a:latin typeface="PoloCyr" pitchFamily="2" charset="0"/>
              </a:rPr>
              <a:t>General Electric</a:t>
            </a:r>
            <a:r>
              <a:rPr lang="ru-RU" sz="1300" dirty="0">
                <a:solidFill>
                  <a:schemeClr val="tx1"/>
                </a:solidFill>
                <a:latin typeface="PoloCyr" pitchFamily="2" charset="0"/>
              </a:rPr>
              <a:t>»</a:t>
            </a:r>
            <a:r>
              <a:rPr lang="en-US" sz="1300" dirty="0">
                <a:solidFill>
                  <a:schemeClr val="tx1"/>
                </a:solidFill>
                <a:latin typeface="PoloCyr" pitchFamily="2" charset="0"/>
              </a:rPr>
              <a:t> MSPG9001FA (PG9351FA)</a:t>
            </a:r>
            <a:r>
              <a:rPr lang="ru-RU" sz="1300" dirty="0">
                <a:solidFill>
                  <a:schemeClr val="tx1"/>
                </a:solidFill>
                <a:latin typeface="PoloCyr" pitchFamily="2" charset="0"/>
              </a:rPr>
              <a:t> поставлена с вспомогательными системами</a:t>
            </a:r>
          </a:p>
          <a:p>
            <a:pPr marL="203200" indent="-203200" algn="just">
              <a:lnSpc>
                <a:spcPct val="125000"/>
              </a:lnSpc>
              <a:buClr>
                <a:srgbClr val="F21C0A"/>
              </a:buClr>
              <a:buSzPct val="100000"/>
              <a:buFont typeface="Wingdings"/>
              <a:buChar char=""/>
            </a:pPr>
            <a:r>
              <a:rPr lang="ru-RU" sz="1300" dirty="0">
                <a:solidFill>
                  <a:schemeClr val="tx1"/>
                </a:solidFill>
                <a:latin typeface="PoloCyr" pitchFamily="2" charset="0"/>
              </a:rPr>
              <a:t> Котел-утилизатор (КУ) горизонтальный, с естественной циркуляцией трех давлений, без дожигания топлива, спроектирован фирмой С</a:t>
            </a:r>
            <a:r>
              <a:rPr lang="en-US" sz="1300" dirty="0">
                <a:solidFill>
                  <a:schemeClr val="tx1"/>
                </a:solidFill>
                <a:latin typeface="PoloCyr" pitchFamily="2" charset="0"/>
              </a:rPr>
              <a:t>MI </a:t>
            </a:r>
            <a:r>
              <a:rPr lang="ru-RU" sz="1300" dirty="0">
                <a:solidFill>
                  <a:schemeClr val="tx1"/>
                </a:solidFill>
                <a:latin typeface="PoloCyr" pitchFamily="2" charset="0"/>
              </a:rPr>
              <a:t>(Бельгия)  </a:t>
            </a:r>
          </a:p>
          <a:p>
            <a:pPr marL="203200" indent="-203200" algn="just">
              <a:lnSpc>
                <a:spcPct val="125000"/>
              </a:lnSpc>
              <a:buClr>
                <a:srgbClr val="F21C0A"/>
              </a:buClr>
              <a:buSzPct val="100000"/>
              <a:buFont typeface="Wingdings"/>
              <a:buChar char=""/>
            </a:pPr>
            <a:r>
              <a:rPr lang="ru-RU" sz="1300" dirty="0">
                <a:solidFill>
                  <a:schemeClr val="tx1"/>
                </a:solidFill>
                <a:latin typeface="PoloCyr" pitchFamily="2" charset="0"/>
              </a:rPr>
              <a:t> Паровая турбина (ПТ) типа </a:t>
            </a:r>
            <a:r>
              <a:rPr lang="en-US" sz="1300" dirty="0">
                <a:solidFill>
                  <a:schemeClr val="tx1"/>
                </a:solidFill>
                <a:latin typeface="PoloCyr" pitchFamily="2" charset="0"/>
              </a:rPr>
              <a:t>D</a:t>
            </a:r>
            <a:r>
              <a:rPr lang="ru-RU" sz="1300" dirty="0">
                <a:solidFill>
                  <a:schemeClr val="tx1"/>
                </a:solidFill>
                <a:latin typeface="PoloCyr" pitchFamily="2" charset="0"/>
              </a:rPr>
              <a:t>10 производства «</a:t>
            </a:r>
            <a:r>
              <a:rPr lang="ru-RU" sz="1300" dirty="0" err="1">
                <a:solidFill>
                  <a:schemeClr val="tx1"/>
                </a:solidFill>
                <a:latin typeface="PoloCyr" pitchFamily="2" charset="0"/>
              </a:rPr>
              <a:t>General</a:t>
            </a:r>
            <a:r>
              <a:rPr lang="ru-RU" sz="1300" dirty="0">
                <a:solidFill>
                  <a:schemeClr val="tx1"/>
                </a:solidFill>
                <a:latin typeface="PoloCyr" pitchFamily="2" charset="0"/>
              </a:rPr>
              <a:t> </a:t>
            </a:r>
            <a:r>
              <a:rPr lang="ru-RU" sz="1300" dirty="0" err="1">
                <a:solidFill>
                  <a:schemeClr val="tx1"/>
                </a:solidFill>
                <a:latin typeface="PoloCyr" pitchFamily="2" charset="0"/>
              </a:rPr>
              <a:t>Electric</a:t>
            </a:r>
            <a:r>
              <a:rPr lang="ru-RU" sz="1300" dirty="0">
                <a:solidFill>
                  <a:schemeClr val="tx1"/>
                </a:solidFill>
                <a:latin typeface="PoloCyr" pitchFamily="2" charset="0"/>
              </a:rPr>
              <a:t>»  поставлена с вспомогательными системами</a:t>
            </a:r>
          </a:p>
          <a:p>
            <a:pPr marL="203200" indent="-203200" algn="just">
              <a:lnSpc>
                <a:spcPct val="125000"/>
              </a:lnSpc>
              <a:buClr>
                <a:srgbClr val="F21C0A"/>
              </a:buClr>
              <a:buSzPct val="100000"/>
              <a:buFont typeface="Wingdings"/>
              <a:buChar char=""/>
            </a:pPr>
            <a:r>
              <a:rPr lang="ru-RU" sz="1300" dirty="0">
                <a:solidFill>
                  <a:schemeClr val="tx1"/>
                </a:solidFill>
                <a:latin typeface="PoloCyr" pitchFamily="2" charset="0"/>
              </a:rPr>
              <a:t> Генератор типа 390Н производства«</a:t>
            </a:r>
            <a:r>
              <a:rPr lang="ru-RU" sz="1300" dirty="0" err="1">
                <a:solidFill>
                  <a:schemeClr val="tx1"/>
                </a:solidFill>
                <a:latin typeface="PoloCyr" pitchFamily="2" charset="0"/>
              </a:rPr>
              <a:t>General</a:t>
            </a:r>
            <a:r>
              <a:rPr lang="ru-RU" sz="1300" dirty="0">
                <a:solidFill>
                  <a:schemeClr val="tx1"/>
                </a:solidFill>
                <a:latin typeface="PoloCyr" pitchFamily="2" charset="0"/>
              </a:rPr>
              <a:t> </a:t>
            </a:r>
            <a:r>
              <a:rPr lang="ru-RU" sz="1300" dirty="0" err="1">
                <a:solidFill>
                  <a:schemeClr val="tx1"/>
                </a:solidFill>
                <a:latin typeface="PoloCyr" pitchFamily="2" charset="0"/>
              </a:rPr>
              <a:t>Electric</a:t>
            </a:r>
            <a:r>
              <a:rPr lang="ru-RU" sz="1300" dirty="0">
                <a:solidFill>
                  <a:schemeClr val="tx1"/>
                </a:solidFill>
                <a:latin typeface="PoloCyr" pitchFamily="2" charset="0"/>
              </a:rPr>
              <a:t>» поставлен с вспомогательными системами</a:t>
            </a:r>
          </a:p>
          <a:p>
            <a:pPr marL="203200" indent="-203200" algn="just">
              <a:lnSpc>
                <a:spcPct val="125000"/>
              </a:lnSpc>
              <a:buClr>
                <a:srgbClr val="F21C0A"/>
              </a:buClr>
              <a:buSzPct val="100000"/>
              <a:buFont typeface="Wingdings"/>
              <a:buChar char=""/>
            </a:pPr>
            <a:r>
              <a:rPr lang="ru-RU" sz="1300" dirty="0">
                <a:solidFill>
                  <a:schemeClr val="tx1"/>
                </a:solidFill>
                <a:latin typeface="PoloCyr" pitchFamily="2" charset="0"/>
              </a:rPr>
              <a:t> Система управления энергоблока ПГУ реализована на базе «</a:t>
            </a:r>
            <a:r>
              <a:rPr lang="ru-RU" sz="1300" dirty="0" err="1">
                <a:solidFill>
                  <a:schemeClr val="tx1"/>
                </a:solidFill>
                <a:latin typeface="PoloCyr" pitchFamily="2" charset="0"/>
              </a:rPr>
              <a:t>Speedtronic</a:t>
            </a:r>
            <a:r>
              <a:rPr lang="ru-RU" sz="1300" dirty="0">
                <a:solidFill>
                  <a:schemeClr val="tx1"/>
                </a:solidFill>
                <a:latin typeface="PoloCyr" pitchFamily="2" charset="0"/>
              </a:rPr>
              <a:t> </a:t>
            </a:r>
            <a:r>
              <a:rPr lang="ru-RU" sz="1300" dirty="0" err="1">
                <a:solidFill>
                  <a:schemeClr val="tx1"/>
                </a:solidFill>
                <a:latin typeface="PoloCyr" pitchFamily="2" charset="0"/>
              </a:rPr>
              <a:t>Mark</a:t>
            </a:r>
            <a:r>
              <a:rPr lang="ru-RU" sz="1300" dirty="0">
                <a:solidFill>
                  <a:schemeClr val="tx1"/>
                </a:solidFill>
                <a:latin typeface="PoloCyr" pitchFamily="2" charset="0"/>
              </a:rPr>
              <a:t> </a:t>
            </a:r>
            <a:r>
              <a:rPr lang="ru-RU" sz="1300" dirty="0" err="1">
                <a:solidFill>
                  <a:schemeClr val="tx1"/>
                </a:solidFill>
                <a:latin typeface="PoloCyr" pitchFamily="2" charset="0"/>
              </a:rPr>
              <a:t>VIe</a:t>
            </a:r>
            <a:r>
              <a:rPr lang="ru-RU" sz="1300" dirty="0">
                <a:solidFill>
                  <a:schemeClr val="tx1"/>
                </a:solidFill>
                <a:latin typeface="PoloCyr" pitchFamily="2" charset="0"/>
              </a:rPr>
              <a:t>» разработки «</a:t>
            </a:r>
            <a:r>
              <a:rPr lang="ru-RU" sz="1300" dirty="0" err="1">
                <a:solidFill>
                  <a:schemeClr val="tx1"/>
                </a:solidFill>
                <a:latin typeface="PoloCyr" pitchFamily="2" charset="0"/>
              </a:rPr>
              <a:t>General</a:t>
            </a:r>
            <a:r>
              <a:rPr lang="ru-RU" sz="1300" dirty="0">
                <a:solidFill>
                  <a:schemeClr val="tx1"/>
                </a:solidFill>
                <a:latin typeface="PoloCyr" pitchFamily="2" charset="0"/>
              </a:rPr>
              <a:t> </a:t>
            </a:r>
            <a:r>
              <a:rPr lang="ru-RU" sz="1300" dirty="0" err="1">
                <a:solidFill>
                  <a:schemeClr val="tx1"/>
                </a:solidFill>
                <a:latin typeface="PoloCyr" pitchFamily="2" charset="0"/>
              </a:rPr>
              <a:t>Electric</a:t>
            </a:r>
            <a:r>
              <a:rPr lang="ru-RU" sz="1300" dirty="0">
                <a:solidFill>
                  <a:schemeClr val="tx1"/>
                </a:solidFill>
                <a:latin typeface="PoloCyr" pitchFamily="2" charset="0"/>
              </a:rPr>
              <a:t>» </a:t>
            </a:r>
          </a:p>
        </p:txBody>
      </p:sp>
      <p:pic>
        <p:nvPicPr>
          <p:cNvPr id="23557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77863" y="1985963"/>
            <a:ext cx="2903537" cy="1663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558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77863" y="4643438"/>
            <a:ext cx="2903537" cy="1665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559" name="Прямоугольник 8"/>
          <p:cNvSpPr>
            <a:spLocks noChangeArrowheads="1"/>
          </p:cNvSpPr>
          <p:nvPr/>
        </p:nvSpPr>
        <p:spPr bwMode="auto">
          <a:xfrm>
            <a:off x="341313" y="1190764"/>
            <a:ext cx="7515225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2000" b="1" dirty="0">
                <a:solidFill>
                  <a:schemeClr val="tx1"/>
                </a:solidFill>
                <a:latin typeface="PoloCyr" pitchFamily="2" charset="0"/>
              </a:rPr>
              <a:t>Основное оборудование входящее в состав парогазовых энергоблоков ПГУ-400 на Шатурской ГРЭС и </a:t>
            </a:r>
            <a:r>
              <a:rPr lang="ru-RU" sz="2000" b="1" dirty="0" err="1">
                <a:solidFill>
                  <a:schemeClr val="tx1"/>
                </a:solidFill>
                <a:latin typeface="PoloCyr" pitchFamily="2" charset="0"/>
              </a:rPr>
              <a:t>Сургутской</a:t>
            </a:r>
            <a:r>
              <a:rPr lang="ru-RU" sz="2000" b="1" dirty="0">
                <a:solidFill>
                  <a:schemeClr val="tx1"/>
                </a:solidFill>
                <a:latin typeface="PoloCyr" pitchFamily="2" charset="0"/>
              </a:rPr>
              <a:t> ГРЭС-2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Номер слайда 1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C7049A50-7B60-4EA0-9C88-042261247737}" type="slidenum">
              <a:rPr smtClean="0">
                <a:latin typeface="Polo"/>
                <a:cs typeface="Arial" charset="0"/>
              </a:rPr>
              <a:pPr/>
              <a:t>7</a:t>
            </a:fld>
            <a:endParaRPr lang="ru-RU" smtClean="0">
              <a:latin typeface="Polo"/>
              <a:cs typeface="Arial" charset="0"/>
            </a:endParaRPr>
          </a:p>
        </p:txBody>
      </p:sp>
      <p:sp>
        <p:nvSpPr>
          <p:cNvPr id="24578" name="Нижний колонтитул 2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/>
          <a:p>
            <a:r>
              <a:rPr lang="ru-RU" smtClean="0">
                <a:latin typeface="Polo"/>
                <a:cs typeface="Arial" charset="0"/>
              </a:rPr>
              <a:t>      </a:t>
            </a:r>
          </a:p>
        </p:txBody>
      </p:sp>
      <p:sp>
        <p:nvSpPr>
          <p:cNvPr id="24579" name="Прямоугольник 3"/>
          <p:cNvSpPr>
            <a:spLocks noChangeArrowheads="1"/>
          </p:cNvSpPr>
          <p:nvPr/>
        </p:nvSpPr>
        <p:spPr bwMode="auto">
          <a:xfrm>
            <a:off x="3941763" y="1493838"/>
            <a:ext cx="4211637" cy="4280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03200" indent="-203200" algn="ctr"/>
            <a:endParaRPr lang="ru-RU" sz="1300" b="1" dirty="0">
              <a:solidFill>
                <a:schemeClr val="tx1"/>
              </a:solidFill>
            </a:endParaRPr>
          </a:p>
          <a:p>
            <a:pPr marL="203200" indent="-203200" algn="just">
              <a:lnSpc>
                <a:spcPct val="125000"/>
              </a:lnSpc>
              <a:buClr>
                <a:srgbClr val="F21C0A"/>
              </a:buClr>
              <a:buSzPct val="100000"/>
              <a:buFont typeface="Wingdings"/>
              <a:buChar char=""/>
            </a:pPr>
            <a:r>
              <a:rPr lang="ru-RU" sz="1300" dirty="0">
                <a:solidFill>
                  <a:schemeClr val="tx1"/>
                </a:solidFill>
                <a:latin typeface="PoloCyr" pitchFamily="2" charset="0"/>
              </a:rPr>
              <a:t>Одновальная ПГУ-400 по классификации </a:t>
            </a:r>
            <a:r>
              <a:rPr lang="en-US" sz="1300" dirty="0">
                <a:solidFill>
                  <a:schemeClr val="tx1"/>
                </a:solidFill>
                <a:latin typeface="PoloCyr" pitchFamily="2" charset="0"/>
              </a:rPr>
              <a:t>SIEMENS AG </a:t>
            </a:r>
            <a:r>
              <a:rPr lang="ru-RU" sz="1300" dirty="0">
                <a:solidFill>
                  <a:schemeClr val="tx1"/>
                </a:solidFill>
                <a:latin typeface="PoloCyr" pitchFamily="2" charset="0"/>
              </a:rPr>
              <a:t> - </a:t>
            </a:r>
            <a:r>
              <a:rPr lang="en-US" sz="1300" dirty="0">
                <a:solidFill>
                  <a:schemeClr val="tx1"/>
                </a:solidFill>
                <a:latin typeface="PoloCyr" pitchFamily="2" charset="0"/>
              </a:rPr>
              <a:t>Power Train (1S 4000F)</a:t>
            </a:r>
            <a:r>
              <a:rPr lang="ru-RU" sz="1300" dirty="0">
                <a:solidFill>
                  <a:schemeClr val="tx1"/>
                </a:solidFill>
                <a:latin typeface="PoloCyr" pitchFamily="2" charset="0"/>
              </a:rPr>
              <a:t> (спроектирована на частоту сети 50 Гц)</a:t>
            </a:r>
          </a:p>
          <a:p>
            <a:pPr marL="203200" indent="-203200" algn="just">
              <a:lnSpc>
                <a:spcPct val="125000"/>
              </a:lnSpc>
              <a:buClr>
                <a:srgbClr val="F21C0A"/>
              </a:buClr>
              <a:buSzPct val="100000"/>
              <a:buFont typeface="Wingdings"/>
              <a:buChar char=""/>
            </a:pPr>
            <a:r>
              <a:rPr lang="ru-RU" sz="1300" dirty="0">
                <a:solidFill>
                  <a:schemeClr val="tx1"/>
                </a:solidFill>
                <a:latin typeface="PoloCyr" pitchFamily="2" charset="0"/>
              </a:rPr>
              <a:t> Газотурбинная установка (ГТУ) производства «</a:t>
            </a:r>
            <a:r>
              <a:rPr lang="en-US" sz="1300" dirty="0">
                <a:solidFill>
                  <a:schemeClr val="tx1"/>
                </a:solidFill>
                <a:latin typeface="PoloCyr" pitchFamily="2" charset="0"/>
              </a:rPr>
              <a:t>SIEMENS AG</a:t>
            </a:r>
            <a:r>
              <a:rPr lang="ru-RU" sz="1300" dirty="0">
                <a:solidFill>
                  <a:schemeClr val="tx1"/>
                </a:solidFill>
                <a:latin typeface="PoloCyr" pitchFamily="2" charset="0"/>
              </a:rPr>
              <a:t>»</a:t>
            </a:r>
            <a:r>
              <a:rPr lang="en-US" sz="1300" dirty="0">
                <a:solidFill>
                  <a:schemeClr val="tx1"/>
                </a:solidFill>
                <a:latin typeface="PoloCyr" pitchFamily="2" charset="0"/>
              </a:rPr>
              <a:t> </a:t>
            </a:r>
            <a:r>
              <a:rPr lang="ru-RU" sz="1300" dirty="0">
                <a:solidFill>
                  <a:schemeClr val="tx1"/>
                </a:solidFill>
                <a:latin typeface="PoloCyr" pitchFamily="2" charset="0"/>
              </a:rPr>
              <a:t>SGT5-4000F поставлена с вспомогательными системами</a:t>
            </a:r>
          </a:p>
          <a:p>
            <a:pPr marL="203200" indent="-203200" algn="just">
              <a:lnSpc>
                <a:spcPct val="125000"/>
              </a:lnSpc>
              <a:buClr>
                <a:srgbClr val="F21C0A"/>
              </a:buClr>
              <a:buSzPct val="100000"/>
              <a:buFont typeface="Wingdings"/>
              <a:buChar char=""/>
            </a:pPr>
            <a:r>
              <a:rPr lang="ru-RU" sz="1300" dirty="0">
                <a:solidFill>
                  <a:schemeClr val="tx1"/>
                </a:solidFill>
                <a:latin typeface="PoloCyr" pitchFamily="2" charset="0"/>
              </a:rPr>
              <a:t> Котел-утилизатор (КУ) вертикальный, с естественной циркуляцией трех давлений, без дожигания топлива, спроектирован фирмой С</a:t>
            </a:r>
            <a:r>
              <a:rPr lang="en-US" sz="1300" dirty="0">
                <a:solidFill>
                  <a:schemeClr val="tx1"/>
                </a:solidFill>
                <a:latin typeface="PoloCyr" pitchFamily="2" charset="0"/>
              </a:rPr>
              <a:t>MI </a:t>
            </a:r>
            <a:r>
              <a:rPr lang="ru-RU" sz="1300" dirty="0">
                <a:solidFill>
                  <a:schemeClr val="tx1"/>
                </a:solidFill>
                <a:latin typeface="PoloCyr" pitchFamily="2" charset="0"/>
              </a:rPr>
              <a:t>(Бельгия)  </a:t>
            </a:r>
          </a:p>
          <a:p>
            <a:pPr marL="203200" indent="-203200" algn="just">
              <a:lnSpc>
                <a:spcPct val="125000"/>
              </a:lnSpc>
              <a:buClr>
                <a:srgbClr val="F21C0A"/>
              </a:buClr>
              <a:buSzPct val="100000"/>
              <a:buFont typeface="Wingdings"/>
              <a:buChar char=""/>
            </a:pPr>
            <a:r>
              <a:rPr lang="ru-RU" sz="1300" dirty="0">
                <a:solidFill>
                  <a:schemeClr val="tx1"/>
                </a:solidFill>
                <a:latin typeface="PoloCyr" pitchFamily="2" charset="0"/>
              </a:rPr>
              <a:t> Паровая турбина (ПТ) типа SST5-3000 производства «</a:t>
            </a:r>
            <a:r>
              <a:rPr lang="en-US" sz="1300" dirty="0">
                <a:solidFill>
                  <a:schemeClr val="tx1"/>
                </a:solidFill>
                <a:latin typeface="PoloCyr" pitchFamily="2" charset="0"/>
              </a:rPr>
              <a:t>SIEMENS AG</a:t>
            </a:r>
            <a:r>
              <a:rPr lang="ru-RU" sz="1300" dirty="0">
                <a:solidFill>
                  <a:schemeClr val="tx1"/>
                </a:solidFill>
                <a:latin typeface="PoloCyr" pitchFamily="2" charset="0"/>
              </a:rPr>
              <a:t>»  поставлена с вспомогательными системами</a:t>
            </a:r>
          </a:p>
          <a:p>
            <a:pPr marL="203200" indent="-203200" algn="just">
              <a:lnSpc>
                <a:spcPct val="125000"/>
              </a:lnSpc>
              <a:buClr>
                <a:srgbClr val="F21C0A"/>
              </a:buClr>
              <a:buSzPct val="100000"/>
              <a:buFont typeface="Wingdings"/>
              <a:buChar char=""/>
            </a:pPr>
            <a:r>
              <a:rPr lang="ru-RU" sz="1300" dirty="0">
                <a:solidFill>
                  <a:schemeClr val="tx1"/>
                </a:solidFill>
                <a:latin typeface="PoloCyr" pitchFamily="2" charset="0"/>
              </a:rPr>
              <a:t> Генератор типа SGen5-2000 производства«</a:t>
            </a:r>
            <a:r>
              <a:rPr lang="en-US" sz="1300" dirty="0">
                <a:solidFill>
                  <a:schemeClr val="tx1"/>
                </a:solidFill>
                <a:latin typeface="PoloCyr" pitchFamily="2" charset="0"/>
              </a:rPr>
              <a:t>SIEMENS AG</a:t>
            </a:r>
            <a:r>
              <a:rPr lang="ru-RU" sz="1300" dirty="0">
                <a:solidFill>
                  <a:schemeClr val="tx1"/>
                </a:solidFill>
                <a:latin typeface="PoloCyr" pitchFamily="2" charset="0"/>
              </a:rPr>
              <a:t>» поставлен с вспомогательными системами</a:t>
            </a:r>
          </a:p>
          <a:p>
            <a:pPr marL="203200" indent="-203200" algn="just">
              <a:lnSpc>
                <a:spcPct val="125000"/>
              </a:lnSpc>
              <a:buClr>
                <a:srgbClr val="F21C0A"/>
              </a:buClr>
              <a:buSzPct val="100000"/>
              <a:buFont typeface="Wingdings"/>
              <a:buChar char=""/>
            </a:pPr>
            <a:r>
              <a:rPr lang="ru-RU" sz="1300" dirty="0">
                <a:solidFill>
                  <a:schemeClr val="tx1"/>
                </a:solidFill>
                <a:latin typeface="PoloCyr" pitchFamily="2" charset="0"/>
              </a:rPr>
              <a:t> Система управления энергоблоком ПГУ реализована на базе </a:t>
            </a:r>
            <a:r>
              <a:rPr lang="en-US" sz="1300" dirty="0">
                <a:solidFill>
                  <a:schemeClr val="tx1"/>
                </a:solidFill>
                <a:latin typeface="PoloCyr" pitchFamily="2" charset="0"/>
              </a:rPr>
              <a:t>SPPA-T3000</a:t>
            </a:r>
            <a:r>
              <a:rPr lang="ru-RU" sz="1300" dirty="0">
                <a:solidFill>
                  <a:schemeClr val="tx1"/>
                </a:solidFill>
                <a:latin typeface="PoloCyr" pitchFamily="2" charset="0"/>
              </a:rPr>
              <a:t> разработки «</a:t>
            </a:r>
            <a:r>
              <a:rPr lang="en-US" sz="1300" dirty="0">
                <a:solidFill>
                  <a:schemeClr val="tx1"/>
                </a:solidFill>
                <a:latin typeface="PoloCyr" pitchFamily="2" charset="0"/>
              </a:rPr>
              <a:t>SIEMENS AG</a:t>
            </a:r>
            <a:r>
              <a:rPr lang="ru-RU" sz="1300" dirty="0">
                <a:solidFill>
                  <a:schemeClr val="tx1"/>
                </a:solidFill>
                <a:latin typeface="PoloCyr" pitchFamily="2" charset="0"/>
              </a:rPr>
              <a:t>»</a:t>
            </a:r>
          </a:p>
        </p:txBody>
      </p:sp>
      <p:sp>
        <p:nvSpPr>
          <p:cNvPr id="24581" name="Прямоугольник 6"/>
          <p:cNvSpPr>
            <a:spLocks noChangeArrowheads="1"/>
          </p:cNvSpPr>
          <p:nvPr/>
        </p:nvSpPr>
        <p:spPr bwMode="auto">
          <a:xfrm>
            <a:off x="206375" y="1042988"/>
            <a:ext cx="8328025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800" b="1" dirty="0">
                <a:solidFill>
                  <a:schemeClr val="tx1"/>
                </a:solidFill>
                <a:latin typeface="PoloCyr" pitchFamily="2" charset="0"/>
              </a:rPr>
              <a:t>Основное </a:t>
            </a:r>
            <a:r>
              <a:rPr lang="ru-RU" sz="1800" b="1" dirty="0" smtClean="0">
                <a:solidFill>
                  <a:schemeClr val="tx1"/>
                </a:solidFill>
                <a:latin typeface="PoloCyr" pitchFamily="2" charset="0"/>
              </a:rPr>
              <a:t>оборудование, </a:t>
            </a:r>
            <a:r>
              <a:rPr lang="ru-RU" sz="1800" b="1" dirty="0">
                <a:solidFill>
                  <a:schemeClr val="tx1"/>
                </a:solidFill>
                <a:latin typeface="PoloCyr" pitchFamily="2" charset="0"/>
              </a:rPr>
              <a:t>входящее в состав парогазового энергоблока ПГУ-400 на </a:t>
            </a:r>
            <a:r>
              <a:rPr lang="ru-RU" sz="1800" b="1" dirty="0" err="1">
                <a:solidFill>
                  <a:schemeClr val="tx1"/>
                </a:solidFill>
                <a:latin typeface="PoloCyr" pitchFamily="2" charset="0"/>
              </a:rPr>
              <a:t>Яйвинской</a:t>
            </a:r>
            <a:r>
              <a:rPr lang="ru-RU" sz="1800" b="1" dirty="0">
                <a:solidFill>
                  <a:schemeClr val="tx1"/>
                </a:solidFill>
                <a:latin typeface="PoloCyr" pitchFamily="2" charset="0"/>
              </a:rPr>
              <a:t> ГРЭС</a:t>
            </a:r>
          </a:p>
        </p:txBody>
      </p:sp>
      <p:pic>
        <p:nvPicPr>
          <p:cNvPr id="24582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2798763"/>
            <a:ext cx="3941763" cy="2757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Нижний колонтитул 5"/>
          <p:cNvSpPr txBox="1"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0" y="1943100"/>
            <a:ext cx="3941763" cy="55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400" dirty="0">
                <a:solidFill>
                  <a:schemeClr val="tx1"/>
                </a:solidFill>
                <a:latin typeface="Polo" pitchFamily="2" charset="0"/>
                <a:cs typeface="+mn-cs"/>
              </a:rPr>
              <a:t> </a:t>
            </a:r>
            <a:r>
              <a:rPr lang="ru-RU" sz="1400" i="1" dirty="0">
                <a:solidFill>
                  <a:schemeClr val="tx1"/>
                </a:solidFill>
                <a:latin typeface="PoloCyr" pitchFamily="2" charset="0"/>
                <a:cs typeface="+mn-cs"/>
              </a:rPr>
              <a:t>Вид последних ступеней компрессора, защитного покрытия ротора  в объеме камеры сгорания  и лопаточный аппарат турбины ГТУ 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Номер слайда 1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DA220296-EE4F-4575-ABBA-78865F730B3A}" type="slidenum">
              <a:rPr smtClean="0">
                <a:latin typeface="Polo"/>
                <a:cs typeface="Arial" charset="0"/>
              </a:rPr>
              <a:pPr/>
              <a:t>8</a:t>
            </a:fld>
            <a:endParaRPr lang="ru-RU" smtClean="0">
              <a:latin typeface="Polo"/>
              <a:cs typeface="Arial" charset="0"/>
            </a:endParaRPr>
          </a:p>
        </p:txBody>
      </p:sp>
      <p:sp>
        <p:nvSpPr>
          <p:cNvPr id="25602" name="Нижний колонтитул 2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/>
          <a:p>
            <a:r>
              <a:rPr lang="ru-RU" smtClean="0">
                <a:latin typeface="Polo"/>
                <a:cs typeface="Arial" charset="0"/>
              </a:rPr>
              <a:t>      </a:t>
            </a:r>
          </a:p>
        </p:txBody>
      </p:sp>
      <p:pic>
        <p:nvPicPr>
          <p:cNvPr id="25603" name="Picture 10" descr="Рисунок"/>
          <p:cNvPicPr>
            <a:picLocks noChangeAspect="1" noChangeArrowheads="1"/>
          </p:cNvPicPr>
          <p:nvPr/>
        </p:nvPicPr>
        <p:blipFill>
          <a:blip r:embed="rId3" cstate="print"/>
          <a:srcRect l="50328" r="493" b="50058"/>
          <a:stretch>
            <a:fillRect/>
          </a:stretch>
        </p:blipFill>
        <p:spPr bwMode="auto">
          <a:xfrm>
            <a:off x="385763" y="1584325"/>
            <a:ext cx="1501775" cy="2066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5" name="Диаграмма 4"/>
          <p:cNvGraphicFramePr/>
          <p:nvPr/>
        </p:nvGraphicFramePr>
        <p:xfrm>
          <a:off x="2150223" y="1634781"/>
          <a:ext cx="2808312" cy="20162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6" name="Диаграмма 5"/>
          <p:cNvGraphicFramePr/>
          <p:nvPr/>
        </p:nvGraphicFramePr>
        <p:xfrm>
          <a:off x="5411630" y="1583795"/>
          <a:ext cx="2934072" cy="20672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7" name="Диаграмма 6"/>
          <p:cNvGraphicFramePr/>
          <p:nvPr/>
        </p:nvGraphicFramePr>
        <p:xfrm>
          <a:off x="5438986" y="3969060"/>
          <a:ext cx="2952328" cy="2163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5607" name="Прямоугольник 7"/>
          <p:cNvSpPr>
            <a:spLocks noChangeArrowheads="1"/>
          </p:cNvSpPr>
          <p:nvPr/>
        </p:nvSpPr>
        <p:spPr bwMode="auto">
          <a:xfrm>
            <a:off x="250826" y="3969060"/>
            <a:ext cx="4906962" cy="203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03200" indent="-203200"/>
            <a:r>
              <a:rPr lang="ru-RU" sz="1400" b="1" dirty="0">
                <a:solidFill>
                  <a:schemeClr val="tx1"/>
                </a:solidFill>
                <a:latin typeface="PoloCyr" pitchFamily="2" charset="0"/>
              </a:rPr>
              <a:t>Дополнительные преимущества новых энергоблоков:</a:t>
            </a:r>
          </a:p>
          <a:p>
            <a:pPr marL="203200" indent="-203200" algn="just">
              <a:buClr>
                <a:srgbClr val="F21C0A"/>
              </a:buClr>
              <a:buSzPct val="100000"/>
              <a:buFont typeface="Wingdings"/>
              <a:buChar char=""/>
            </a:pPr>
            <a:r>
              <a:rPr lang="ru-RU" sz="1400" dirty="0">
                <a:solidFill>
                  <a:schemeClr val="tx1"/>
                </a:solidFill>
                <a:latin typeface="PoloCyr" pitchFamily="2" charset="0"/>
              </a:rPr>
              <a:t> ГТУ имеют камеры сгорания с сухим подавлением </a:t>
            </a:r>
            <a:r>
              <a:rPr lang="en-US" sz="1400" dirty="0">
                <a:solidFill>
                  <a:schemeClr val="tx1"/>
                </a:solidFill>
                <a:latin typeface="PoloCyr" pitchFamily="2" charset="0"/>
              </a:rPr>
              <a:t>N</a:t>
            </a:r>
            <a:r>
              <a:rPr lang="ru-RU" sz="1400" dirty="0">
                <a:solidFill>
                  <a:schemeClr val="tx1"/>
                </a:solidFill>
                <a:latin typeface="PoloCyr" pitchFamily="2" charset="0"/>
              </a:rPr>
              <a:t>О</a:t>
            </a:r>
            <a:r>
              <a:rPr lang="en-US" sz="1400" dirty="0">
                <a:solidFill>
                  <a:schemeClr val="tx1"/>
                </a:solidFill>
                <a:latin typeface="PoloCyr" pitchFamily="2" charset="0"/>
              </a:rPr>
              <a:t>x</a:t>
            </a:r>
            <a:r>
              <a:rPr lang="ru-RU" sz="1400" dirty="0">
                <a:solidFill>
                  <a:schemeClr val="tx1"/>
                </a:solidFill>
                <a:latin typeface="PoloCyr" pitchFamily="2" charset="0"/>
              </a:rPr>
              <a:t>, это позволяет без дополнительных технологических мероприятий получать выбросы </a:t>
            </a:r>
            <a:r>
              <a:rPr lang="en-US" sz="1400" dirty="0">
                <a:solidFill>
                  <a:schemeClr val="tx1"/>
                </a:solidFill>
                <a:latin typeface="PoloCyr" pitchFamily="2" charset="0"/>
              </a:rPr>
              <a:t>N</a:t>
            </a:r>
            <a:r>
              <a:rPr lang="ru-RU" sz="1400" dirty="0">
                <a:solidFill>
                  <a:schemeClr val="tx1"/>
                </a:solidFill>
                <a:latin typeface="PoloCyr" pitchFamily="2" charset="0"/>
              </a:rPr>
              <a:t>О</a:t>
            </a:r>
            <a:r>
              <a:rPr lang="en-US" sz="1400" dirty="0">
                <a:solidFill>
                  <a:schemeClr val="tx1"/>
                </a:solidFill>
                <a:latin typeface="PoloCyr" pitchFamily="2" charset="0"/>
              </a:rPr>
              <a:t>x</a:t>
            </a:r>
            <a:r>
              <a:rPr lang="ru-RU" sz="1400" dirty="0">
                <a:solidFill>
                  <a:schemeClr val="tx1"/>
                </a:solidFill>
                <a:latin typeface="PoloCyr" pitchFamily="2" charset="0"/>
              </a:rPr>
              <a:t> </a:t>
            </a:r>
            <a:r>
              <a:rPr lang="en-US" sz="1400" dirty="0">
                <a:solidFill>
                  <a:schemeClr val="tx1"/>
                </a:solidFill>
                <a:latin typeface="PoloCyr" pitchFamily="2" charset="0"/>
              </a:rPr>
              <a:t>&lt; 50</a:t>
            </a:r>
            <a:r>
              <a:rPr lang="ru-RU" sz="1400" dirty="0">
                <a:solidFill>
                  <a:schemeClr val="tx1"/>
                </a:solidFill>
                <a:latin typeface="PoloCyr" pitchFamily="2" charset="0"/>
              </a:rPr>
              <a:t> мг/нм3 при сжигании газа,</a:t>
            </a:r>
          </a:p>
          <a:p>
            <a:pPr marL="203200" indent="-203200" algn="just">
              <a:buClr>
                <a:srgbClr val="F21C0A"/>
              </a:buClr>
              <a:buSzPct val="100000"/>
              <a:buFont typeface="Wingdings"/>
              <a:buChar char=""/>
            </a:pPr>
            <a:r>
              <a:rPr lang="ru-RU" sz="1400" dirty="0">
                <a:solidFill>
                  <a:schemeClr val="tx1"/>
                </a:solidFill>
                <a:latin typeface="PoloCyr" pitchFamily="2" charset="0"/>
              </a:rPr>
              <a:t>Одновальный тип ПГУ, что позволило разместить новые энергоблоки в границах существующих производственных площадок ГРЭС, без дополнительного отвода земли</a:t>
            </a:r>
            <a:r>
              <a:rPr lang="ru-RU" sz="1400" dirty="0" smtClean="0">
                <a:solidFill>
                  <a:schemeClr val="tx1"/>
                </a:solidFill>
                <a:latin typeface="PoloCyr" pitchFamily="2" charset="0"/>
              </a:rPr>
              <a:t>.</a:t>
            </a:r>
            <a:endParaRPr lang="ru-RU" sz="1400" dirty="0">
              <a:solidFill>
                <a:schemeClr val="tx1"/>
              </a:solidFill>
              <a:latin typeface="PoloCyr" pitchFamily="2" charset="0"/>
            </a:endParaRPr>
          </a:p>
          <a:p>
            <a:pPr algn="just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25608" name="Прямоугольник 8"/>
          <p:cNvSpPr>
            <a:spLocks noChangeArrowheads="1"/>
          </p:cNvSpPr>
          <p:nvPr/>
        </p:nvSpPr>
        <p:spPr bwMode="auto">
          <a:xfrm>
            <a:off x="5157788" y="6153150"/>
            <a:ext cx="3248025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* </a:t>
            </a:r>
            <a:r>
              <a:rPr lang="ru-RU" dirty="0">
                <a:solidFill>
                  <a:schemeClr val="tx1"/>
                </a:solidFill>
                <a:latin typeface="PoloCyr" pitchFamily="2" charset="0"/>
              </a:rPr>
              <a:t>Экологические показатели блоков ПСУ приведены на примере блоков 800 МВт, наиболее эффективных энергоблоков, </a:t>
            </a:r>
            <a:r>
              <a:rPr lang="ru-RU" dirty="0" smtClean="0">
                <a:solidFill>
                  <a:schemeClr val="tx1"/>
                </a:solidFill>
                <a:latin typeface="PoloCyr" pitchFamily="2" charset="0"/>
              </a:rPr>
              <a:t>эксплуатируемых </a:t>
            </a:r>
            <a:r>
              <a:rPr lang="ru-RU" dirty="0">
                <a:solidFill>
                  <a:schemeClr val="tx1"/>
                </a:solidFill>
                <a:latin typeface="PoloCyr" pitchFamily="2" charset="0"/>
              </a:rPr>
              <a:t>в компании</a:t>
            </a:r>
          </a:p>
        </p:txBody>
      </p:sp>
      <p:sp>
        <p:nvSpPr>
          <p:cNvPr id="12" name="Нижний колонтитул 5"/>
          <p:cNvSpPr txBox="1"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173038" y="1139825"/>
            <a:ext cx="7980362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ru-RU" sz="1800" b="1" dirty="0">
                <a:solidFill>
                  <a:schemeClr val="tx1"/>
                </a:solidFill>
                <a:latin typeface="PoloCyr" pitchFamily="2" charset="0"/>
              </a:rPr>
              <a:t>Сравнение экологических показателей энергоблоков ПГУ с паросиловыми энергоблоками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5" name="Номер слайда 1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3B5A48A8-3AC3-4694-BB15-9A9EDAFAAAAC}" type="slidenum">
              <a:rPr smtClean="0">
                <a:latin typeface="Polo"/>
                <a:cs typeface="Arial" charset="0"/>
              </a:rPr>
              <a:pPr/>
              <a:t>9</a:t>
            </a:fld>
            <a:endParaRPr lang="ru-RU" smtClean="0">
              <a:latin typeface="Polo"/>
              <a:cs typeface="Arial" charset="0"/>
            </a:endParaRPr>
          </a:p>
        </p:txBody>
      </p:sp>
      <p:sp>
        <p:nvSpPr>
          <p:cNvPr id="6" name="Нижний колонтитул 5"/>
          <p:cNvSpPr txBox="1"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206375" y="1069975"/>
            <a:ext cx="6342063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r>
              <a:rPr lang="ru-RU" sz="1600" b="1" dirty="0">
                <a:solidFill>
                  <a:schemeClr val="tx1"/>
                </a:solidFill>
                <a:latin typeface="Polo" pitchFamily="2" charset="0"/>
                <a:cs typeface="+mn-cs"/>
              </a:rPr>
              <a:t>      </a:t>
            </a:r>
            <a:r>
              <a:rPr lang="ru-RU" sz="2400" b="1" dirty="0">
                <a:solidFill>
                  <a:schemeClr val="tx1"/>
                </a:solidFill>
                <a:latin typeface="PoloCyr" pitchFamily="2" charset="0"/>
                <a:cs typeface="+mn-cs"/>
              </a:rPr>
              <a:t>Сервисное обслуживание энергоблоков ПГУ </a:t>
            </a:r>
          </a:p>
        </p:txBody>
      </p:sp>
      <p:sp>
        <p:nvSpPr>
          <p:cNvPr id="7" name="Нижний колонтитул 5"/>
          <p:cNvSpPr txBox="1"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385763" y="1736725"/>
            <a:ext cx="7201572" cy="31324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203200" indent="-203200">
              <a:lnSpc>
                <a:spcPct val="125000"/>
              </a:lnSpc>
            </a:pPr>
            <a:r>
              <a:rPr lang="ru-RU" sz="1800" dirty="0">
                <a:solidFill>
                  <a:schemeClr val="tx1"/>
                </a:solidFill>
                <a:latin typeface="PoloCyr" pitchFamily="2" charset="0"/>
              </a:rPr>
              <a:t>Для выполнения технического обслуживания основного оборудования ПГУ ОАО «Э.ОН Россия» заключила Сервисные Договора :</a:t>
            </a:r>
          </a:p>
          <a:p>
            <a:pPr marL="203200" indent="-203200">
              <a:lnSpc>
                <a:spcPct val="125000"/>
              </a:lnSpc>
              <a:buClr>
                <a:srgbClr val="F21C0A"/>
              </a:buClr>
              <a:buSzPct val="100000"/>
              <a:buFont typeface="Wingdings"/>
              <a:buChar char=""/>
            </a:pPr>
            <a:r>
              <a:rPr lang="ru-RU" sz="1800" dirty="0">
                <a:solidFill>
                  <a:schemeClr val="tx1"/>
                </a:solidFill>
                <a:latin typeface="PoloCyr" pitchFamily="2" charset="0"/>
              </a:rPr>
              <a:t>  Шатурская ГРЭС и </a:t>
            </a:r>
            <a:r>
              <a:rPr lang="ru-RU" sz="1800" dirty="0" err="1">
                <a:solidFill>
                  <a:schemeClr val="tx1"/>
                </a:solidFill>
                <a:latin typeface="PoloCyr" pitchFamily="2" charset="0"/>
              </a:rPr>
              <a:t>Сургутская</a:t>
            </a:r>
            <a:r>
              <a:rPr lang="ru-RU" sz="1800" dirty="0">
                <a:solidFill>
                  <a:schemeClr val="tx1"/>
                </a:solidFill>
                <a:latin typeface="PoloCyr" pitchFamily="2" charset="0"/>
              </a:rPr>
              <a:t> ГРЭС-2  «Контрактное Сервисное Соглашение» (</a:t>
            </a:r>
            <a:r>
              <a:rPr lang="en-US" sz="1800" dirty="0">
                <a:solidFill>
                  <a:schemeClr val="tx1"/>
                </a:solidFill>
                <a:latin typeface="PoloCyr" pitchFamily="2" charset="0"/>
              </a:rPr>
              <a:t>Contractual Service Agreement -</a:t>
            </a:r>
            <a:r>
              <a:rPr lang="ru-RU" sz="1800" dirty="0">
                <a:solidFill>
                  <a:schemeClr val="tx1"/>
                </a:solidFill>
                <a:latin typeface="PoloCyr" pitchFamily="2" charset="0"/>
              </a:rPr>
              <a:t> </a:t>
            </a:r>
            <a:r>
              <a:rPr lang="en-US" sz="1800" dirty="0">
                <a:solidFill>
                  <a:schemeClr val="tx1"/>
                </a:solidFill>
                <a:latin typeface="PoloCyr" pitchFamily="2" charset="0"/>
              </a:rPr>
              <a:t>CSA) </a:t>
            </a:r>
            <a:r>
              <a:rPr lang="ru-RU" sz="1800" dirty="0">
                <a:solidFill>
                  <a:schemeClr val="tx1"/>
                </a:solidFill>
                <a:latin typeface="PoloCyr" pitchFamily="2" charset="0"/>
              </a:rPr>
              <a:t>с </a:t>
            </a:r>
            <a:r>
              <a:rPr lang="ru-RU" sz="1800" dirty="0" err="1">
                <a:solidFill>
                  <a:schemeClr val="tx1"/>
                </a:solidFill>
                <a:latin typeface="PoloCyr" pitchFamily="2" charset="0"/>
              </a:rPr>
              <a:t>Дженерал</a:t>
            </a:r>
            <a:r>
              <a:rPr lang="ru-RU" sz="1800" dirty="0">
                <a:solidFill>
                  <a:schemeClr val="tx1"/>
                </a:solidFill>
                <a:latin typeface="PoloCyr" pitchFamily="2" charset="0"/>
              </a:rPr>
              <a:t> Электрик Интернэшнл Инк. (</a:t>
            </a:r>
            <a:r>
              <a:rPr lang="en-US" sz="1800" dirty="0">
                <a:solidFill>
                  <a:schemeClr val="tx1"/>
                </a:solidFill>
                <a:latin typeface="PoloCyr" pitchFamily="2" charset="0"/>
              </a:rPr>
              <a:t>GE)</a:t>
            </a:r>
            <a:r>
              <a:rPr lang="ru-RU" sz="1800" dirty="0">
                <a:solidFill>
                  <a:schemeClr val="tx1"/>
                </a:solidFill>
                <a:latin typeface="PoloCyr" pitchFamily="2" charset="0"/>
              </a:rPr>
              <a:t>.</a:t>
            </a:r>
            <a:endParaRPr lang="en-US" sz="1800" dirty="0">
              <a:solidFill>
                <a:schemeClr val="tx1"/>
              </a:solidFill>
              <a:latin typeface="PoloCyr" pitchFamily="2" charset="0"/>
            </a:endParaRPr>
          </a:p>
          <a:p>
            <a:pPr marL="203200" indent="-203200">
              <a:lnSpc>
                <a:spcPct val="125000"/>
              </a:lnSpc>
              <a:buClr>
                <a:srgbClr val="F21C0A"/>
              </a:buClr>
              <a:buSzPct val="100000"/>
              <a:buFont typeface="Wingdings"/>
              <a:buChar char=""/>
            </a:pPr>
            <a:r>
              <a:rPr lang="ru-RU" sz="1800" dirty="0">
                <a:solidFill>
                  <a:schemeClr val="tx1"/>
                </a:solidFill>
                <a:latin typeface="PoloCyr" pitchFamily="2" charset="0"/>
              </a:rPr>
              <a:t> Яйвинская ГРЭС «Договор о долгосрочном техническом обслуживании» (</a:t>
            </a:r>
            <a:r>
              <a:rPr lang="en-US" sz="1800" dirty="0">
                <a:solidFill>
                  <a:schemeClr val="tx1"/>
                </a:solidFill>
                <a:latin typeface="PoloCyr" pitchFamily="2" charset="0"/>
              </a:rPr>
              <a:t>Long Term Maintenance Contract</a:t>
            </a:r>
            <a:r>
              <a:rPr lang="ru-RU" sz="1800" dirty="0">
                <a:solidFill>
                  <a:schemeClr val="tx1"/>
                </a:solidFill>
                <a:latin typeface="PoloCyr" pitchFamily="2" charset="0"/>
              </a:rPr>
              <a:t> </a:t>
            </a:r>
            <a:r>
              <a:rPr lang="en-US" sz="1800" dirty="0">
                <a:solidFill>
                  <a:schemeClr val="tx1"/>
                </a:solidFill>
                <a:latin typeface="PoloCyr" pitchFamily="2" charset="0"/>
              </a:rPr>
              <a:t>-</a:t>
            </a:r>
            <a:r>
              <a:rPr lang="ru-RU" sz="1800" dirty="0">
                <a:solidFill>
                  <a:schemeClr val="tx1"/>
                </a:solidFill>
                <a:latin typeface="PoloCyr" pitchFamily="2" charset="0"/>
              </a:rPr>
              <a:t> </a:t>
            </a:r>
            <a:r>
              <a:rPr lang="en-US" sz="1800" dirty="0">
                <a:solidFill>
                  <a:schemeClr val="tx1"/>
                </a:solidFill>
                <a:latin typeface="PoloCyr" pitchFamily="2" charset="0"/>
              </a:rPr>
              <a:t>LTSA) c </a:t>
            </a:r>
            <a:r>
              <a:rPr lang="ru-RU" sz="1800" dirty="0">
                <a:solidFill>
                  <a:schemeClr val="tx1"/>
                </a:solidFill>
                <a:latin typeface="PoloCyr" pitchFamily="2" charset="0"/>
              </a:rPr>
              <a:t>ООО «Сименс»</a:t>
            </a:r>
          </a:p>
          <a:p>
            <a:pPr>
              <a:lnSpc>
                <a:spcPct val="125000"/>
              </a:lnSpc>
              <a:buFont typeface="Arial" charset="0"/>
              <a:buNone/>
            </a:pPr>
            <a:endParaRPr lang="ru-RU" sz="1600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SIS" val="EONVorlage"/>
  <p:tag name="LOGOTYPE" val="normal"/>
  <p:tag name="BU" val="EON_W"/>
  <p:tag name="ZIELMEDIUM" val="LogoBildschirm"/>
  <p:tag name="VERSION" val="4.3"/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5&quot;&gt;&lt;elem m_fUsage=&quot;5.17932107350018000000E+000&quot;&gt;&lt;m_ppcolschidx val=&quot;0&quot;/&gt;&lt;m_rgb r=&quot;80&quot; g=&quot;59&quot; b=&quot;0&quot;/&gt;&lt;/elem&gt;&lt;elem m_fUsage=&quot;3.08782930457793950000E+000&quot;&gt;&lt;m_ppcolschidx val=&quot;0&quot;/&gt;&lt;m_rgb r=&quot;ff&quot; g=&quot;b2&quot; b=&quot;0&quot;/&gt;&lt;/elem&gt;&lt;elem m_fUsage=&quot;1.18964545404905380000E+000&quot;&gt;&lt;m_ppcolschidx val=&quot;0&quot;/&gt;&lt;m_rgb r=&quot;b&quot; g=&quot;15&quot; b=&quot;60&quot;/&gt;&lt;/elem&gt;&lt;elem m_fUsage=&quot;5.43010535274939480000E-001&quot;&gt;&lt;m_ppcolschidx val=&quot;0&quot;/&gt;&lt;m_rgb r=&quot;0&quot; g=&quot;4e&quot; b=&quot;ff&quot;/&gt;&lt;/elem&gt;&lt;elem m_fUsage=&quot;1.93632597890513220000E-005&quot;&gt;&lt;m_ppcolschidx val=&quot;0&quot;/&gt;&lt;m_rgb r=&quot;5c&quot; g=&quot;c4&quot; b=&quot;39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8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WmUbmIV0eDALzojW.mk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qOyoF7hUWiQAUVDdhNn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0aiPB4aIUGnIHFUDdNgT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Kc0jkvXkak_HTnkmFOO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9UkvjngREeEJI0CiyIP_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y.YHPknkybERExN6ktv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HYwF.GDH0OgeRxPO3lEf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bNW7R7XE6BQ8kue2WKW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LX8kmTw0qSVgOSc3ymT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9Z0Qg85rEmy_dfD_6elx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HjPj8tcEaCubiaj0B5S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P.2awHY02DGR89SwEQK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IM6L8s72Eip9WnbrWTwC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TnZSPAmkWZPw5n6muQd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VV0TTEGEKbZqRtxFLOn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GGY.17h0U2CZZPD.U_l.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_QRSkzrUm0pw1kbV9Dm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jrTIsViE636N89QQD5Z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JmbFz7Q02hfZcNzyG11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_WLmhleUGQFeO7W9Du_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N98ifRQU.23t1aIVr.d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GrdT5om0Kj77p5lFnAv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I0GfLVvki13c3aycbWr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pSUtHw9kWhwm3vlDkt.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LYyGQfjPkSFmhcBZSxhp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6oIBTtASEik5QafnFlTz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SkWAIU2kCokwvh9wK9p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kvO4nVdkWyYHuD56rmL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gHpKG3REegInzBHu_h1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oe7bWBu4U23OG2mMbUA7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1fkZK8zUqSpnazY.3kF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2EEBIzdkOcNs2NdKb_3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HoOVvKWkKn9QERsIZgc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IPshef1DkiQesI3Fi3G1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HIoRDby0Glkc.wBD4Kz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97WuD6P06k30ggrkEas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9FS4OaoCUO9rR.M17sU6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jv_tchvUK6Oh8FXPgV6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38h9Qtx0KlVFFd2qrWt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ydneFqEEadn4PlLfcSS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_f6.Le6EGXIN.luLc5W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cI_LiiPtk2uGBZNJSFMM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5wrfXaUWmfbBE8p6NT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YgayO8AEuBl2mCGhgIX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DpZ70uVEiCK_wbj1CfY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GExDiPdEm2YaxCp9w.l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9W5e1bbtEW5Xg9q.uZCp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ejo9kQ3E6vSG12L.8f1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fnp6Xrj0WEYuojSlVPR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U_X8C.UEW1eN8uGvI7y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S6Rj8GzEqFX8iPTB2qY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Y8Wgt6HE2Cbvf9TSj3v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QHHz9FhES_qDMIIEEii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SaFUejAEKah7LqglRI5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_Lvag6LUuLlb99o0z5s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Zk.A.TGE.Yly8x_HmF1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ldj5pv0kidHf8OXgDv6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tXZb_nky0qi6hYSS8Q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SUCEu.rU.VH.X.cX.xa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1R9yQ1BpkaSDadVS2oKO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Eh3wO.zQE666cezD1BeD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k28t5zFky_SKHz.g3qQ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hC.Gfpx4kqL9.bFsFKbA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Shci6r302qd5v1fjY6_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LNq1DJYr0y8KFYBUM5NQ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RfDnUclEeZfOuVTqoSW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4t0QS2i60qHC9PBermkF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8hJsu.i02UDRjRMmtOj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LsWLFnFk.qzdAYcn7FR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qAaUm7wRkWIV7wRN5gLw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w4GKa9b0Ko339opkumy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jR4OWYDk26dIbX59POM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Ylb39j50S.UB03A114S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yv4rW_wEepEBZuDvYGS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N1OQZcV0ezaWxKtYHi3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_4vPN75EOOnfSb4gxsd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9elrLOskE..c1cZ3zTw9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Vt2rV._E.0r_9q7S1AF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_Q.uFIrUaS0JJmzOEfe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_QNZ2Muku0QkYoIbmGg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7beb394.0yWVY2gWt6Nd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ppiPoFP0KAKTzxn.vI4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ST2LKBxEaaGTgZwo_3s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p7EM9XBkaBDRJJbLvfW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BTmkWD_E.RBlG_FHMjp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NZCAwC20OFRz8lNDyPc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ppoT6Rtkyt2ou1wb5sK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t0zqI7c0eGE6.jjfxPw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U.b5CsOk.H1Xm6E6yru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miguXT2k6t6VR.zX0qb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yxt1h7lgEeHQBAEP3QFk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H4m_ntuE.91IomZLyi2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rD7P0xYEKGbV2dDXvwD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1QG6JhI2ES3Dkjb0l8gP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WbGF2dQU6qYM7d8GLWV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9U1pthEkWmgJMSRO42X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Z5VJ4hfEaN1CXnMFDhO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1D5wNnkifJcdV2YWFE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LTbMdOxkqbVEeoEc4JN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N6oqSwZE.MRMR8Bfq45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yRnhaKFkS3ou.UBvtrU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dRGSD4u1EmJOkhEOnRnn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DF.92rC0eqMCoIFZX5i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0hht2g3Ak6V8aNQWxyjf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p6uKshIEihsPqAimoP6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YqQhFXx0aXXxCky7qFI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tkc_m34k.tN_Neo2CBU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IqqdpvJ0qjqwRsBhGSr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TXdWaWpkiMfFc7RPhO9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i4E1Ki7EG5cnwm11eVc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umF4RUlE2gvjnc_EhUF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OlSbgjbEWj._w0QcBne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zXWRV4DkO3HwlLERGWi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CJJ1jLlm0ONO_aN8kIbn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q1afOxdE2bjU6kB2njZ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vpG14C70ycnNf2MCQLl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t3EnjZJ1UGMCjZFQUlbx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6IQzp8G0S42v971dx_b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5Nuf_VITkaAxCqFDLyhC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xkn6ZXkAk.RUwBmPQ4Lw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sTKtMMCUOmcppxelnys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7BXgRw7EUiK.g56oIuhf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_wjxopNkG7iWFF6SKqJ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Krp7tnck2gIm2OAUIvx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FDMzRkXkGzYZmprN8qe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5bCH_e90aoQ2NhM860Q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1fV_5aExUWtoWo02BvYz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3.Kl91hEGdkcSRFDSsF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ZfGHJcF0GhFuWmVa0UH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t0IU884UWqJsnvG1l6d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.9vf7pnkCIFN2wlldg8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N5N2e.40SbrXSsxJHcd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yHrOkGQHUqZf5NgULhEV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yqybS2z0aSTXCQ__GEH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A.RnaSMUmvkW7sq.t2l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6KxOwpJuEqxu7DqqCDRZ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.Oerhi.UOjkDorNYWPg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43QaP0E0qIWF6ikkcAT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h3264FCEizWAmML4zxa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AlhmunFU2Wq1lguu.a7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lOqxJlsESxjXx3_g1Xj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larzEmZU2fARdBO8_NO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_gw5ga_EWqoDVxsiHJn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PLFlR.D06RgcMgKtwxT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CU2dUnDU6_9R_fgh4Y6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HWGCHnXUK1hJvo5mWYI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uiyHMuc0uiIj8QMADsa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af3Vo_HUO3DEfYSuqST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88XjkIMkiHHYt1ZBv4O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FHUSOmoEKe4aONmxJBj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nkE6XFwEykqv8VPZKes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IOAxdxHEaNKHFdtFejT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RMZJAJE0.cb8DfShUQv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kSZdoaPE6IXFuvKadEH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kG5EFDY0eCx7b6vaju_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U2ivzTVkyDPi7R0ROuS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3nJB_GOy0icS6.CLflCA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NQgNZ4wkiKg9elEXn56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DdHJIBSkW4j8UhzKiS5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8Pcr1qdUOrerlxefHtX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yLa0YFT0Kb5bf_ZPogA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ZjmR9peEeoDYP4_tyIb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wXtv1BbUOmJyERCrI7l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6YHv1Qc0aXf.a47fHW2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0r3BMwdkeRsVqgj3KPj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xfwG3zkUGxVHTLEEZ.t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wUTxKWCkiS85zMWSIrp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Nh5CCvJk.Oqn4g_UYlb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AirzNWUEqNK0nkO.D9C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Wu2YXbmEuP4dwn0X4JC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StYZd2cEyfDbE9JwrIq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e.sjrNli0Wn.QA8mMeXP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eBno4.ukepwex3sbzCv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fyDog1S0yipq4OyFGbP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Il.SLgGEObMvUWgqrZ7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JDUoR7Y0aXz42x151J0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FORECOLOR" val="Color 7"/>
  <p:tag name="DEVICE" val="Xerox 5799"/>
  <p:tag name="THINKCELLSHAPEDONOTDELETE" val="pq1gWF6JJN0GCJNUlNuKFD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JxIRkCjke4NwHJxBvcYg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FORECOLOR" val="Color Tint 4"/>
  <p:tag name="DEVICE" val="Xerox 5799"/>
  <p:tag name="THINKCELLSHAPEDONOTDELETE" val="pIUjB4GhvBUetodNYz2xFb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FORECOLOR" val="Color Tint 4"/>
  <p:tag name="DEVICE" val="Xerox 5799"/>
  <p:tag name="THINKCELLSHAPEDONOTDELETE" val="pcYlUO.PPV0Cppua9uZz0W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FORECOLOR" val="Color Tint 4"/>
  <p:tag name="DEVICE" val="Xerox 5799"/>
  <p:tag name="THINKCELLSHAPEDONOTDELETE" val="pZLe.fv5TkkGtb7hs7nWz4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FORECOLOR" val="Color 7"/>
  <p:tag name="DEVICE" val="Xerox 5799"/>
  <p:tag name="THINKCELLSHAPEDONOTDELETE" val="pntTmuHsVqU6WieZv0ZLRc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FORECOLOR" val="Color Tint 4"/>
  <p:tag name="DEVICE" val="Xerox 5799"/>
  <p:tag name="THINKCELLSHAPEDONOTDELETE" val="pq8pxdNmV90q.TF7DeGbs_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xWwHE8u5Eu.vrkzxAN.L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6XTYCMPEmm9irrTI3_e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FORECOLOR" val="Color 7"/>
  <p:tag name="DEVICE" val="Xerox 5799"/>
  <p:tag name="THINKCELLSHAPEDONOTDELETE" val="pcYptq4_PeE28ARjkWEwWA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FORECOLOR" val="Color 7"/>
  <p:tag name="DEVICE" val="Xerox 5799"/>
  <p:tag name="THINKCELLSHAPEDONOTDELETE" val="p0_Y4_Dv0GE.SW0IT7Pcrn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hlT7y3UkGdv4L4DACyo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RG2eogGEasLjYQzIFMF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hlT7y3UkGdv4L4DACyo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hlT7y3UkGdv4L4DACyo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h7stgpSk.q2oCwatwTG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h7stgpSk.q2oCwatwTG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h7stgpSk.q2oCwatwTG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h7stgpSk.q2oCwatwTG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h7stgpSk.q2oCwatwTGg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h7stgpSk.q2oCwatwTGg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h7stgpSk.q2oCwatwTG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.3RfqRzk2ZyBh7XUGbD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2OMYQcs0kahJpma3ZnyS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Y5kZ7PbUqyWhxS.hB07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anUXbCFUaIRBsa5lUiF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ktQazj4UmZLR6JZvhjM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eaHxaLLke0RRA0NkAzv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tkuSUpT0eF3tYGCHU5n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AwNsTjepkC.KRcmuWEqz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Ar2axGIk2ilN4COPEqv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IMmUqo7E2u3tYy69i.R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huCLzx_ke2PyyHvjqP9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o4gg5mZUiVKdAHnF_rp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.TGcoZs4U.izrHMKYeWi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jp7kwScEu3XKWkHGyXp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kzeuZbGE.Xnvgm_pFZT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rxGm73eEyBcSERqhtPy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tTQMVYckytD_DJ0nLce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6IWtenx06jfUEEzwduU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FnbRzna0OUO_AVkIjTr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rtx2Oe90.0q41VeIhwn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_Q05H8RE2MmsZBEhvnx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6MpMPL_U2hi3RV.ti2y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vVqptOUa023Z66WuzH.E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52QtlJp0Cy6ZshRKbie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QI8f6d7U.0YPeuqaNsZ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imoYAPU0WTFCv_q2MSs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7Me44MEvUeDBuJDwCSpe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DtkMzgPku7fWt0D72Gs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aM.SjsOUGBVFWlSb3aJ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8SA8dhwkmzvJOeVY51Y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21c01rTkK08kCZ27Wbr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Txb6tUeEehMA0JhjaWN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PI4KIUyEOpds.TNF.E1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3ZYBBYaJ0ChYSKvthtJY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aX4Ycs3EexlXjyK4Rq.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OZpSTxbkqoeocN_GlQK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ft1ahDFGUqGyJLliDsta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SCDk9CPkmnmON5hIHh7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GSm5th8k6_oseIj44x.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a0Aj5v8kCjkkLGsPrg1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qGcAovPJ0W_kgpd8S_JL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bMYT9Muk64aqssW0ozA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JPUMk4GkiuZiUlMc7Pt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DB7z_dm0C3kdNfOC.mU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97SkjX3T0CCf0HLEVsr1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JpwN6MNkuecO4oLJX3B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.WQcaXkEOG1LpnYgHB2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Z6bM8UrEOVemJ2O21YV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1GK6sguSk.kZZjf14zVG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hRa5HjZESAvTQ5ycTIF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jT_2tJyNE.WlXrkRelx2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UVTiKJr0iZXVl0A1XYC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.mAG_6okk2.u8dUblzkx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sk3Js4fEieWgsJ9Lirg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oA.ak_FcEWcaEZwDFnQO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LM1.8okm3lYeEDeiuY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b6TQ9fzES_qliZQf7if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QqZL.hsUuMIyYqD8qZQ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AwLDzzAESv_VxFgPhdY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gyoVwoN2kKpWPjBlFcZJ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.ShSII_0eYT_iMgqd7z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_AeziTfWkSJxfVAb3lH9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SqXsn4DUCdhVy.p.3SH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g0EhX0rkizz5heXPPVr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ogkXOVKEmrlZp4lGvLY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Jje33vNEKq0OQe7grwc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5OxP29yEykESUzRqLZU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oSI2u8DE2A77cslasD1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uRF7cCzEqAH0i6gHySH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lxMc3yzk2Lo9R9EogEx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vQGYxTHUyC3CVevtB2z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B9B02BOUqjkhZr.TqJ3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E9rGWxmESTgJFDx5aoh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d8u3zi4SEuI63G7lubCF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NCBu5tPk.y1nkZRZRUx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NjeZ4CTUG5u9TLkFbjy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vYLjAie0eejjQVHfXYq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LAjEfgN0CGdDecaDjfq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maaVkz5E6qxnEPwWXucw"/>
</p:tagLst>
</file>

<file path=ppt/theme/theme1.xml><?xml version="1.0" encoding="utf-8"?>
<a:theme xmlns:a="http://schemas.openxmlformats.org/drawingml/2006/main" name="EONVorlage">
  <a:themeElements>
    <a:clrScheme name="EONVorlage 4">
      <a:dk1>
        <a:srgbClr val="000000"/>
      </a:dk1>
      <a:lt1>
        <a:srgbClr val="FFFFFF"/>
      </a:lt1>
      <a:dk2>
        <a:srgbClr val="F21C0A"/>
      </a:dk2>
      <a:lt2>
        <a:srgbClr val="F21C0A"/>
      </a:lt2>
      <a:accent1>
        <a:srgbClr val="F21C0A"/>
      </a:accent1>
      <a:accent2>
        <a:srgbClr val="F21C0A"/>
      </a:accent2>
      <a:accent3>
        <a:srgbClr val="FFFFFF"/>
      </a:accent3>
      <a:accent4>
        <a:srgbClr val="000000"/>
      </a:accent4>
      <a:accent5>
        <a:srgbClr val="F7ABAA"/>
      </a:accent5>
      <a:accent6>
        <a:srgbClr val="DB1808"/>
      </a:accent6>
      <a:hlink>
        <a:srgbClr val="F21C0A"/>
      </a:hlink>
      <a:folHlink>
        <a:srgbClr val="F21C0A"/>
      </a:folHlink>
    </a:clrScheme>
    <a:fontScheme name="EONVorlage">
      <a:majorFont>
        <a:latin typeface="Polo"/>
        <a:ea typeface=""/>
        <a:cs typeface=""/>
      </a:majorFont>
      <a:minorFont>
        <a:latin typeface="Pol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noFill/>
          <a:miter lim="800000"/>
          <a:headEnd/>
          <a:tailEnd/>
        </a:ln>
      </a:spPr>
      <a:bodyPr wrap="square" anchor="t">
        <a:spAutoFit/>
      </a:bodyPr>
      <a:lstStyle>
        <a:defPPr algn="l">
          <a:lnSpc>
            <a:spcPct val="125000"/>
          </a:lnSpc>
          <a:spcBef>
            <a:spcPct val="25000"/>
          </a:spcBef>
          <a:defRPr sz="1000" dirty="0"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99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0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Polo" pitchFamily="2" charset="0"/>
          </a:defRPr>
        </a:defPPr>
      </a:lstStyle>
    </a:lnDef>
  </a:objectDefaults>
  <a:extraClrSchemeLst>
    <a:extraClrScheme>
      <a:clrScheme name="EONVorlage 1">
        <a:dk1>
          <a:srgbClr val="000000"/>
        </a:dk1>
        <a:lt1>
          <a:srgbClr val="FFFFFF"/>
        </a:lt1>
        <a:dk2>
          <a:srgbClr val="F5493B"/>
        </a:dk2>
        <a:lt2>
          <a:srgbClr val="D20026"/>
        </a:lt2>
        <a:accent1>
          <a:srgbClr val="7F0026"/>
        </a:accent1>
        <a:accent2>
          <a:srgbClr val="FF8F6E"/>
        </a:accent2>
        <a:accent3>
          <a:srgbClr val="FFFFFF"/>
        </a:accent3>
        <a:accent4>
          <a:srgbClr val="000000"/>
        </a:accent4>
        <a:accent5>
          <a:srgbClr val="C0AAAC"/>
        </a:accent5>
        <a:accent6>
          <a:srgbClr val="E78163"/>
        </a:accent6>
        <a:hlink>
          <a:srgbClr val="AD0026"/>
        </a:hlink>
        <a:folHlink>
          <a:srgbClr val="F76B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ONVorlage 2">
        <a:dk1>
          <a:srgbClr val="000000"/>
        </a:dk1>
        <a:lt1>
          <a:srgbClr val="FFFFFF"/>
        </a:lt1>
        <a:dk2>
          <a:srgbClr val="969696"/>
        </a:dk2>
        <a:lt2>
          <a:srgbClr val="787878"/>
        </a:lt2>
        <a:accent1>
          <a:srgbClr val="464646"/>
        </a:accent1>
        <a:accent2>
          <a:srgbClr val="D2D2D2"/>
        </a:accent2>
        <a:accent3>
          <a:srgbClr val="FFFFFF"/>
        </a:accent3>
        <a:accent4>
          <a:srgbClr val="000000"/>
        </a:accent4>
        <a:accent5>
          <a:srgbClr val="B0B0B0"/>
        </a:accent5>
        <a:accent6>
          <a:srgbClr val="BEBEBE"/>
        </a:accent6>
        <a:hlink>
          <a:srgbClr val="5A5A5A"/>
        </a:hlink>
        <a:folHlink>
          <a:srgbClr val="B4B4B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ONVorlage 3">
        <a:dk1>
          <a:srgbClr val="000000"/>
        </a:dk1>
        <a:lt1>
          <a:srgbClr val="FFFFFF"/>
        </a:lt1>
        <a:dk2>
          <a:srgbClr val="464646"/>
        </a:dk2>
        <a:lt2>
          <a:srgbClr val="F5493B"/>
        </a:lt2>
        <a:accent1>
          <a:srgbClr val="7F0026"/>
        </a:accent1>
        <a:accent2>
          <a:srgbClr val="B4B4B4"/>
        </a:accent2>
        <a:accent3>
          <a:srgbClr val="FFFFFF"/>
        </a:accent3>
        <a:accent4>
          <a:srgbClr val="000000"/>
        </a:accent4>
        <a:accent5>
          <a:srgbClr val="C0AAAC"/>
        </a:accent5>
        <a:accent6>
          <a:srgbClr val="A3A3A3"/>
        </a:accent6>
        <a:hlink>
          <a:srgbClr val="D20026"/>
        </a:hlink>
        <a:folHlink>
          <a:srgbClr val="78787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ONVorlage 4">
        <a:dk1>
          <a:srgbClr val="000000"/>
        </a:dk1>
        <a:lt1>
          <a:srgbClr val="FFFFFF"/>
        </a:lt1>
        <a:dk2>
          <a:srgbClr val="F21C0A"/>
        </a:dk2>
        <a:lt2>
          <a:srgbClr val="F21C0A"/>
        </a:lt2>
        <a:accent1>
          <a:srgbClr val="F21C0A"/>
        </a:accent1>
        <a:accent2>
          <a:srgbClr val="F21C0A"/>
        </a:accent2>
        <a:accent3>
          <a:srgbClr val="FFFFFF"/>
        </a:accent3>
        <a:accent4>
          <a:srgbClr val="000000"/>
        </a:accent4>
        <a:accent5>
          <a:srgbClr val="F7ABAA"/>
        </a:accent5>
        <a:accent6>
          <a:srgbClr val="DB1808"/>
        </a:accent6>
        <a:hlink>
          <a:srgbClr val="F21C0A"/>
        </a:hlink>
        <a:folHlink>
          <a:srgbClr val="F21C0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ONVorlage 5">
        <a:dk1>
          <a:srgbClr val="000000"/>
        </a:dk1>
        <a:lt1>
          <a:srgbClr val="FFFFFF"/>
        </a:lt1>
        <a:dk2>
          <a:srgbClr val="969696"/>
        </a:dk2>
        <a:lt2>
          <a:srgbClr val="969696"/>
        </a:lt2>
        <a:accent1>
          <a:srgbClr val="969696"/>
        </a:accent1>
        <a:accent2>
          <a:srgbClr val="969696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878787"/>
        </a:accent6>
        <a:hlink>
          <a:srgbClr val="969696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x041e__x043f__x0438__x0441__x0430__x043d__x0438__x0435_ xmlns="b6cc8a91-9eb9-4f34-bda3-4b61d0aaa32a" xsi:nil="true"/>
    <_x041e__x0442__x043e__x0431__x0440__x0430__x0436__x0430__x0435__x043c__x0430__x044f__x0020__x0434__x0430__x0442__x0430_ xmlns="b6cc8a91-9eb9-4f34-bda3-4b61d0aaa32a">2011-12-07T21:00:00+00:00</_x041e__x0442__x043e__x0431__x0440__x0430__x0436__x0430__x0435__x043c__x0430__x044f__x0020__x0434__x0430__x0442__x0430_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3F6A241F16F39E40BC611075DF029D34" ma:contentTypeVersion="2" ma:contentTypeDescription="Создание документа." ma:contentTypeScope="" ma:versionID="82b391342a143c3e7c93b240dafe3553">
  <xsd:schema xmlns:xsd="http://www.w3.org/2001/XMLSchema" xmlns:xs="http://www.w3.org/2001/XMLSchema" xmlns:p="http://schemas.microsoft.com/office/2006/metadata/properties" xmlns:ns2="b6cc8a91-9eb9-4f34-bda3-4b61d0aaa32a" targetNamespace="http://schemas.microsoft.com/office/2006/metadata/properties" ma:root="true" ma:fieldsID="57345587a0667a0218995a762b6b8981" ns2:_="">
    <xsd:import namespace="b6cc8a91-9eb9-4f34-bda3-4b61d0aaa32a"/>
    <xsd:element name="properties">
      <xsd:complexType>
        <xsd:sequence>
          <xsd:element name="documentManagement">
            <xsd:complexType>
              <xsd:all>
                <xsd:element ref="ns2:_x041e__x043f__x0438__x0441__x0430__x043d__x0438__x0435_" minOccurs="0"/>
                <xsd:element ref="ns2:_x041e__x0442__x043e__x0431__x0440__x0430__x0436__x0430__x0435__x043c__x0430__x044f__x0020__x0434__x0430__x0442__x0430_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6cc8a91-9eb9-4f34-bda3-4b61d0aaa32a" elementFormDefault="qualified">
    <xsd:import namespace="http://schemas.microsoft.com/office/2006/documentManagement/types"/>
    <xsd:import namespace="http://schemas.microsoft.com/office/infopath/2007/PartnerControls"/>
    <xsd:element name="_x041e__x043f__x0438__x0441__x0430__x043d__x0438__x0435_" ma:index="8" nillable="true" ma:displayName="Описание" ma:internalName="_x041e__x043f__x0438__x0441__x0430__x043d__x0438__x0435_">
      <xsd:simpleType>
        <xsd:restriction base="dms:Note">
          <xsd:maxLength value="255"/>
        </xsd:restriction>
      </xsd:simpleType>
    </xsd:element>
    <xsd:element name="_x041e__x0442__x043e__x0431__x0440__x0430__x0436__x0430__x0435__x043c__x0430__x044f__x0020__x0434__x0430__x0442__x0430_" ma:index="9" nillable="true" ma:displayName="Отображаемая дата" ma:format="DateOnly" ma:internalName="_x041e__x0442__x043e__x0431__x0440__x0430__x0436__x0430__x0435__x043c__x0430__x044f__x0020__x0434__x0430__x0442__x0430_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F09790F-28F3-400D-92FF-3D22B1B870BA}"/>
</file>

<file path=customXml/itemProps2.xml><?xml version="1.0" encoding="utf-8"?>
<ds:datastoreItem xmlns:ds="http://schemas.openxmlformats.org/officeDocument/2006/customXml" ds:itemID="{05783E92-2A20-466B-BC27-B13B2016A6B0}"/>
</file>

<file path=customXml/itemProps3.xml><?xml version="1.0" encoding="utf-8"?>
<ds:datastoreItem xmlns:ds="http://schemas.openxmlformats.org/officeDocument/2006/customXml" ds:itemID="{C20CFC7C-2A62-4FCD-AD8F-6074739DBAE8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875</TotalTime>
  <Words>838</Words>
  <Application>Microsoft Office PowerPoint</Application>
  <PresentationFormat>Экран (4:3)</PresentationFormat>
  <Paragraphs>133</Paragraphs>
  <Slides>12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3" baseType="lpstr">
      <vt:lpstr>EONVorlage</vt:lpstr>
      <vt:lpstr> Особенности работы ПГУ     Москва,  08.12.2011 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</vt:vector>
  </TitlesOfParts>
  <Company>E.ON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инцип работы ПГУ, презентация, декабрь 2011г.</dc:title>
  <dc:creator>Родионов Е.В.</dc:creator>
  <dc:description/>
  <cp:lastModifiedBy>dukhanina_l</cp:lastModifiedBy>
  <cp:revision>1685</cp:revision>
  <dcterms:created xsi:type="dcterms:W3CDTF">2003-11-10T20:08:37Z</dcterms:created>
  <dcterms:modified xsi:type="dcterms:W3CDTF">2011-12-08T04:35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F6A241F16F39E40BC611075DF029D34</vt:lpwstr>
  </property>
  <property fmtid="{D5CDD505-2E9C-101B-9397-08002B2CF9AE}" pid="3" name="Order">
    <vt:r8>700</vt:r8>
  </property>
</Properties>
</file>